
<file path=[Content_Types].xml><?xml version="1.0" encoding="utf-8"?>
<Types xmlns="http://schemas.openxmlformats.org/package/2006/content-types">
  <Default Extension="jpg" ContentType="image/jpeg"/>
  <Default Extension="svg" ContentType="image/svg+xml"/>
  <Default Extension="emf" ContentType="image/x-emf"/>
  <Default Extension="xlsx" ContentType="application/vnd.openxmlformats-officedocument.spreadsheetml.sheet"/>
  <Default Extension="jpeg" ContentType="image/jpeg"/>
  <Default Extension="xml" ContentType="application/xml"/>
  <Default Extension="vml" ContentType="application/vnd.openxmlformats-officedocument.vmlDrawing"/>
  <Default Extension="bin" ContentType="application/vnd.openxmlformats-officedocument.presentationml.printerSettings"/>
  <Default Extension="wdp" ContentType="image/vnd.ms-photo"/>
  <Default Extension="png" ContentType="image/png"/>
  <Default Extension="rels" ContentType="application/vnd.openxmlformats-package.relationships+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tags/tag4.xml" ContentType="application/vnd.openxmlformats-officedocument.presentationml.tags+xml"/>
  <Override PartName="/ppt/tags/tag5.xml" ContentType="application/vnd.openxmlformats-officedocument.presentationml.tags+xml"/>
  <Override PartName="/ppt/embeddings/oleObject2.bin" ContentType="application/vnd.openxmlformats-officedocument.oleObject"/>
  <Override PartName="/ppt/tags/tag6.xml" ContentType="application/vnd.openxmlformats-officedocument.presentationml.tags+xml"/>
  <Override PartName="/ppt/embeddings/oleObject3.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embeddings/oleObject4.bin" ContentType="application/vnd.openxmlformats-officedocument.oleObject"/>
  <Override PartName="/ppt/tags/tag9.xml" ContentType="application/vnd.openxmlformats-officedocument.presentationml.tags+xml"/>
  <Override PartName="/ppt/tags/tag10.xml" ContentType="application/vnd.openxmlformats-officedocument.presentationml.tags+xml"/>
  <Override PartName="/ppt/embeddings/oleObject5.bin" ContentType="application/vnd.openxmlformats-officedocument.oleObject"/>
  <Override PartName="/ppt/tags/tag11.xml" ContentType="application/vnd.openxmlformats-officedocument.presentationml.tags+xml"/>
  <Override PartName="/ppt/tags/tag12.xml" ContentType="application/vnd.openxmlformats-officedocument.presentationml.tags+xml"/>
  <Override PartName="/ppt/embeddings/oleObject6.bin" ContentType="application/vnd.openxmlformats-officedocument.oleObject"/>
  <Override PartName="/ppt/tags/tag13.xml" ContentType="application/vnd.openxmlformats-officedocument.presentationml.tags+xml"/>
  <Override PartName="/ppt/embeddings/oleObject7.bin" ContentType="application/vnd.openxmlformats-officedocument.oleObject"/>
  <Override PartName="/ppt/tags/tag14.xml" ContentType="application/vnd.openxmlformats-officedocument.presentationml.tags+xml"/>
  <Override PartName="/ppt/tags/tag15.xml" ContentType="application/vnd.openxmlformats-officedocument.presentationml.tags+xml"/>
  <Override PartName="/ppt/embeddings/oleObject8.bin" ContentType="application/vnd.openxmlformats-officedocument.oleObject"/>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embeddings/oleObject9.bin" ContentType="application/vnd.openxmlformats-officedocument.oleObject"/>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embeddings/oleObject10.bin" ContentType="application/vnd.openxmlformats-officedocument.oleObject"/>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embeddings/oleObject11.bin" ContentType="application/vnd.openxmlformats-officedocument.oleObject"/>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4.xml" ContentType="application/vnd.openxmlformats-officedocument.presentationml.notesSlide+xml"/>
  <Override PartName="/ppt/embeddings/oleObject12.bin" ContentType="application/vnd.openxmlformats-officedocument.oleObject"/>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embeddings/oleObject13.bin" ContentType="application/vnd.openxmlformats-officedocument.oleObject"/>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6.xml" ContentType="application/vnd.openxmlformats-officedocument.presentationml.notesSlide+xml"/>
  <Override PartName="/ppt/embeddings/oleObject14.bin" ContentType="application/vnd.openxmlformats-officedocument.oleObject"/>
  <Override PartName="/ppt/charts/chart1.xml" ContentType="application/vnd.openxmlformats-officedocument.drawingml.chart+xml"/>
  <Override PartName="/ppt/notesSlides/notesSlide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8.xml" ContentType="application/vnd.openxmlformats-officedocument.presentationml.notesSlide+xml"/>
  <Override PartName="/ppt/embeddings/oleObject15.bin" ContentType="application/vnd.openxmlformats-officedocument.oleObject"/>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9.xml" ContentType="application/vnd.openxmlformats-officedocument.presentationml.notesSlide+xml"/>
  <Override PartName="/ppt/embeddings/oleObject16.bin" ContentType="application/vnd.openxmlformats-officedocument.oleObject"/>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0.xml" ContentType="application/vnd.openxmlformats-officedocument.presentationml.notesSlide+xml"/>
  <Override PartName="/ppt/embeddings/oleObject17.bin" ContentType="application/vnd.openxmlformats-officedocument.oleObject"/>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11.xml" ContentType="application/vnd.openxmlformats-officedocument.presentationml.notesSlide+xml"/>
  <Override PartName="/ppt/embeddings/oleObject18.bin" ContentType="application/vnd.openxmlformats-officedocument.oleObject"/>
  <Override PartName="/ppt/charts/chart2.xml" ContentType="application/vnd.openxmlformats-officedocument.drawingml.chart+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12.xml" ContentType="application/vnd.openxmlformats-officedocument.presentationml.notesSlide+xml"/>
  <Override PartName="/ppt/embeddings/oleObject19.bin" ContentType="application/vnd.openxmlformats-officedocument.oleObject"/>
  <Override PartName="/ppt/charts/chart3.xml" ContentType="application/vnd.openxmlformats-officedocument.drawingml.chart+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13.xml" ContentType="application/vnd.openxmlformats-officedocument.presentationml.notesSlide+xml"/>
  <Override PartName="/ppt/embeddings/oleObject20.bin" ContentType="application/vnd.openxmlformats-officedocument.oleObject"/>
  <Override PartName="/ppt/charts/chart4.xml" ContentType="application/vnd.openxmlformats-officedocument.drawingml.chart+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14.xml" ContentType="application/vnd.openxmlformats-officedocument.presentationml.notesSlide+xml"/>
  <Override PartName="/ppt/embeddings/oleObject21.bin" ContentType="application/vnd.openxmlformats-officedocument.oleObject"/>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15.xml" ContentType="application/vnd.openxmlformats-officedocument.presentationml.notesSlide+xml"/>
  <Override PartName="/ppt/embeddings/oleObject22.bin" ContentType="application/vnd.openxmlformats-officedocument.oleObject"/>
  <Override PartName="/ppt/charts/chart5.xml" ContentType="application/vnd.openxmlformats-officedocument.drawingml.chart+xml"/>
  <Override PartName="/ppt/charts/chart6.xml" ContentType="application/vnd.openxmlformats-officedocument.drawingml.chart+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embeddings/oleObject23.bin" ContentType="application/vnd.openxmlformats-officedocument.oleObject"/>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16.xml" ContentType="application/vnd.openxmlformats-officedocument.presentationml.notesSlide+xml"/>
  <Override PartName="/ppt/embeddings/oleObject24.bin" ContentType="application/vnd.openxmlformats-officedocument.oleObject"/>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notesSlides/notesSlide17.xml" ContentType="application/vnd.openxmlformats-officedocument.presentationml.notesSlide+xml"/>
  <Override PartName="/ppt/embeddings/oleObject25.bin" ContentType="application/vnd.openxmlformats-officedocument.oleObject"/>
  <Override PartName="/ppt/charts/chart7.xml" ContentType="application/vnd.openxmlformats-officedocument.drawingml.chart+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18.xml" ContentType="application/vnd.openxmlformats-officedocument.presentationml.notesSlide+xml"/>
  <Override PartName="/ppt/embeddings/oleObject26.bin" ContentType="application/vnd.openxmlformats-officedocument.oleObject"/>
  <Override PartName="/ppt/charts/chart8.xml" ContentType="application/vnd.openxmlformats-officedocument.drawingml.chart+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19.xml" ContentType="application/vnd.openxmlformats-officedocument.presentationml.notesSlide+xml"/>
  <Override PartName="/ppt/embeddings/oleObject27.bin" ContentType="application/vnd.openxmlformats-officedocument.oleObject"/>
  <Override PartName="/ppt/charts/chart9.xml" ContentType="application/vnd.openxmlformats-officedocument.drawingml.chart+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20.xml" ContentType="application/vnd.openxmlformats-officedocument.presentationml.notesSlide+xml"/>
  <Override PartName="/ppt/embeddings/oleObject28.bin" ContentType="application/vnd.openxmlformats-officedocument.oleObject"/>
  <Override PartName="/ppt/charts/chart10.xml" ContentType="application/vnd.openxmlformats-officedocument.drawingml.chart+xml"/>
  <Override PartName="/ppt/tags/tag316.xml" ContentType="application/vnd.openxmlformats-officedocument.presentationml.tags+xml"/>
  <Override PartName="/ppt/notesSlides/notesSlide21.xml" ContentType="application/vnd.openxmlformats-officedocument.presentationml.notesSlide+xml"/>
  <Override PartName="/ppt/embeddings/oleObject29.bin" ContentType="application/vnd.openxmlformats-officedocument.oleObject"/>
  <Override PartName="/ppt/notesSlides/notesSlide22.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23.xml" ContentType="application/vnd.openxmlformats-officedocument.presentationml.notesSlide+xml"/>
  <Override PartName="/ppt/embeddings/oleObject30.bin" ContentType="application/vnd.openxmlformats-officedocument.oleObject"/>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notesSlides/notesSlide24.xml" ContentType="application/vnd.openxmlformats-officedocument.presentationml.notesSlide+xml"/>
  <Override PartName="/ppt/embeddings/oleObject31.bin" ContentType="application/vnd.openxmlformats-officedocument.oleObject"/>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notesSlides/notesSlide25.xml" ContentType="application/vnd.openxmlformats-officedocument.presentationml.notesSlide+xml"/>
  <Override PartName="/ppt/embeddings/oleObject32.bin" ContentType="application/vnd.openxmlformats-officedocument.oleObject"/>
  <Override PartName="/ppt/charts/chart11.xml" ContentType="application/vnd.openxmlformats-officedocument.drawingml.chart+xml"/>
  <Override PartName="/ppt/tags/tag364.xml" ContentType="application/vnd.openxmlformats-officedocument.presentationml.tags+xml"/>
  <Override PartName="/ppt/tags/tag365.xml" ContentType="application/vnd.openxmlformats-officedocument.presentationml.tags+xml"/>
  <Override PartName="/ppt/embeddings/oleObject33.bin" ContentType="application/vnd.openxmlformats-officedocument.oleObject"/>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26.xml" ContentType="application/vnd.openxmlformats-officedocument.presentationml.notesSlide+xml"/>
  <Override PartName="/ppt/embeddings/oleObject34.bin" ContentType="application/vnd.openxmlformats-officedocument.oleObject"/>
  <Override PartName="/ppt/notesSlides/notesSlide27.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notesSlides/notesSlide28.xml" ContentType="application/vnd.openxmlformats-officedocument.presentationml.notesSlide+xml"/>
  <Override PartName="/ppt/embeddings/oleObject35.bin" ContentType="application/vnd.openxmlformats-officedocument.oleObject"/>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notesSlides/notesSlide29.xml" ContentType="application/vnd.openxmlformats-officedocument.presentationml.notesSlide+xml"/>
  <Override PartName="/ppt/embeddings/oleObject36.bin" ContentType="application/vnd.openxmlformats-officedocument.oleObject"/>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notesSlides/notesSlide30.xml" ContentType="application/vnd.openxmlformats-officedocument.presentationml.notesSlide+xml"/>
  <Override PartName="/ppt/embeddings/oleObject37.bin" ContentType="application/vnd.openxmlformats-officedocument.oleObject"/>
  <Override PartName="/ppt/charts/chart12.xml" ContentType="application/vnd.openxmlformats-officedocument.drawingml.chart+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notesSlides/notesSlide31.xml" ContentType="application/vnd.openxmlformats-officedocument.presentationml.notesSlide+xml"/>
  <Override PartName="/ppt/embeddings/oleObject38.bin" ContentType="application/vnd.openxmlformats-officedocument.oleObject"/>
  <Override PartName="/ppt/charts/chart13.xml" ContentType="application/vnd.openxmlformats-officedocument.drawingml.chart+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notesSlides/notesSlide32.xml" ContentType="application/vnd.openxmlformats-officedocument.presentationml.notesSlide+xml"/>
  <Override PartName="/ppt/embeddings/oleObject39.bin" ContentType="application/vnd.openxmlformats-officedocument.oleObject"/>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notesSlides/notesSlide33.xml" ContentType="application/vnd.openxmlformats-officedocument.presentationml.notesSlide+xml"/>
  <Override PartName="/ppt/embeddings/oleObject40.bin" ContentType="application/vnd.openxmlformats-officedocument.oleObject"/>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embeddings/oleObject41.bin" ContentType="application/vnd.openxmlformats-officedocument.oleObject"/>
  <Override PartName="/ppt/charts/chart19.xml" ContentType="application/vnd.openxmlformats-officedocument.drawingml.chart+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notesSlides/notesSlide34.xml" ContentType="application/vnd.openxmlformats-officedocument.presentationml.notesSlide+xml"/>
  <Override PartName="/ppt/embeddings/oleObject42.bin" ContentType="application/vnd.openxmlformats-officedocument.oleObject"/>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notesSlides/notesSlide35.xml" ContentType="application/vnd.openxmlformats-officedocument.presentationml.notesSlide+xml"/>
  <Override PartName="/ppt/embeddings/oleObject43.bin" ContentType="application/vnd.openxmlformats-officedocument.oleObject"/>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embeddings/oleObject44.bin" ContentType="application/vnd.openxmlformats-officedocument.oleObject"/>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notesSlides/notesSlide36.xml" ContentType="application/vnd.openxmlformats-officedocument.presentationml.notesSlide+xml"/>
  <Override PartName="/ppt/embeddings/oleObject45.bin" ContentType="application/vnd.openxmlformats-officedocument.oleObject"/>
  <Override PartName="/ppt/charts/chart24.xml" ContentType="application/vnd.openxmlformats-officedocument.drawingml.chart+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notesSlides/notesSlide37.xml" ContentType="application/vnd.openxmlformats-officedocument.presentationml.notesSlide+xml"/>
  <Override PartName="/ppt/embeddings/oleObject46.bin" ContentType="application/vnd.openxmlformats-officedocument.oleObject"/>
  <Override PartName="/ppt/notesSlides/notesSlide38.xml" ContentType="application/vnd.openxmlformats-officedocument.presentationml.notesSlide+xml"/>
  <Override PartName="/ppt/tags/tag817.xml" ContentType="application/vnd.openxmlformats-officedocument.presentationml.tags+xml"/>
  <Override PartName="/ppt/notesSlides/notesSlide39.xml" ContentType="application/vnd.openxmlformats-officedocument.presentationml.notesSlide+xml"/>
  <Override PartName="/ppt/embeddings/oleObject47.bin" ContentType="application/vnd.openxmlformats-officedocument.oleObject"/>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notesSlides/notesSlide40.xml" ContentType="application/vnd.openxmlformats-officedocument.presentationml.notesSlide+xml"/>
  <Override PartName="/ppt/embeddings/oleObject48.bin" ContentType="application/vnd.openxmlformats-officedocument.oleObject"/>
  <Override PartName="/ppt/tags/tag821.xml" ContentType="application/vnd.openxmlformats-officedocument.presentationml.tags+xml"/>
  <Override PartName="/ppt/tags/tag822.xml" ContentType="application/vnd.openxmlformats-officedocument.presentationml.tags+xml"/>
  <Override PartName="/ppt/notesSlides/notesSlide41.xml" ContentType="application/vnd.openxmlformats-officedocument.presentationml.notesSlide+xml"/>
  <Override PartName="/ppt/embeddings/oleObject49.bin" ContentType="application/vnd.openxmlformats-officedocument.oleObject"/>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notesSlides/notesSlide42.xml" ContentType="application/vnd.openxmlformats-officedocument.presentationml.notesSlide+xml"/>
  <Override PartName="/ppt/embeddings/oleObject50.bin" ContentType="application/vnd.openxmlformats-officedocument.oleObject"/>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notesSlides/notesSlide43.xml" ContentType="application/vnd.openxmlformats-officedocument.presentationml.notesSlide+xml"/>
  <Override PartName="/ppt/embeddings/oleObject51.bin" ContentType="application/vnd.openxmlformats-officedocument.oleObject"/>
  <Override PartName="/ppt/tags/tag829.xml" ContentType="application/vnd.openxmlformats-officedocument.presentationml.tags+xml"/>
  <Override PartName="/ppt/tags/tag830.xml" ContentType="application/vnd.openxmlformats-officedocument.presentationml.tags+xml"/>
  <Override PartName="/ppt/notesSlides/notesSlide44.xml" ContentType="application/vnd.openxmlformats-officedocument.presentationml.notesSlide+xml"/>
  <Override PartName="/ppt/embeddings/oleObject52.bin" ContentType="application/vnd.openxmlformats-officedocument.oleObject"/>
  <Override PartName="/ppt/tags/tag831.xml" ContentType="application/vnd.openxmlformats-officedocument.presentationml.tags+xml"/>
  <Override PartName="/ppt/tags/tag832.xml" ContentType="application/vnd.openxmlformats-officedocument.presentationml.tags+xml"/>
  <Override PartName="/ppt/notesSlides/notesSlide45.xml" ContentType="application/vnd.openxmlformats-officedocument.presentationml.notesSlide+xml"/>
  <Override PartName="/ppt/embeddings/oleObject53.bin" ContentType="application/vnd.openxmlformats-officedocument.oleObject"/>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notesSlides/notesSlide46.xml" ContentType="application/vnd.openxmlformats-officedocument.presentationml.notesSlide+xml"/>
  <Override PartName="/ppt/embeddings/oleObject54.bin" ContentType="application/vnd.openxmlformats-officedocument.oleObject"/>
  <Override PartName="/ppt/tags/tag837.xml" ContentType="application/vnd.openxmlformats-officedocument.presentationml.tags+xml"/>
  <Override PartName="/ppt/tags/tag838.xml" ContentType="application/vnd.openxmlformats-officedocument.presentationml.tags+xml"/>
  <Override PartName="/ppt/notesSlides/notesSlide47.xml" ContentType="application/vnd.openxmlformats-officedocument.presentationml.notesSlide+xml"/>
  <Override PartName="/ppt/embeddings/oleObject55.bin" ContentType="application/vnd.openxmlformats-officedocument.oleObject"/>
  <Override PartName="/ppt/tags/tag839.xml" ContentType="application/vnd.openxmlformats-officedocument.presentationml.tags+xml"/>
  <Override PartName="/ppt/tags/tag840.xml" ContentType="application/vnd.openxmlformats-officedocument.presentationml.tags+xml"/>
  <Override PartName="/ppt/notesSlides/notesSlide48.xml" ContentType="application/vnd.openxmlformats-officedocument.presentationml.notesSlide+xml"/>
  <Override PartName="/ppt/embeddings/oleObject56.bin" ContentType="application/vnd.openxmlformats-officedocument.oleObject"/>
  <Override PartName="/ppt/tags/tag841.xml" ContentType="application/vnd.openxmlformats-officedocument.presentationml.tags+xml"/>
  <Override PartName="/ppt/tags/tag842.xml" ContentType="application/vnd.openxmlformats-officedocument.presentationml.tags+xml"/>
  <Override PartName="/ppt/notesSlides/notesSlide49.xml" ContentType="application/vnd.openxmlformats-officedocument.presentationml.notesSlide+xml"/>
  <Override PartName="/ppt/embeddings/oleObject57.bin" ContentType="application/vnd.openxmlformats-officedocument.oleObject"/>
  <Override PartName="/ppt/tags/tag843.xml" ContentType="application/vnd.openxmlformats-officedocument.presentationml.tags+xml"/>
  <Override PartName="/ppt/tags/tag844.xml" ContentType="application/vnd.openxmlformats-officedocument.presentationml.tags+xml"/>
  <Override PartName="/ppt/embeddings/oleObject58.bin" ContentType="application/vnd.openxmlformats-officedocument.oleObject"/>
  <Override PartName="/ppt/tags/tag845.xml" ContentType="application/vnd.openxmlformats-officedocument.presentationml.tags+xml"/>
  <Override PartName="/ppt/tags/tag846.xml" ContentType="application/vnd.openxmlformats-officedocument.presentationml.tags+xml"/>
  <Override PartName="/ppt/notesSlides/notesSlide50.xml" ContentType="application/vnd.openxmlformats-officedocument.presentationml.notesSlide+xml"/>
  <Override PartName="/ppt/embeddings/oleObject59.bin" ContentType="application/vnd.openxmlformats-officedocument.oleObject"/>
  <Override PartName="/ppt/embeddings/oleObject60.bin" ContentType="application/vnd.openxmlformats-officedocument.oleObject"/>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notesSlides/notesSlide51.xml" ContentType="application/vnd.openxmlformats-officedocument.presentationml.notesSlide+xml"/>
  <Override PartName="/ppt/embeddings/oleObject61.bin" ContentType="application/vnd.openxmlformats-officedocument.oleObject"/>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notesSlides/notesSlide52.xml" ContentType="application/vnd.openxmlformats-officedocument.presentationml.notesSlide+xml"/>
  <Override PartName="/ppt/embeddings/oleObject62.bin" ContentType="application/vnd.openxmlformats-officedocument.oleObject"/>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notesSlides/notesSlide53.xml" ContentType="application/vnd.openxmlformats-officedocument.presentationml.notesSlide+xml"/>
  <Override PartName="/ppt/embeddings/oleObject63.bin" ContentType="application/vnd.openxmlformats-officedocument.oleObject"/>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notesSlides/notesSlide54.xml" ContentType="application/vnd.openxmlformats-officedocument.presentationml.notesSlide+xml"/>
  <Override PartName="/ppt/embeddings/oleObject64.bin" ContentType="application/vnd.openxmlformats-officedocument.oleObject"/>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notesSlides/notesSlide55.xml" ContentType="application/vnd.openxmlformats-officedocument.presentationml.notesSlide+xml"/>
  <Override PartName="/ppt/embeddings/oleObject65.bin" ContentType="application/vnd.openxmlformats-officedocument.oleObject"/>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notesSlides/notesSlide56.xml" ContentType="application/vnd.openxmlformats-officedocument.presentationml.notesSlide+xml"/>
  <Override PartName="/ppt/embeddings/oleObject66.bin" ContentType="application/vnd.openxmlformats-officedocument.oleObject"/>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notesSlides/notesSlide57.xml" ContentType="application/vnd.openxmlformats-officedocument.presentationml.notesSlide+xml"/>
  <Override PartName="/ppt/embeddings/oleObject67.bin" ContentType="application/vnd.openxmlformats-officedocument.oleObject"/>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notesSlides/notesSlide58.xml" ContentType="application/vnd.openxmlformats-officedocument.presentationml.notesSlide+xml"/>
  <Override PartName="/ppt/embeddings/oleObject68.bin" ContentType="application/vnd.openxmlformats-officedocument.oleObject"/>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notesSlides/notesSlide59.xml" ContentType="application/vnd.openxmlformats-officedocument.presentationml.notesSlide+xml"/>
  <Override PartName="/ppt/embeddings/oleObject69.bin" ContentType="application/vnd.openxmlformats-officedocument.oleObject"/>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notesSlides/notesSlide60.xml" ContentType="application/vnd.openxmlformats-officedocument.presentationml.notesSlide+xml"/>
  <Override PartName="/ppt/embeddings/oleObject70.bin" ContentType="application/vnd.openxmlformats-officedocument.oleObject"/>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notesSlides/notesSlide61.xml" ContentType="application/vnd.openxmlformats-officedocument.presentationml.notesSlide+xml"/>
  <Override PartName="/ppt/embeddings/oleObject71.bin" ContentType="application/vnd.openxmlformats-officedocument.oleObject"/>
  <Override PartName="/ppt/tags/tag1265.xml" ContentType="application/vnd.openxmlformats-officedocument.presentationml.tags+xml"/>
  <Override PartName="/ppt/tags/tag1266.xml" ContentType="application/vnd.openxmlformats-officedocument.presentationml.tags+xml"/>
  <Override PartName="/ppt/notesSlides/notesSlide62.xml" ContentType="application/vnd.openxmlformats-officedocument.presentationml.notesSlide+xml"/>
  <Override PartName="/ppt/embeddings/oleObject72.bin" ContentType="application/vnd.openxmlformats-officedocument.oleObject"/>
  <Override PartName="/ppt/tags/tag1267.xml" ContentType="application/vnd.openxmlformats-officedocument.presentationml.tags+xml"/>
  <Override PartName="/ppt/embeddings/oleObject73.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708" r:id="rId1"/>
  </p:sldMasterIdLst>
  <p:notesMasterIdLst>
    <p:notesMasterId r:id="rId70"/>
  </p:notesMasterIdLst>
  <p:handoutMasterIdLst>
    <p:handoutMasterId r:id="rId71"/>
  </p:handoutMasterIdLst>
  <p:sldIdLst>
    <p:sldId id="2554" r:id="rId2"/>
    <p:sldId id="257" r:id="rId3"/>
    <p:sldId id="2279" r:id="rId4"/>
    <p:sldId id="4332" r:id="rId5"/>
    <p:sldId id="2306" r:id="rId6"/>
    <p:sldId id="1386" r:id="rId7"/>
    <p:sldId id="268" r:id="rId8"/>
    <p:sldId id="1389" r:id="rId9"/>
    <p:sldId id="317" r:id="rId10"/>
    <p:sldId id="345" r:id="rId11"/>
    <p:sldId id="2320" r:id="rId12"/>
    <p:sldId id="1371" r:id="rId13"/>
    <p:sldId id="4594" r:id="rId14"/>
    <p:sldId id="4603" r:id="rId15"/>
    <p:sldId id="4582" r:id="rId16"/>
    <p:sldId id="2552" r:id="rId17"/>
    <p:sldId id="4442" r:id="rId18"/>
    <p:sldId id="2489" r:id="rId19"/>
    <p:sldId id="2540" r:id="rId20"/>
    <p:sldId id="4446" r:id="rId21"/>
    <p:sldId id="2157" r:id="rId22"/>
    <p:sldId id="536" r:id="rId23"/>
    <p:sldId id="4448" r:id="rId24"/>
    <p:sldId id="4369" r:id="rId25"/>
    <p:sldId id="269" r:id="rId26"/>
    <p:sldId id="4571" r:id="rId27"/>
    <p:sldId id="4572" r:id="rId28"/>
    <p:sldId id="1253" r:id="rId29"/>
    <p:sldId id="1344" r:id="rId30"/>
    <p:sldId id="2308" r:id="rId31"/>
    <p:sldId id="2481" r:id="rId32"/>
    <p:sldId id="2478" r:id="rId33"/>
    <p:sldId id="273" r:id="rId34"/>
    <p:sldId id="2553" r:id="rId35"/>
    <p:sldId id="4457" r:id="rId36"/>
    <p:sldId id="4375" r:id="rId37"/>
    <p:sldId id="4573" r:id="rId38"/>
    <p:sldId id="353" r:id="rId39"/>
    <p:sldId id="2542" r:id="rId40"/>
    <p:sldId id="4574" r:id="rId41"/>
    <p:sldId id="4370" r:id="rId42"/>
    <p:sldId id="4595" r:id="rId43"/>
    <p:sldId id="2499" r:id="rId44"/>
    <p:sldId id="4583" r:id="rId45"/>
    <p:sldId id="2504" r:id="rId46"/>
    <p:sldId id="4596" r:id="rId47"/>
    <p:sldId id="4597" r:id="rId48"/>
    <p:sldId id="4584" r:id="rId49"/>
    <p:sldId id="574" r:id="rId50"/>
    <p:sldId id="285" r:id="rId51"/>
    <p:sldId id="2500" r:id="rId52"/>
    <p:sldId id="2507" r:id="rId53"/>
    <p:sldId id="2509" r:id="rId54"/>
    <p:sldId id="4585" r:id="rId55"/>
    <p:sldId id="2518" r:id="rId56"/>
    <p:sldId id="2510" r:id="rId57"/>
    <p:sldId id="4587" r:id="rId58"/>
    <p:sldId id="4598" r:id="rId59"/>
    <p:sldId id="4588" r:id="rId60"/>
    <p:sldId id="4599" r:id="rId61"/>
    <p:sldId id="4600" r:id="rId62"/>
    <p:sldId id="4601" r:id="rId63"/>
    <p:sldId id="4590" r:id="rId64"/>
    <p:sldId id="4602" r:id="rId65"/>
    <p:sldId id="4589" r:id="rId66"/>
    <p:sldId id="4592" r:id="rId67"/>
    <p:sldId id="2512" r:id="rId68"/>
    <p:sldId id="2570" r:id="rId69"/>
  </p:sldIdLst>
  <p:sldSz cx="9144000" cy="6858000" type="screen4x3"/>
  <p:notesSz cx="7104063" cy="10234613"/>
  <p:custDataLst>
    <p:tags r:id="rId7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3" pos="340">
          <p15:clr>
            <a:srgbClr val="A4A3A4"/>
          </p15:clr>
        </p15:guide>
        <p15:guide id="4" pos="5420">
          <p15:clr>
            <a:srgbClr val="A4A3A4"/>
          </p15:clr>
        </p15:guide>
        <p15:guide id="5" pos="2880">
          <p15:clr>
            <a:srgbClr val="A4A3A4"/>
          </p15:clr>
        </p15:guide>
        <p15:guide id="8" orient="horz" pos="3203" userDrawn="1">
          <p15:clr>
            <a:srgbClr val="A4A3A4"/>
          </p15:clr>
        </p15:guide>
        <p15:guide id="12" orient="horz" pos="1026" userDrawn="1">
          <p15:clr>
            <a:srgbClr val="A4A3A4"/>
          </p15:clr>
        </p15:guide>
        <p15:guide id="13" orient="horz" pos="1570" userDrawn="1">
          <p15:clr>
            <a:srgbClr val="A4A3A4"/>
          </p15:clr>
        </p15:guide>
        <p15:guide id="17" orient="horz" pos="2523">
          <p15:clr>
            <a:srgbClr val="A4A3A4"/>
          </p15:clr>
        </p15:guide>
        <p15:guide id="18" orient="horz" pos="845" userDrawn="1">
          <p15:clr>
            <a:srgbClr val="A4A3A4"/>
          </p15:clr>
        </p15:guide>
        <p15:guide id="19" orient="horz" pos="1298">
          <p15:clr>
            <a:srgbClr val="A4A3A4"/>
          </p15:clr>
        </p15:guide>
        <p15:guide id="20" orient="horz" pos="3793">
          <p15:clr>
            <a:srgbClr val="A4A3A4"/>
          </p15:clr>
        </p15:guide>
        <p15:guide id="22" pos="2744" userDrawn="1">
          <p15:clr>
            <a:srgbClr val="A4A3A4"/>
          </p15:clr>
        </p15:guide>
        <p15:guide id="23" pos="3696" userDrawn="1">
          <p15:clr>
            <a:srgbClr val="A4A3A4"/>
          </p15:clr>
        </p15:guide>
        <p15:guide id="24" orient="horz" pos="2160" userDrawn="1">
          <p15:clr>
            <a:srgbClr val="A4A3A4"/>
          </p15:clr>
        </p15:guide>
        <p15:guide id="26" orient="horz">
          <p15:clr>
            <a:srgbClr val="A4A3A4"/>
          </p15:clr>
        </p15:guide>
        <p15:guide id="27" orient="horz" pos="3566">
          <p15:clr>
            <a:srgbClr val="A4A3A4"/>
          </p15:clr>
        </p15:guide>
        <p15:guide id="28" pos="839" userDrawn="1">
          <p15:clr>
            <a:srgbClr val="A4A3A4"/>
          </p15:clr>
        </p15:guide>
        <p15:guide id="29" pos="3787" userDrawn="1">
          <p15:clr>
            <a:srgbClr val="A4A3A4"/>
          </p15:clr>
        </p15:guide>
        <p15:guide id="30" pos="3016" userDrawn="1">
          <p15:clr>
            <a:srgbClr val="A4A3A4"/>
          </p15:clr>
        </p15:guide>
        <p15:guide id="31" pos="3334" userDrawn="1">
          <p15:clr>
            <a:srgbClr val="A4A3A4"/>
          </p15:clr>
        </p15:guide>
        <p15:guide id="34" pos="3446" userDrawn="1">
          <p15:clr>
            <a:srgbClr val="A4A3A4"/>
          </p15:clr>
        </p15:guide>
        <p15:guide id="35" orient="horz" pos="3430" userDrawn="1">
          <p15:clr>
            <a:srgbClr val="A4A3A4"/>
          </p15:clr>
        </p15:guide>
        <p15:guide id="36" pos="5284" userDrawn="1">
          <p15:clr>
            <a:srgbClr val="A4A3A4"/>
          </p15:clr>
        </p15:guide>
      </p15:sldGuideLst>
    </p:ext>
    <p:ext uri="{2D200454-40CA-4A62-9FC3-DE9A4176ACB9}">
      <p15:notesGuideLst xmlns:p15="http://schemas.microsoft.com/office/powerpoint/2012/main" xmlns="">
        <p15:guide id="1" orient="horz" pos="6224" userDrawn="1">
          <p15:clr>
            <a:srgbClr val="A4A3A4"/>
          </p15:clr>
        </p15:guide>
        <p15:guide id="2" orient="horz" pos="127" userDrawn="1">
          <p15:clr>
            <a:srgbClr val="A4A3A4"/>
          </p15:clr>
        </p15:guide>
        <p15:guide id="3" orient="horz" pos="2919" userDrawn="1">
          <p15:clr>
            <a:srgbClr val="A4A3A4"/>
          </p15:clr>
        </p15:guide>
        <p15:guide id="4" pos="682" userDrawn="1">
          <p15:clr>
            <a:srgbClr val="A4A3A4"/>
          </p15:clr>
        </p15:guide>
        <p15:guide id="5" pos="411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EAF1"/>
    <a:srgbClr val="E8E7E3"/>
    <a:srgbClr val="DBDBDC"/>
    <a:srgbClr val="FEF1C0"/>
    <a:srgbClr val="B2B2B2"/>
    <a:srgbClr val="CCBACF"/>
    <a:srgbClr val="F5DDB2"/>
    <a:srgbClr val="EEF1B2"/>
    <a:srgbClr val="FDD0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538" autoAdjust="0"/>
    <p:restoredTop sz="81486" autoAdjust="0"/>
  </p:normalViewPr>
  <p:slideViewPr>
    <p:cSldViewPr>
      <p:cViewPr varScale="1">
        <p:scale>
          <a:sx n="65" d="100"/>
          <a:sy n="65" d="100"/>
        </p:scale>
        <p:origin x="-2800" y="-120"/>
      </p:cViewPr>
      <p:guideLst>
        <p:guide orient="horz" pos="3203"/>
        <p:guide orient="horz" pos="1026"/>
        <p:guide orient="horz" pos="1570"/>
        <p:guide orient="horz" pos="2523"/>
        <p:guide orient="horz" pos="845"/>
        <p:guide orient="horz" pos="1298"/>
        <p:guide orient="horz" pos="3793"/>
        <p:guide orient="horz" pos="2160"/>
        <p:guide orient="horz"/>
        <p:guide orient="horz" pos="3566"/>
        <p:guide orient="horz" pos="3430"/>
        <p:guide pos="340"/>
        <p:guide pos="5420"/>
        <p:guide pos="2880"/>
        <p:guide pos="2744"/>
        <p:guide pos="3696"/>
        <p:guide pos="839"/>
        <p:guide pos="3787"/>
        <p:guide pos="3016"/>
        <p:guide pos="3334"/>
        <p:guide pos="3446"/>
        <p:guide pos="5284"/>
      </p:guideLst>
    </p:cSldViewPr>
  </p:slideViewPr>
  <p:notesTextViewPr>
    <p:cViewPr>
      <p:scale>
        <a:sx n="3" d="2"/>
        <a:sy n="3" d="2"/>
      </p:scale>
      <p:origin x="0" y="0"/>
    </p:cViewPr>
  </p:notesTextViewPr>
  <p:sorterViewPr>
    <p:cViewPr varScale="1">
      <p:scale>
        <a:sx n="1" d="1"/>
        <a:sy n="1" d="1"/>
      </p:scale>
      <p:origin x="0" y="0"/>
    </p:cViewPr>
  </p:sorterViewPr>
  <p:notesViewPr>
    <p:cSldViewPr showGuides="1">
      <p:cViewPr>
        <p:scale>
          <a:sx n="100" d="100"/>
          <a:sy n="100" d="100"/>
        </p:scale>
        <p:origin x="2323" y="-994"/>
      </p:cViewPr>
      <p:guideLst>
        <p:guide orient="horz" pos="6224"/>
        <p:guide orient="horz" pos="127"/>
        <p:guide orient="horz" pos="2919"/>
        <p:guide pos="682"/>
        <p:guide pos="411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notesMaster" Target="notesMasters/notesMaster1.xml"/><Relationship Id="rId71" Type="http://schemas.openxmlformats.org/officeDocument/2006/relationships/handoutMaster" Target="handoutMasters/handoutMaster1.xml"/><Relationship Id="rId72" Type="http://schemas.openxmlformats.org/officeDocument/2006/relationships/printerSettings" Target="printerSettings/printerSettings1.bin"/><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tags" Target="tags/tag1.xml"/><Relationship Id="rId74" Type="http://schemas.openxmlformats.org/officeDocument/2006/relationships/presProps" Target="presProps.xml"/><Relationship Id="rId75" Type="http://schemas.openxmlformats.org/officeDocument/2006/relationships/viewProps" Target="viewProps.xml"/><Relationship Id="rId76" Type="http://schemas.openxmlformats.org/officeDocument/2006/relationships/theme" Target="theme/theme1.xml"/><Relationship Id="rId77"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Tabelle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Tabelle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Tabelle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Tabelle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Tabelle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Tabelle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Tabelle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Tabelle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Tabelle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Tabelle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Tabelle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Tabelle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Tabelle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Tabelle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Tabelle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Tabelle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Tabelle24.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Tabelle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Tabelle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Tabelle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Tabelle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Tabelle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Tabelle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Tabelle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4709835064142"/>
          <c:y val="0.0473130841121495"/>
          <c:w val="0.8094074526573"/>
          <c:h val="0.905373831775701"/>
        </c:manualLayout>
      </c:layout>
      <c:barChart>
        <c:barDir val="col"/>
        <c:grouping val="stacked"/>
        <c:varyColors val="0"/>
        <c:ser>
          <c:idx val="0"/>
          <c:order val="0"/>
          <c:spPr>
            <a:solidFill>
              <a:schemeClr val="accent5"/>
            </a:solidFill>
            <a:ln>
              <a:noFill/>
            </a:ln>
          </c:spPr>
          <c:invertIfNegative val="0"/>
          <c:val>
            <c:numRef>
              <c:f>Sheet1!$A$1:$Q$1</c:f>
              <c:numCache>
                <c:formatCode>General</c:formatCode>
                <c:ptCount val="17"/>
                <c:pt idx="0">
                  <c:v>99227.60075329498</c:v>
                </c:pt>
                <c:pt idx="1">
                  <c:v>99227.60075329504</c:v>
                </c:pt>
                <c:pt idx="2">
                  <c:v>100672.662900188</c:v>
                </c:pt>
                <c:pt idx="3">
                  <c:v>103081.099811676</c:v>
                </c:pt>
                <c:pt idx="4">
                  <c:v>109824.723163842</c:v>
                </c:pt>
                <c:pt idx="5">
                  <c:v>106934.598870056</c:v>
                </c:pt>
                <c:pt idx="6">
                  <c:v>109824.723163841</c:v>
                </c:pt>
                <c:pt idx="7">
                  <c:v>109824.723163841</c:v>
                </c:pt>
                <c:pt idx="8">
                  <c:v>116568.346516008</c:v>
                </c:pt>
                <c:pt idx="9">
                  <c:v>113678.222222222</c:v>
                </c:pt>
                <c:pt idx="10">
                  <c:v>136673.0</c:v>
                </c:pt>
                <c:pt idx="11">
                  <c:v>138196.990770008</c:v>
                </c:pt>
                <c:pt idx="12">
                  <c:v>146744.215450752</c:v>
                </c:pt>
                <c:pt idx="13">
                  <c:v>151561.0</c:v>
                </c:pt>
                <c:pt idx="14">
                  <c:v>150616.0</c:v>
                </c:pt>
                <c:pt idx="15">
                  <c:v>158659.0</c:v>
                </c:pt>
                <c:pt idx="16">
                  <c:v>167597.1044589687</c:v>
                </c:pt>
              </c:numCache>
            </c:numRef>
          </c:val>
          <c:extLst xmlns:c16r2="http://schemas.microsoft.com/office/drawing/2015/06/chart">
            <c:ext xmlns:c16="http://schemas.microsoft.com/office/drawing/2014/chart" uri="{C3380CC4-5D6E-409C-BE32-E72D297353CC}">
              <c16:uniqueId val="{00000000-5B26-4E9C-BC98-8B7A077BA5A0}"/>
            </c:ext>
          </c:extLst>
        </c:ser>
        <c:ser>
          <c:idx val="1"/>
          <c:order val="1"/>
          <c:spPr>
            <a:solidFill>
              <a:srgbClr val="CFCEC7"/>
            </a:solidFill>
            <a:ln>
              <a:noFill/>
            </a:ln>
          </c:spPr>
          <c:invertIfNegative val="0"/>
          <c:dPt>
            <c:idx val="15"/>
            <c:invertIfNegative val="0"/>
            <c:bubble3D val="0"/>
            <c:spPr>
              <a:solidFill>
                <a:schemeClr val="accent1"/>
              </a:solidFill>
              <a:ln>
                <a:noFill/>
              </a:ln>
            </c:spPr>
            <c:extLst xmlns:c16r2="http://schemas.microsoft.com/office/drawing/2015/06/chart">
              <c:ext xmlns:c16="http://schemas.microsoft.com/office/drawing/2014/chart" uri="{C3380CC4-5D6E-409C-BE32-E72D297353CC}">
                <c16:uniqueId val="{00000001-5B26-4E9C-BC98-8B7A077BA5A0}"/>
              </c:ext>
            </c:extLst>
          </c:dPt>
          <c:dPt>
            <c:idx val="16"/>
            <c:invertIfNegative val="0"/>
            <c:bubble3D val="0"/>
            <c:spPr>
              <a:solidFill>
                <a:schemeClr val="accent1"/>
              </a:solidFill>
              <a:ln>
                <a:noFill/>
              </a:ln>
            </c:spPr>
            <c:extLst xmlns:c16r2="http://schemas.microsoft.com/office/drawing/2015/06/chart">
              <c:ext xmlns:c16="http://schemas.microsoft.com/office/drawing/2014/chart" uri="{C3380CC4-5D6E-409C-BE32-E72D297353CC}">
                <c16:uniqueId val="{00000002-5B26-4E9C-BC98-8B7A077BA5A0}"/>
              </c:ext>
            </c:extLst>
          </c:dPt>
          <c:val>
            <c:numRef>
              <c:f>Sheet1!$A$2:$Q$2</c:f>
              <c:numCache>
                <c:formatCode>General</c:formatCode>
                <c:ptCount val="17"/>
                <c:pt idx="0">
                  <c:v>11078.809792844</c:v>
                </c:pt>
                <c:pt idx="1">
                  <c:v>10115.43502824899</c:v>
                </c:pt>
                <c:pt idx="2">
                  <c:v>9152.060263653022</c:v>
                </c:pt>
                <c:pt idx="3">
                  <c:v>9152.060263653982</c:v>
                </c:pt>
                <c:pt idx="4">
                  <c:v>9152.060263653982</c:v>
                </c:pt>
                <c:pt idx="5">
                  <c:v>11078.809792844</c:v>
                </c:pt>
                <c:pt idx="6">
                  <c:v>13005.55932203398</c:v>
                </c:pt>
                <c:pt idx="7">
                  <c:v>12042.18455743898</c:v>
                </c:pt>
                <c:pt idx="8">
                  <c:v>11560.497175141</c:v>
                </c:pt>
                <c:pt idx="9">
                  <c:v>13487.24670433102</c:v>
                </c:pt>
                <c:pt idx="10">
                  <c:v>10616.0</c:v>
                </c:pt>
                <c:pt idx="11">
                  <c:v>12590.719433558</c:v>
                </c:pt>
                <c:pt idx="12">
                  <c:v>11622.202554053</c:v>
                </c:pt>
                <c:pt idx="13">
                  <c:v>12282.0</c:v>
                </c:pt>
                <c:pt idx="14">
                  <c:v>6806.0</c:v>
                </c:pt>
                <c:pt idx="15">
                  <c:v>619503.0</c:v>
                </c:pt>
                <c:pt idx="16">
                  <c:v>654402.8955410315</c:v>
                </c:pt>
              </c:numCache>
            </c:numRef>
          </c:val>
          <c:extLst xmlns:c16r2="http://schemas.microsoft.com/office/drawing/2015/06/chart">
            <c:ext xmlns:c16="http://schemas.microsoft.com/office/drawing/2014/chart" uri="{C3380CC4-5D6E-409C-BE32-E72D297353CC}">
              <c16:uniqueId val="{00000003-5B26-4E9C-BC98-8B7A077BA5A0}"/>
            </c:ext>
          </c:extLst>
        </c:ser>
        <c:ser>
          <c:idx val="2"/>
          <c:order val="2"/>
          <c:spPr>
            <a:solidFill>
              <a:schemeClr val="accent1"/>
            </a:solidFill>
            <a:ln>
              <a:noFill/>
            </a:ln>
          </c:spPr>
          <c:invertIfNegative val="0"/>
          <c:val>
            <c:numRef>
              <c:f>Sheet1!$A$3:$Q$3</c:f>
              <c:numCache>
                <c:formatCode>General</c:formatCode>
                <c:ptCount val="17"/>
                <c:pt idx="0">
                  <c:v>194120.015065913</c:v>
                </c:pt>
                <c:pt idx="1">
                  <c:v>194120.015065913</c:v>
                </c:pt>
                <c:pt idx="2">
                  <c:v>197491.826741996</c:v>
                </c:pt>
                <c:pt idx="3">
                  <c:v>205198.824858756</c:v>
                </c:pt>
                <c:pt idx="4">
                  <c:v>204235.450094161</c:v>
                </c:pt>
                <c:pt idx="5">
                  <c:v>216277.6346516</c:v>
                </c:pt>
                <c:pt idx="6">
                  <c:v>219167.758945386</c:v>
                </c:pt>
                <c:pt idx="7">
                  <c:v>224466.320150659</c:v>
                </c:pt>
                <c:pt idx="8">
                  <c:v>230728.256120527</c:v>
                </c:pt>
                <c:pt idx="9">
                  <c:v>243733.815442561</c:v>
                </c:pt>
                <c:pt idx="10">
                  <c:v>364263.0</c:v>
                </c:pt>
                <c:pt idx="11">
                  <c:v>436114.0</c:v>
                </c:pt>
                <c:pt idx="12">
                  <c:v>490604.7974459471</c:v>
                </c:pt>
                <c:pt idx="13">
                  <c:v>547407.0</c:v>
                </c:pt>
                <c:pt idx="14">
                  <c:v>582596.0</c:v>
                </c:pt>
              </c:numCache>
            </c:numRef>
          </c:val>
          <c:extLst xmlns:c16r2="http://schemas.microsoft.com/office/drawing/2015/06/chart">
            <c:ext xmlns:c16="http://schemas.microsoft.com/office/drawing/2014/chart" uri="{C3380CC4-5D6E-409C-BE32-E72D297353CC}">
              <c16:uniqueId val="{00000004-5B26-4E9C-BC98-8B7A077BA5A0}"/>
            </c:ext>
          </c:extLst>
        </c:ser>
        <c:dLbls>
          <c:showLegendKey val="0"/>
          <c:showVal val="0"/>
          <c:showCatName val="0"/>
          <c:showSerName val="0"/>
          <c:showPercent val="0"/>
          <c:showBubbleSize val="0"/>
        </c:dLbls>
        <c:gapWidth val="87"/>
        <c:overlap val="100"/>
        <c:axId val="2111341816"/>
        <c:axId val="2111345240"/>
      </c:barChart>
      <c:catAx>
        <c:axId val="2111341816"/>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11345240"/>
        <c:crosses val="min"/>
        <c:auto val="0"/>
        <c:lblAlgn val="ctr"/>
        <c:lblOffset val="100"/>
        <c:noMultiLvlLbl val="0"/>
      </c:catAx>
      <c:valAx>
        <c:axId val="2111345240"/>
        <c:scaling>
          <c:orientation val="minMax"/>
          <c:max val="900000.0"/>
          <c:min val="0.0"/>
        </c:scaling>
        <c:delete val="0"/>
        <c:axPos val="l"/>
        <c:majorGridlines>
          <c:spPr>
            <a:ln>
              <a:noFill/>
            </a:ln>
          </c:spPr>
        </c:majorGridlines>
        <c:numFmt formatCode="#,##0;&quot;-&quot;#,##0" sourceLinked="0"/>
        <c:majorTickMark val="out"/>
        <c:minorTickMark val="none"/>
        <c:tickLblPos val="nextTo"/>
        <c:spPr>
          <a:ln w="9525" algn="ctr">
            <a:solidFill>
              <a:schemeClr val="accent1"/>
            </a:solidFill>
            <a:prstDash val="solid"/>
          </a:ln>
        </c:spPr>
        <c:txPr>
          <a:bodyPr wrap="none"/>
          <a:lstStyle/>
          <a:p>
            <a:pPr>
              <a:defRPr sz="1400">
                <a:solidFill>
                  <a:schemeClr val="tx1"/>
                </a:solidFill>
                <a:latin typeface="+mn-lt"/>
                <a:ea typeface="+mn-ea"/>
                <a:cs typeface="+mn-cs"/>
                <a:sym typeface="+mn-lt"/>
              </a:defRPr>
            </a:pPr>
            <a:endParaRPr lang="de-DE"/>
          </a:p>
        </c:txPr>
        <c:crossAx val="2111341816"/>
        <c:crosses val="min"/>
        <c:crossBetween val="between"/>
        <c:majorUnit val="10000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1533895657607"/>
          <c:y val="0.0473130841121495"/>
          <c:w val="0.892221180880975"/>
          <c:h val="0.905373831775701"/>
        </c:manualLayout>
      </c:layout>
      <c:barChart>
        <c:barDir val="col"/>
        <c:grouping val="stacked"/>
        <c:varyColors val="0"/>
        <c:ser>
          <c:idx val="0"/>
          <c:order val="0"/>
          <c:spPr>
            <a:solidFill>
              <a:schemeClr val="accent1"/>
            </a:solidFill>
            <a:ln>
              <a:noFill/>
            </a:ln>
          </c:spPr>
          <c:invertIfNegative val="0"/>
          <c:val>
            <c:numRef>
              <c:f>Sheet1!$A$1:$M$1</c:f>
              <c:numCache>
                <c:formatCode>General</c:formatCode>
                <c:ptCount val="13"/>
                <c:pt idx="0">
                  <c:v>22.44</c:v>
                </c:pt>
                <c:pt idx="1">
                  <c:v>22.22</c:v>
                </c:pt>
                <c:pt idx="2">
                  <c:v>22.97</c:v>
                </c:pt>
                <c:pt idx="3">
                  <c:v>23.58</c:v>
                </c:pt>
                <c:pt idx="4">
                  <c:v>21.82</c:v>
                </c:pt>
                <c:pt idx="5">
                  <c:v>21.97</c:v>
                </c:pt>
                <c:pt idx="6">
                  <c:v>41.98</c:v>
                </c:pt>
                <c:pt idx="7">
                  <c:v>67.17999999999999</c:v>
                </c:pt>
                <c:pt idx="8">
                  <c:v>66.23</c:v>
                </c:pt>
                <c:pt idx="9">
                  <c:v>65.45</c:v>
                </c:pt>
                <c:pt idx="10">
                  <c:v>66.95167845999998</c:v>
                </c:pt>
                <c:pt idx="11">
                  <c:v>66.00518345</c:v>
                </c:pt>
                <c:pt idx="12">
                  <c:v>66.0</c:v>
                </c:pt>
              </c:numCache>
            </c:numRef>
          </c:val>
          <c:extLst xmlns:c16r2="http://schemas.microsoft.com/office/drawing/2015/06/chart">
            <c:ext xmlns:c16="http://schemas.microsoft.com/office/drawing/2014/chart" uri="{C3380CC4-5D6E-409C-BE32-E72D297353CC}">
              <c16:uniqueId val="{00000000-4BFF-45CB-9F13-BE61F7F67A90}"/>
            </c:ext>
          </c:extLst>
        </c:ser>
        <c:dLbls>
          <c:showLegendKey val="0"/>
          <c:showVal val="0"/>
          <c:showCatName val="0"/>
          <c:showSerName val="0"/>
          <c:showPercent val="0"/>
          <c:showBubbleSize val="0"/>
        </c:dLbls>
        <c:gapWidth val="87"/>
        <c:overlap val="100"/>
        <c:axId val="2132024072"/>
        <c:axId val="2132027592"/>
      </c:barChart>
      <c:catAx>
        <c:axId val="2132024072"/>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32027592"/>
        <c:crosses val="min"/>
        <c:auto val="0"/>
        <c:lblAlgn val="ctr"/>
        <c:lblOffset val="100"/>
        <c:noMultiLvlLbl val="0"/>
      </c:catAx>
      <c:valAx>
        <c:axId val="2132027592"/>
        <c:scaling>
          <c:orientation val="minMax"/>
          <c:max val="70.0"/>
          <c:min val="0.0"/>
        </c:scaling>
        <c:delete val="0"/>
        <c:axPos val="l"/>
        <c:majorGridlines>
          <c:spPr>
            <a:ln>
              <a:noFill/>
            </a:ln>
          </c:spPr>
        </c:majorGridlines>
        <c:numFmt formatCode="#,##0;&quot;-&quot;#,##0" sourceLinked="0"/>
        <c:majorTickMark val="out"/>
        <c:minorTickMark val="none"/>
        <c:tickLblPos val="nextTo"/>
        <c:spPr>
          <a:ln w="9525" algn="ctr">
            <a:solidFill>
              <a:schemeClr val="accent1"/>
            </a:solidFill>
            <a:prstDash val="solid"/>
          </a:ln>
        </c:spPr>
        <c:txPr>
          <a:bodyPr wrap="none"/>
          <a:lstStyle/>
          <a:p>
            <a:pPr>
              <a:defRPr sz="1400">
                <a:solidFill>
                  <a:schemeClr val="tx1"/>
                </a:solidFill>
                <a:latin typeface="+mn-lt"/>
                <a:ea typeface="+mn-ea"/>
                <a:cs typeface="+mn-cs"/>
                <a:sym typeface="+mn-lt"/>
              </a:defRPr>
            </a:pPr>
            <a:endParaRPr lang="de-DE"/>
          </a:p>
        </c:txPr>
        <c:crossAx val="2132024072"/>
        <c:crosses val="min"/>
        <c:crossBetween val="between"/>
        <c:majorUnit val="1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22793487574979"/>
          <c:y val="0.0225596529284165"/>
          <c:w val="0.955441302485005"/>
          <c:h val="0.954880694143167"/>
        </c:manualLayout>
      </c:layout>
      <c:barChart>
        <c:barDir val="bar"/>
        <c:grouping val="stacked"/>
        <c:varyColors val="0"/>
        <c:ser>
          <c:idx val="0"/>
          <c:order val="0"/>
          <c:spPr>
            <a:solidFill>
              <a:srgbClr val="C0C0C0"/>
            </a:solidFill>
            <a:ln>
              <a:noFill/>
            </a:ln>
          </c:spPr>
          <c:invertIfNegative val="0"/>
          <c:dPt>
            <c:idx val="0"/>
            <c:invertIfNegative val="0"/>
            <c:bubble3D val="0"/>
            <c:spPr>
              <a:solidFill>
                <a:schemeClr val="folHlink"/>
              </a:solidFill>
              <a:ln>
                <a:noFill/>
              </a:ln>
            </c:spPr>
            <c:extLst xmlns:c16r2="http://schemas.microsoft.com/office/drawing/2015/06/chart">
              <c:ext xmlns:c16="http://schemas.microsoft.com/office/drawing/2014/chart" uri="{C3380CC4-5D6E-409C-BE32-E72D297353CC}">
                <c16:uniqueId val="{00000000-A160-4EE8-8A71-AE096EACE67C}"/>
              </c:ext>
            </c:extLst>
          </c:dPt>
          <c:dPt>
            <c:idx val="1"/>
            <c:invertIfNegative val="0"/>
            <c:bubble3D val="0"/>
            <c:spPr>
              <a:solidFill>
                <a:schemeClr val="accent2"/>
              </a:solidFill>
              <a:ln>
                <a:noFill/>
              </a:ln>
            </c:spPr>
            <c:extLst xmlns:c16r2="http://schemas.microsoft.com/office/drawing/2015/06/chart">
              <c:ext xmlns:c16="http://schemas.microsoft.com/office/drawing/2014/chart" uri="{C3380CC4-5D6E-409C-BE32-E72D297353CC}">
                <c16:uniqueId val="{00000001-A160-4EE8-8A71-AE096EACE67C}"/>
              </c:ext>
            </c:extLst>
          </c:dPt>
          <c:dPt>
            <c:idx val="3"/>
            <c:invertIfNegative val="0"/>
            <c:bubble3D val="0"/>
            <c:spPr>
              <a:solidFill>
                <a:schemeClr val="accent3"/>
              </a:solidFill>
              <a:ln w="3175" algn="ctr">
                <a:solidFill>
                  <a:schemeClr val="accent5"/>
                </a:solidFill>
                <a:prstDash val="solid"/>
              </a:ln>
            </c:spPr>
            <c:extLst xmlns:c16r2="http://schemas.microsoft.com/office/drawing/2015/06/chart">
              <c:ext xmlns:c16="http://schemas.microsoft.com/office/drawing/2014/chart" uri="{C3380CC4-5D6E-409C-BE32-E72D297353CC}">
                <c16:uniqueId val="{00000002-A160-4EE8-8A71-AE096EACE67C}"/>
              </c:ext>
            </c:extLst>
          </c:dPt>
          <c:val>
            <c:numRef>
              <c:f>Sheet1!$A$1:$F$1</c:f>
              <c:numCache>
                <c:formatCode>General</c:formatCode>
                <c:ptCount val="6"/>
                <c:pt idx="0">
                  <c:v>50.0</c:v>
                </c:pt>
                <c:pt idx="1">
                  <c:v>30.0</c:v>
                </c:pt>
                <c:pt idx="2">
                  <c:v>10.0</c:v>
                </c:pt>
                <c:pt idx="3">
                  <c:v>10.0</c:v>
                </c:pt>
                <c:pt idx="4">
                  <c:v>5.0</c:v>
                </c:pt>
                <c:pt idx="5">
                  <c:v>5.0</c:v>
                </c:pt>
              </c:numCache>
            </c:numRef>
          </c:val>
          <c:extLst xmlns:c16r2="http://schemas.microsoft.com/office/drawing/2015/06/chart">
            <c:ext xmlns:c16="http://schemas.microsoft.com/office/drawing/2014/chart" uri="{C3380CC4-5D6E-409C-BE32-E72D297353CC}">
              <c16:uniqueId val="{00000003-A160-4EE8-8A71-AE096EACE67C}"/>
            </c:ext>
          </c:extLst>
        </c:ser>
        <c:dLbls>
          <c:showLegendKey val="0"/>
          <c:showVal val="0"/>
          <c:showCatName val="0"/>
          <c:showSerName val="0"/>
          <c:showPercent val="0"/>
          <c:showBubbleSize val="0"/>
        </c:dLbls>
        <c:gapWidth val="80"/>
        <c:overlap val="100"/>
        <c:axId val="2131602440"/>
        <c:axId val="2131605944"/>
      </c:barChart>
      <c:catAx>
        <c:axId val="213160244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2131605944"/>
        <c:crosses val="min"/>
        <c:auto val="0"/>
        <c:lblAlgn val="ctr"/>
        <c:lblOffset val="100"/>
        <c:noMultiLvlLbl val="0"/>
      </c:catAx>
      <c:valAx>
        <c:axId val="2131605944"/>
        <c:scaling>
          <c:orientation val="minMax"/>
          <c:max val="50.0"/>
          <c:min val="0.0"/>
        </c:scaling>
        <c:delete val="1"/>
        <c:axPos val="t"/>
        <c:numFmt formatCode="General" sourceLinked="1"/>
        <c:majorTickMark val="out"/>
        <c:minorTickMark val="none"/>
        <c:tickLblPos val="nextTo"/>
        <c:crossAx val="2131602440"/>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61851475076297"/>
          <c:y val="0.0276415514935354"/>
          <c:w val="0.94323499491353"/>
          <c:h val="0.944716897012929"/>
        </c:manualLayout>
      </c:layout>
      <c:scatterChart>
        <c:scatterStyle val="lineMarker"/>
        <c:varyColors val="0"/>
        <c:ser>
          <c:idx val="0"/>
          <c:order val="0"/>
          <c:spPr>
            <a:ln>
              <a:noFill/>
            </a:ln>
          </c:spPr>
          <c:marker>
            <c:symbol val="circle"/>
            <c:size val="5"/>
            <c:spPr>
              <a:solidFill>
                <a:schemeClr val="accent1"/>
              </a:solidFill>
              <a:ln w="9525" algn="ctr">
                <a:solidFill>
                  <a:schemeClr val="accent1"/>
                </a:solidFill>
                <a:prstDash val="solid"/>
              </a:ln>
            </c:spPr>
          </c:marker>
          <c:xVal>
            <c:numRef>
              <c:f>Sheet1!$A$1:$A$70</c:f>
              <c:numCache>
                <c:formatCode>General</c:formatCode>
                <c:ptCount val="70"/>
                <c:pt idx="0">
                  <c:v>247.0</c:v>
                </c:pt>
                <c:pt idx="1">
                  <c:v>217.0</c:v>
                </c:pt>
                <c:pt idx="2">
                  <c:v>249.0</c:v>
                </c:pt>
                <c:pt idx="3">
                  <c:v>124.0</c:v>
                </c:pt>
                <c:pt idx="4">
                  <c:v>166.0</c:v>
                </c:pt>
                <c:pt idx="5">
                  <c:v>164.0</c:v>
                </c:pt>
                <c:pt idx="6">
                  <c:v>227.0</c:v>
                </c:pt>
                <c:pt idx="7">
                  <c:v>171.0</c:v>
                </c:pt>
                <c:pt idx="8">
                  <c:v>211.0</c:v>
                </c:pt>
                <c:pt idx="9">
                  <c:v>111.0</c:v>
                </c:pt>
                <c:pt idx="10">
                  <c:v>159.0</c:v>
                </c:pt>
                <c:pt idx="11">
                  <c:v>153.0</c:v>
                </c:pt>
                <c:pt idx="12">
                  <c:v>163.0</c:v>
                </c:pt>
                <c:pt idx="13">
                  <c:v>245.0</c:v>
                </c:pt>
                <c:pt idx="14">
                  <c:v>149.0</c:v>
                </c:pt>
                <c:pt idx="15">
                  <c:v>188.0</c:v>
                </c:pt>
                <c:pt idx="16">
                  <c:v>180.0</c:v>
                </c:pt>
                <c:pt idx="17">
                  <c:v>157.0</c:v>
                </c:pt>
                <c:pt idx="18">
                  <c:v>102.0</c:v>
                </c:pt>
                <c:pt idx="19">
                  <c:v>157.0</c:v>
                </c:pt>
                <c:pt idx="20">
                  <c:v>125.0</c:v>
                </c:pt>
                <c:pt idx="21">
                  <c:v>199.0</c:v>
                </c:pt>
                <c:pt idx="22">
                  <c:v>114.0</c:v>
                </c:pt>
                <c:pt idx="23">
                  <c:v>110.0</c:v>
                </c:pt>
                <c:pt idx="24">
                  <c:v>167.0</c:v>
                </c:pt>
                <c:pt idx="25">
                  <c:v>214.0</c:v>
                </c:pt>
                <c:pt idx="26">
                  <c:v>124.0</c:v>
                </c:pt>
                <c:pt idx="27">
                  <c:v>160.0</c:v>
                </c:pt>
                <c:pt idx="28">
                  <c:v>123.0</c:v>
                </c:pt>
                <c:pt idx="29">
                  <c:v>228.0</c:v>
                </c:pt>
                <c:pt idx="30">
                  <c:v>124.0</c:v>
                </c:pt>
                <c:pt idx="31">
                  <c:v>134.0</c:v>
                </c:pt>
                <c:pt idx="32">
                  <c:v>149.0</c:v>
                </c:pt>
                <c:pt idx="33">
                  <c:v>125.0</c:v>
                </c:pt>
                <c:pt idx="34">
                  <c:v>126.0</c:v>
                </c:pt>
                <c:pt idx="35">
                  <c:v>180.0</c:v>
                </c:pt>
                <c:pt idx="36">
                  <c:v>172.0</c:v>
                </c:pt>
                <c:pt idx="37">
                  <c:v>208.0</c:v>
                </c:pt>
                <c:pt idx="38">
                  <c:v>246.0</c:v>
                </c:pt>
                <c:pt idx="39">
                  <c:v>238.0</c:v>
                </c:pt>
                <c:pt idx="40">
                  <c:v>238.0</c:v>
                </c:pt>
                <c:pt idx="41">
                  <c:v>211.0</c:v>
                </c:pt>
                <c:pt idx="42">
                  <c:v>110.0</c:v>
                </c:pt>
              </c:numCache>
            </c:numRef>
          </c:xVal>
          <c:yVal>
            <c:numRef>
              <c:f>Sheet1!$B$1:$B$70</c:f>
              <c:numCache>
                <c:formatCode>General</c:formatCode>
                <c:ptCount val="70"/>
                <c:pt idx="0">
                  <c:v>9.987933050643835</c:v>
                </c:pt>
                <c:pt idx="1">
                  <c:v>6.696907245918184</c:v>
                </c:pt>
                <c:pt idx="2">
                  <c:v>7.186427342344212</c:v>
                </c:pt>
                <c:pt idx="3">
                  <c:v>5.79270752521334</c:v>
                </c:pt>
                <c:pt idx="4">
                  <c:v>8.97702395577127</c:v>
                </c:pt>
                <c:pt idx="5">
                  <c:v>8.950696207113105</c:v>
                </c:pt>
                <c:pt idx="6">
                  <c:v>5.834161179048482</c:v>
                </c:pt>
                <c:pt idx="7">
                  <c:v>6.729493884362546</c:v>
                </c:pt>
                <c:pt idx="8">
                  <c:v>9.683930670442217</c:v>
                </c:pt>
                <c:pt idx="9">
                  <c:v>8.78018204542572</c:v>
                </c:pt>
                <c:pt idx="10">
                  <c:v>7.861460397798489</c:v>
                </c:pt>
                <c:pt idx="11">
                  <c:v>7.221616231087467</c:v>
                </c:pt>
                <c:pt idx="12">
                  <c:v>8.998036130645894</c:v>
                </c:pt>
                <c:pt idx="13">
                  <c:v>12.16726861008835</c:v>
                </c:pt>
                <c:pt idx="14">
                  <c:v>5.31014366235994</c:v>
                </c:pt>
                <c:pt idx="15">
                  <c:v>10.51808515241355</c:v>
                </c:pt>
                <c:pt idx="16">
                  <c:v>4.077671770279318</c:v>
                </c:pt>
                <c:pt idx="17">
                  <c:v>9.017968845103178</c:v>
                </c:pt>
                <c:pt idx="18">
                  <c:v>8.057017677817453</c:v>
                </c:pt>
                <c:pt idx="19">
                  <c:v>10.0859159536055</c:v>
                </c:pt>
                <c:pt idx="20">
                  <c:v>15.84043016717124</c:v>
                </c:pt>
                <c:pt idx="21">
                  <c:v>9.9534129850082</c:v>
                </c:pt>
                <c:pt idx="22">
                  <c:v>6.991405461900432</c:v>
                </c:pt>
                <c:pt idx="23">
                  <c:v>10.08203229200568</c:v>
                </c:pt>
                <c:pt idx="24">
                  <c:v>7.01242587469034</c:v>
                </c:pt>
                <c:pt idx="25">
                  <c:v>12.38547123891252</c:v>
                </c:pt>
                <c:pt idx="26">
                  <c:v>7.526828257083141</c:v>
                </c:pt>
                <c:pt idx="27">
                  <c:v>15.3091819889071</c:v>
                </c:pt>
                <c:pt idx="28">
                  <c:v>11.01836763641474</c:v>
                </c:pt>
                <c:pt idx="29">
                  <c:v>9.672791071224525</c:v>
                </c:pt>
                <c:pt idx="30">
                  <c:v>9.261684825975551</c:v>
                </c:pt>
                <c:pt idx="31">
                  <c:v>6.68319164536673</c:v>
                </c:pt>
                <c:pt idx="32">
                  <c:v>10.33707616670738</c:v>
                </c:pt>
                <c:pt idx="33">
                  <c:v>11.50151864494706</c:v>
                </c:pt>
                <c:pt idx="34">
                  <c:v>10.20687008003695</c:v>
                </c:pt>
                <c:pt idx="35">
                  <c:v>9.572170659473393</c:v>
                </c:pt>
                <c:pt idx="36">
                  <c:v>9.041027776250074</c:v>
                </c:pt>
                <c:pt idx="37">
                  <c:v>6.046634313603783</c:v>
                </c:pt>
                <c:pt idx="38">
                  <c:v>7.356009692734832</c:v>
                </c:pt>
                <c:pt idx="39">
                  <c:v>7.558460675538304</c:v>
                </c:pt>
                <c:pt idx="40">
                  <c:v>6.55685365173474</c:v>
                </c:pt>
                <c:pt idx="41">
                  <c:v>4.603172365957995</c:v>
                </c:pt>
                <c:pt idx="42">
                  <c:v>9.65083472320169</c:v>
                </c:pt>
              </c:numCache>
            </c:numRef>
          </c:yVal>
          <c:smooth val="0"/>
          <c:extLst xmlns:c16r2="http://schemas.microsoft.com/office/drawing/2015/06/chart">
            <c:ext xmlns:c16="http://schemas.microsoft.com/office/drawing/2014/chart" uri="{C3380CC4-5D6E-409C-BE32-E72D297353CC}">
              <c16:uniqueId val="{00000000-6FE7-46D6-A54A-D17360F9354D}"/>
            </c:ext>
          </c:extLst>
        </c:ser>
        <c:ser>
          <c:idx val="1"/>
          <c:order val="1"/>
          <c:spPr>
            <a:ln>
              <a:noFill/>
            </a:ln>
          </c:spPr>
          <c:marker>
            <c:symbol val="circle"/>
            <c:size val="5"/>
            <c:spPr>
              <a:solidFill>
                <a:schemeClr val="hlink"/>
              </a:solidFill>
              <a:ln w="9525" algn="ctr">
                <a:solidFill>
                  <a:schemeClr val="hlink"/>
                </a:solidFill>
                <a:prstDash val="solid"/>
              </a:ln>
            </c:spPr>
          </c:marker>
          <c:xVal>
            <c:numRef>
              <c:f>Sheet1!$A$1:$A$70</c:f>
              <c:numCache>
                <c:formatCode>General</c:formatCode>
                <c:ptCount val="70"/>
                <c:pt idx="43">
                  <c:v>796.259322125894</c:v>
                </c:pt>
                <c:pt idx="44">
                  <c:v>744.6741783157262</c:v>
                </c:pt>
                <c:pt idx="45">
                  <c:v>780.592722894658</c:v>
                </c:pt>
                <c:pt idx="46">
                  <c:v>960.6613935449493</c:v>
                </c:pt>
                <c:pt idx="47">
                  <c:v>875.259322125894</c:v>
                </c:pt>
              </c:numCache>
            </c:numRef>
          </c:xVal>
          <c:yVal>
            <c:numRef>
              <c:f>Sheet1!$C$1:$C$70</c:f>
              <c:numCache>
                <c:formatCode>General</c:formatCode>
                <c:ptCount val="70"/>
                <c:pt idx="43">
                  <c:v>11.59140436561272</c:v>
                </c:pt>
                <c:pt idx="44">
                  <c:v>8.61987211829495</c:v>
                </c:pt>
                <c:pt idx="45">
                  <c:v>16.9336817664536</c:v>
                </c:pt>
                <c:pt idx="46">
                  <c:v>16.41396232670047</c:v>
                </c:pt>
                <c:pt idx="47">
                  <c:v>26.72836224339732</c:v>
                </c:pt>
              </c:numCache>
            </c:numRef>
          </c:yVal>
          <c:smooth val="0"/>
          <c:extLst xmlns:c16r2="http://schemas.microsoft.com/office/drawing/2015/06/chart">
            <c:ext xmlns:c16="http://schemas.microsoft.com/office/drawing/2014/chart" uri="{C3380CC4-5D6E-409C-BE32-E72D297353CC}">
              <c16:uniqueId val="{00000001-6FE7-46D6-A54A-D17360F9354D}"/>
            </c:ext>
          </c:extLst>
        </c:ser>
        <c:ser>
          <c:idx val="2"/>
          <c:order val="2"/>
          <c:spPr>
            <a:ln>
              <a:noFill/>
            </a:ln>
          </c:spPr>
          <c:marker>
            <c:symbol val="circle"/>
            <c:size val="5"/>
            <c:spPr>
              <a:solidFill>
                <a:srgbClr val="FFA909"/>
              </a:solidFill>
              <a:ln w="9525" algn="ctr">
                <a:solidFill>
                  <a:srgbClr val="FFA909"/>
                </a:solidFill>
                <a:prstDash val="solid"/>
              </a:ln>
            </c:spPr>
          </c:marker>
          <c:xVal>
            <c:numRef>
              <c:f>Sheet1!$A$1:$A$70</c:f>
              <c:numCache>
                <c:formatCode>General</c:formatCode>
                <c:ptCount val="70"/>
                <c:pt idx="48">
                  <c:v>462.194845630431</c:v>
                </c:pt>
                <c:pt idx="49">
                  <c:v>495.194845630431</c:v>
                </c:pt>
                <c:pt idx="50">
                  <c:v>542.194845630431</c:v>
                </c:pt>
                <c:pt idx="51">
                  <c:v>512.194845630431</c:v>
                </c:pt>
                <c:pt idx="52">
                  <c:v>515.194845630431</c:v>
                </c:pt>
                <c:pt idx="53">
                  <c:v>665.194845630431</c:v>
                </c:pt>
                <c:pt idx="54">
                  <c:v>557.194845630431</c:v>
                </c:pt>
                <c:pt idx="55">
                  <c:v>441.194845630431</c:v>
                </c:pt>
                <c:pt idx="56">
                  <c:v>476.194845630431</c:v>
                </c:pt>
                <c:pt idx="57">
                  <c:v>500.194845630431</c:v>
                </c:pt>
              </c:numCache>
            </c:numRef>
          </c:xVal>
          <c:yVal>
            <c:numRef>
              <c:f>Sheet1!$D$1:$D$70</c:f>
              <c:numCache>
                <c:formatCode>General</c:formatCode>
                <c:ptCount val="70"/>
                <c:pt idx="48">
                  <c:v>10.3482344627583</c:v>
                </c:pt>
                <c:pt idx="49">
                  <c:v>7.194165566816165</c:v>
                </c:pt>
                <c:pt idx="50">
                  <c:v>14.39377620200081</c:v>
                </c:pt>
                <c:pt idx="51">
                  <c:v>9.164340981756943</c:v>
                </c:pt>
                <c:pt idx="52">
                  <c:v>9.365935765949094</c:v>
                </c:pt>
                <c:pt idx="53">
                  <c:v>17.15103739806117</c:v>
                </c:pt>
                <c:pt idx="54">
                  <c:v>16.81553213999442</c:v>
                </c:pt>
                <c:pt idx="55">
                  <c:v>12.86333383331567</c:v>
                </c:pt>
                <c:pt idx="56">
                  <c:v>14.04680179524397</c:v>
                </c:pt>
                <c:pt idx="57">
                  <c:v>8.79139605149355</c:v>
                </c:pt>
              </c:numCache>
            </c:numRef>
          </c:yVal>
          <c:smooth val="0"/>
          <c:extLst xmlns:c16r2="http://schemas.microsoft.com/office/drawing/2015/06/chart">
            <c:ext xmlns:c16="http://schemas.microsoft.com/office/drawing/2014/chart" uri="{C3380CC4-5D6E-409C-BE32-E72D297353CC}">
              <c16:uniqueId val="{00000002-6FE7-46D6-A54A-D17360F9354D}"/>
            </c:ext>
          </c:extLst>
        </c:ser>
        <c:ser>
          <c:idx val="3"/>
          <c:order val="3"/>
          <c:spPr>
            <a:ln>
              <a:noFill/>
            </a:ln>
          </c:spPr>
          <c:marker>
            <c:symbol val="circle"/>
            <c:size val="5"/>
            <c:spPr>
              <a:solidFill>
                <a:srgbClr val="4C6C9C"/>
              </a:solidFill>
              <a:ln w="9525" algn="ctr">
                <a:solidFill>
                  <a:srgbClr val="4C6C9C"/>
                </a:solidFill>
                <a:prstDash val="solid"/>
              </a:ln>
            </c:spPr>
          </c:marker>
          <c:xVal>
            <c:numRef>
              <c:f>Sheet1!$A$1:$A$70</c:f>
              <c:numCache>
                <c:formatCode>General</c:formatCode>
                <c:ptCount val="70"/>
                <c:pt idx="58">
                  <c:v>429.194845630431</c:v>
                </c:pt>
                <c:pt idx="59">
                  <c:v>261.0</c:v>
                </c:pt>
                <c:pt idx="60">
                  <c:v>352.0</c:v>
                </c:pt>
                <c:pt idx="61">
                  <c:v>322.0</c:v>
                </c:pt>
                <c:pt idx="62">
                  <c:v>263.0</c:v>
                </c:pt>
                <c:pt idx="63">
                  <c:v>312.0</c:v>
                </c:pt>
                <c:pt idx="64">
                  <c:v>333.0</c:v>
                </c:pt>
                <c:pt idx="65">
                  <c:v>365.0</c:v>
                </c:pt>
                <c:pt idx="66">
                  <c:v>278.0</c:v>
                </c:pt>
                <c:pt idx="67">
                  <c:v>310.0</c:v>
                </c:pt>
                <c:pt idx="68">
                  <c:v>305.0</c:v>
                </c:pt>
                <c:pt idx="69">
                  <c:v>290.0</c:v>
                </c:pt>
              </c:numCache>
            </c:numRef>
          </c:xVal>
          <c:yVal>
            <c:numRef>
              <c:f>Sheet1!$E$1:$E$70</c:f>
              <c:numCache>
                <c:formatCode>General</c:formatCode>
                <c:ptCount val="70"/>
                <c:pt idx="58">
                  <c:v>6.039773640567535</c:v>
                </c:pt>
                <c:pt idx="59">
                  <c:v>7.851712170053526</c:v>
                </c:pt>
                <c:pt idx="60">
                  <c:v>12.11513872985889</c:v>
                </c:pt>
                <c:pt idx="61">
                  <c:v>17.36627211906227</c:v>
                </c:pt>
                <c:pt idx="62">
                  <c:v>7.856114989610464</c:v>
                </c:pt>
                <c:pt idx="63">
                  <c:v>8.24674206232235</c:v>
                </c:pt>
                <c:pt idx="64">
                  <c:v>7.188934462970829</c:v>
                </c:pt>
                <c:pt idx="65">
                  <c:v>9.09015492465125</c:v>
                </c:pt>
                <c:pt idx="66">
                  <c:v>11.8858417244983</c:v>
                </c:pt>
                <c:pt idx="67">
                  <c:v>9.873135603429814</c:v>
                </c:pt>
                <c:pt idx="68">
                  <c:v>8.249734529717853</c:v>
                </c:pt>
                <c:pt idx="69">
                  <c:v>11.52053555470811</c:v>
                </c:pt>
              </c:numCache>
            </c:numRef>
          </c:yVal>
          <c:smooth val="0"/>
          <c:extLst xmlns:c16r2="http://schemas.microsoft.com/office/drawing/2015/06/chart">
            <c:ext xmlns:c16="http://schemas.microsoft.com/office/drawing/2014/chart" uri="{C3380CC4-5D6E-409C-BE32-E72D297353CC}">
              <c16:uniqueId val="{00000003-6FE7-46D6-A54A-D17360F9354D}"/>
            </c:ext>
          </c:extLst>
        </c:ser>
        <c:dLbls>
          <c:showLegendKey val="0"/>
          <c:showVal val="0"/>
          <c:showCatName val="0"/>
          <c:showSerName val="0"/>
          <c:showPercent val="0"/>
          <c:showBubbleSize val="0"/>
        </c:dLbls>
        <c:axId val="2131796856"/>
        <c:axId val="2131791512"/>
      </c:scatterChart>
      <c:valAx>
        <c:axId val="2131796856"/>
        <c:scaling>
          <c:orientation val="minMax"/>
          <c:max val="985.6613935449493"/>
          <c:min val="100.0"/>
        </c:scaling>
        <c:delete val="0"/>
        <c:axPos val="b"/>
        <c:majorGridlines>
          <c:spPr>
            <a:ln>
              <a:noFill/>
            </a:ln>
          </c:spPr>
        </c:majorGridlines>
        <c:numFmt formatCode="General" sourceLinked="1"/>
        <c:majorTickMark val="none"/>
        <c:minorTickMark val="none"/>
        <c:tickLblPos val="none"/>
        <c:spPr>
          <a:ln w="9525" algn="ctr">
            <a:solidFill>
              <a:schemeClr val="accent1"/>
            </a:solidFill>
            <a:prstDash val="solid"/>
          </a:ln>
        </c:spPr>
        <c:crossAx val="2131791512"/>
        <c:crosses val="min"/>
        <c:crossBetween val="midCat"/>
        <c:majorUnit val="50.0"/>
      </c:valAx>
      <c:valAx>
        <c:axId val="2131791512"/>
        <c:scaling>
          <c:orientation val="minMax"/>
          <c:max val="28.0"/>
          <c:min val="0.0"/>
        </c:scaling>
        <c:delete val="0"/>
        <c:axPos val="l"/>
        <c:majorGridlines>
          <c:spPr>
            <a:ln>
              <a:noFill/>
            </a:ln>
          </c:spPr>
        </c:majorGridlines>
        <c:numFmt formatCode="#,##0;&quot;-&quot;#,##0" sourceLinked="0"/>
        <c:majorTickMark val="out"/>
        <c:minorTickMark val="none"/>
        <c:tickLblPos val="nextTo"/>
        <c:spPr>
          <a:ln w="9525" algn="ctr">
            <a:solidFill>
              <a:schemeClr val="accent1"/>
            </a:solidFill>
            <a:prstDash val="solid"/>
          </a:ln>
        </c:spPr>
        <c:txPr>
          <a:bodyPr wrap="none"/>
          <a:lstStyle/>
          <a:p>
            <a:pPr>
              <a:defRPr sz="1000">
                <a:solidFill>
                  <a:schemeClr val="tx1"/>
                </a:solidFill>
                <a:latin typeface="Arial"/>
                <a:ea typeface="Arial"/>
                <a:cs typeface="Arial"/>
                <a:sym typeface="Arial"/>
              </a:defRPr>
            </a:pPr>
            <a:endParaRPr lang="de-DE"/>
          </a:p>
        </c:txPr>
        <c:crossAx val="2131796856"/>
        <c:crosses val="min"/>
        <c:crossBetween val="midCat"/>
        <c:majorUnit val="2.0"/>
      </c:valAx>
      <c:spPr>
        <a:noFill/>
        <a:ln w="9525" algn="ctr">
          <a:solidFill>
            <a:schemeClr val="bg1"/>
          </a:solidFill>
          <a:prstDash val="solid"/>
        </a:ln>
      </c:spPr>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01980780545205"/>
          <c:y val="0.0234657039711191"/>
          <c:w val="0.979603843890959"/>
          <c:h val="0.953068592057762"/>
        </c:manualLayout>
      </c:layout>
      <c:scatterChart>
        <c:scatterStyle val="lineMarker"/>
        <c:varyColors val="0"/>
        <c:ser>
          <c:idx val="0"/>
          <c:order val="0"/>
          <c:spPr>
            <a:ln>
              <a:noFill/>
            </a:ln>
          </c:spPr>
          <c:marker>
            <c:symbol val="circle"/>
            <c:size val="4"/>
            <c:spPr>
              <a:solidFill>
                <a:srgbClr val="4C6C9C"/>
              </a:solidFill>
              <a:ln w="9525" algn="ctr">
                <a:solidFill>
                  <a:srgbClr val="4C6C9C"/>
                </a:solidFill>
                <a:prstDash val="solid"/>
              </a:ln>
            </c:spPr>
          </c:marker>
          <c:xVal>
            <c:numRef>
              <c:f>Sheet1!$A$1:$A$76</c:f>
              <c:numCache>
                <c:formatCode>General</c:formatCode>
                <c:ptCount val="76"/>
                <c:pt idx="0">
                  <c:v>365.0</c:v>
                </c:pt>
                <c:pt idx="1">
                  <c:v>278.0</c:v>
                </c:pt>
                <c:pt idx="2">
                  <c:v>322.0</c:v>
                </c:pt>
                <c:pt idx="3">
                  <c:v>333.0</c:v>
                </c:pt>
                <c:pt idx="4">
                  <c:v>305.0</c:v>
                </c:pt>
                <c:pt idx="5">
                  <c:v>261.0</c:v>
                </c:pt>
                <c:pt idx="6">
                  <c:v>417.2153445131369</c:v>
                </c:pt>
                <c:pt idx="7">
                  <c:v>263.0</c:v>
                </c:pt>
                <c:pt idx="8">
                  <c:v>290.0</c:v>
                </c:pt>
                <c:pt idx="9">
                  <c:v>310.0</c:v>
                </c:pt>
                <c:pt idx="10">
                  <c:v>352.0</c:v>
                </c:pt>
                <c:pt idx="11">
                  <c:v>312.0</c:v>
                </c:pt>
                <c:pt idx="12">
                  <c:v>407.0</c:v>
                </c:pt>
              </c:numCache>
            </c:numRef>
          </c:xVal>
          <c:yVal>
            <c:numRef>
              <c:f>Sheet1!$B$1:$B$76</c:f>
              <c:numCache>
                <c:formatCode>General</c:formatCode>
                <c:ptCount val="76"/>
                <c:pt idx="0">
                  <c:v>8.08624390243902</c:v>
                </c:pt>
                <c:pt idx="1">
                  <c:v>11.7553364124329</c:v>
                </c:pt>
                <c:pt idx="2">
                  <c:v>16.01832167832169</c:v>
                </c:pt>
                <c:pt idx="3">
                  <c:v>7.00368937280662</c:v>
                </c:pt>
                <c:pt idx="4">
                  <c:v>8.146078082354336</c:v>
                </c:pt>
                <c:pt idx="5">
                  <c:v>7.76867355420971</c:v>
                </c:pt>
                <c:pt idx="6">
                  <c:v>5.557010365520999</c:v>
                </c:pt>
                <c:pt idx="7">
                  <c:v>7.53038531161107</c:v>
                </c:pt>
                <c:pt idx="8">
                  <c:v>11.0494470774092</c:v>
                </c:pt>
                <c:pt idx="9">
                  <c:v>9.548359133126928</c:v>
                </c:pt>
                <c:pt idx="10">
                  <c:v>11.7718429003021</c:v>
                </c:pt>
                <c:pt idx="11">
                  <c:v>8.157559109192578</c:v>
                </c:pt>
                <c:pt idx="12">
                  <c:v>23.49472061688916</c:v>
                </c:pt>
              </c:numCache>
            </c:numRef>
          </c:yVal>
          <c:smooth val="0"/>
          <c:extLst xmlns:c16r2="http://schemas.microsoft.com/office/drawing/2015/06/chart">
            <c:ext xmlns:c16="http://schemas.microsoft.com/office/drawing/2014/chart" uri="{C3380CC4-5D6E-409C-BE32-E72D297353CC}">
              <c16:uniqueId val="{00000000-F9B7-4A2E-B785-C20EC7473A14}"/>
            </c:ext>
          </c:extLst>
        </c:ser>
        <c:ser>
          <c:idx val="1"/>
          <c:order val="1"/>
          <c:spPr>
            <a:ln>
              <a:noFill/>
            </a:ln>
          </c:spPr>
          <c:marker>
            <c:symbol val="circle"/>
            <c:size val="4"/>
            <c:spPr>
              <a:solidFill>
                <a:schemeClr val="accent1"/>
              </a:solidFill>
              <a:ln w="9525" algn="ctr">
                <a:solidFill>
                  <a:schemeClr val="accent1"/>
                </a:solidFill>
                <a:prstDash val="solid"/>
              </a:ln>
            </c:spPr>
          </c:marker>
          <c:xVal>
            <c:numRef>
              <c:f>Sheet1!$A$1:$A$76</c:f>
              <c:numCache>
                <c:formatCode>General</c:formatCode>
                <c:ptCount val="76"/>
                <c:pt idx="13">
                  <c:v>126.0</c:v>
                </c:pt>
                <c:pt idx="14">
                  <c:v>163.0</c:v>
                </c:pt>
                <c:pt idx="15">
                  <c:v>188.0</c:v>
                </c:pt>
                <c:pt idx="16">
                  <c:v>110.0</c:v>
                </c:pt>
                <c:pt idx="17">
                  <c:v>180.0</c:v>
                </c:pt>
                <c:pt idx="18">
                  <c:v>199.0</c:v>
                </c:pt>
                <c:pt idx="19">
                  <c:v>124.0</c:v>
                </c:pt>
                <c:pt idx="20">
                  <c:v>110.0</c:v>
                </c:pt>
                <c:pt idx="21">
                  <c:v>125.0</c:v>
                </c:pt>
                <c:pt idx="22">
                  <c:v>124.0</c:v>
                </c:pt>
                <c:pt idx="23">
                  <c:v>149.0</c:v>
                </c:pt>
                <c:pt idx="24">
                  <c:v>138.0</c:v>
                </c:pt>
                <c:pt idx="25">
                  <c:v>160.0</c:v>
                </c:pt>
                <c:pt idx="26">
                  <c:v>227.0</c:v>
                </c:pt>
                <c:pt idx="27">
                  <c:v>171.0</c:v>
                </c:pt>
                <c:pt idx="28">
                  <c:v>157.0</c:v>
                </c:pt>
                <c:pt idx="29">
                  <c:v>238.0</c:v>
                </c:pt>
                <c:pt idx="30">
                  <c:v>142.0</c:v>
                </c:pt>
                <c:pt idx="31">
                  <c:v>247.0</c:v>
                </c:pt>
                <c:pt idx="32">
                  <c:v>111.0</c:v>
                </c:pt>
                <c:pt idx="33">
                  <c:v>202.0</c:v>
                </c:pt>
                <c:pt idx="34">
                  <c:v>211.0</c:v>
                </c:pt>
                <c:pt idx="35">
                  <c:v>110.0</c:v>
                </c:pt>
                <c:pt idx="36">
                  <c:v>134.0</c:v>
                </c:pt>
                <c:pt idx="37">
                  <c:v>180.0</c:v>
                </c:pt>
                <c:pt idx="38">
                  <c:v>166.0</c:v>
                </c:pt>
                <c:pt idx="39">
                  <c:v>159.0</c:v>
                </c:pt>
                <c:pt idx="40">
                  <c:v>208.0</c:v>
                </c:pt>
                <c:pt idx="41">
                  <c:v>123.0</c:v>
                </c:pt>
                <c:pt idx="42">
                  <c:v>228.0</c:v>
                </c:pt>
                <c:pt idx="43">
                  <c:v>246.0</c:v>
                </c:pt>
                <c:pt idx="44">
                  <c:v>153.0</c:v>
                </c:pt>
                <c:pt idx="45">
                  <c:v>245.0</c:v>
                </c:pt>
                <c:pt idx="46">
                  <c:v>124.0</c:v>
                </c:pt>
                <c:pt idx="47">
                  <c:v>214.0</c:v>
                </c:pt>
                <c:pt idx="48">
                  <c:v>217.0</c:v>
                </c:pt>
                <c:pt idx="49">
                  <c:v>171.0</c:v>
                </c:pt>
                <c:pt idx="50">
                  <c:v>211.0</c:v>
                </c:pt>
                <c:pt idx="51">
                  <c:v>149.0</c:v>
                </c:pt>
                <c:pt idx="52">
                  <c:v>114.0</c:v>
                </c:pt>
                <c:pt idx="53">
                  <c:v>238.0</c:v>
                </c:pt>
                <c:pt idx="54">
                  <c:v>157.0</c:v>
                </c:pt>
                <c:pt idx="55">
                  <c:v>125.0</c:v>
                </c:pt>
                <c:pt idx="56">
                  <c:v>167.0</c:v>
                </c:pt>
                <c:pt idx="57">
                  <c:v>164.0</c:v>
                </c:pt>
                <c:pt idx="58">
                  <c:v>102.0</c:v>
                </c:pt>
                <c:pt idx="59">
                  <c:v>249.0</c:v>
                </c:pt>
                <c:pt idx="60">
                  <c:v>172.0</c:v>
                </c:pt>
              </c:numCache>
            </c:numRef>
          </c:xVal>
          <c:yVal>
            <c:numRef>
              <c:f>Sheet1!$C$1:$C$76</c:f>
              <c:numCache>
                <c:formatCode>General</c:formatCode>
                <c:ptCount val="76"/>
                <c:pt idx="13">
                  <c:v>10.4374257895987</c:v>
                </c:pt>
                <c:pt idx="14">
                  <c:v>8.87180579216354</c:v>
                </c:pt>
                <c:pt idx="15">
                  <c:v>10.3984028393966</c:v>
                </c:pt>
                <c:pt idx="16">
                  <c:v>17.99082167832169</c:v>
                </c:pt>
                <c:pt idx="17">
                  <c:v>4.05206247496996</c:v>
                </c:pt>
                <c:pt idx="18">
                  <c:v>9.84757613424487</c:v>
                </c:pt>
                <c:pt idx="19">
                  <c:v>9.07215157020504</c:v>
                </c:pt>
                <c:pt idx="20">
                  <c:v>9.93638332430969</c:v>
                </c:pt>
                <c:pt idx="21">
                  <c:v>10.4634726469589</c:v>
                </c:pt>
                <c:pt idx="22">
                  <c:v>5.79270752521334</c:v>
                </c:pt>
                <c:pt idx="23">
                  <c:v>5.29209021601017</c:v>
                </c:pt>
                <c:pt idx="24">
                  <c:v>21.29520505027597</c:v>
                </c:pt>
                <c:pt idx="25">
                  <c:v>14.317547055252</c:v>
                </c:pt>
                <c:pt idx="26">
                  <c:v>5.5830085736555</c:v>
                </c:pt>
                <c:pt idx="27">
                  <c:v>24.36344218492016</c:v>
                </c:pt>
                <c:pt idx="28">
                  <c:v>9.447331460674157</c:v>
                </c:pt>
                <c:pt idx="29">
                  <c:v>6.717118884166939</c:v>
                </c:pt>
                <c:pt idx="30">
                  <c:v>20.19374392629121</c:v>
                </c:pt>
                <c:pt idx="31">
                  <c:v>9.96966868875408</c:v>
                </c:pt>
                <c:pt idx="32">
                  <c:v>8.614377094121227</c:v>
                </c:pt>
                <c:pt idx="33">
                  <c:v>25.46490330890493</c:v>
                </c:pt>
                <c:pt idx="34">
                  <c:v>5.153150757777189</c:v>
                </c:pt>
                <c:pt idx="35">
                  <c:v>9.36451267404498</c:v>
                </c:pt>
                <c:pt idx="36">
                  <c:v>6.67559828185723</c:v>
                </c:pt>
                <c:pt idx="37">
                  <c:v>9.27258985555929</c:v>
                </c:pt>
                <c:pt idx="38">
                  <c:v>8.97287199480182</c:v>
                </c:pt>
                <c:pt idx="39">
                  <c:v>7.80202578268877</c:v>
                </c:pt>
                <c:pt idx="40">
                  <c:v>6.314632501685769</c:v>
                </c:pt>
                <c:pt idx="41">
                  <c:v>10.8091954022989</c:v>
                </c:pt>
                <c:pt idx="42">
                  <c:v>9.646421267893658</c:v>
                </c:pt>
                <c:pt idx="43">
                  <c:v>7.20967578005895</c:v>
                </c:pt>
                <c:pt idx="44">
                  <c:v>6.92747641509434</c:v>
                </c:pt>
                <c:pt idx="45">
                  <c:v>12.0818095838588</c:v>
                </c:pt>
                <c:pt idx="46">
                  <c:v>7.48657718120805</c:v>
                </c:pt>
                <c:pt idx="47">
                  <c:v>11.6657693104162</c:v>
                </c:pt>
                <c:pt idx="48">
                  <c:v>6.655988857938717</c:v>
                </c:pt>
                <c:pt idx="49">
                  <c:v>6.32920353982301</c:v>
                </c:pt>
                <c:pt idx="50">
                  <c:v>9.489718985606578</c:v>
                </c:pt>
                <c:pt idx="51">
                  <c:v>10.3356937375526</c:v>
                </c:pt>
                <c:pt idx="52">
                  <c:v>6.96349413298566</c:v>
                </c:pt>
                <c:pt idx="53">
                  <c:v>8.14323533509823</c:v>
                </c:pt>
                <c:pt idx="54">
                  <c:v>8.58512769153731</c:v>
                </c:pt>
                <c:pt idx="55">
                  <c:v>14.9200363471149</c:v>
                </c:pt>
                <c:pt idx="56">
                  <c:v>6.83540569020021</c:v>
                </c:pt>
                <c:pt idx="57">
                  <c:v>8.93350125944584</c:v>
                </c:pt>
                <c:pt idx="58">
                  <c:v>7.9814767825425</c:v>
                </c:pt>
                <c:pt idx="59">
                  <c:v>7.29906129210381</c:v>
                </c:pt>
                <c:pt idx="60">
                  <c:v>9.213392070484579</c:v>
                </c:pt>
              </c:numCache>
            </c:numRef>
          </c:yVal>
          <c:smooth val="0"/>
          <c:extLst xmlns:c16r2="http://schemas.microsoft.com/office/drawing/2015/06/chart">
            <c:ext xmlns:c16="http://schemas.microsoft.com/office/drawing/2014/chart" uri="{C3380CC4-5D6E-409C-BE32-E72D297353CC}">
              <c16:uniqueId val="{00000001-F9B7-4A2E-B785-C20EC7473A14}"/>
            </c:ext>
          </c:extLst>
        </c:ser>
        <c:ser>
          <c:idx val="2"/>
          <c:order val="2"/>
          <c:spPr>
            <a:ln>
              <a:noFill/>
            </a:ln>
          </c:spPr>
          <c:marker>
            <c:symbol val="circle"/>
            <c:size val="4"/>
            <c:spPr>
              <a:solidFill>
                <a:schemeClr val="hlink"/>
              </a:solidFill>
              <a:ln w="9525" algn="ctr">
                <a:solidFill>
                  <a:schemeClr val="hlink"/>
                </a:solidFill>
                <a:prstDash val="solid"/>
              </a:ln>
            </c:spPr>
          </c:marker>
          <c:xVal>
            <c:numRef>
              <c:f>Sheet1!$A$1:$A$76</c:f>
              <c:numCache>
                <c:formatCode>General</c:formatCode>
                <c:ptCount val="76"/>
                <c:pt idx="61">
                  <c:v>627.1872553624547</c:v>
                </c:pt>
                <c:pt idx="62">
                  <c:v>591.8072816828098</c:v>
                </c:pt>
                <c:pt idx="63">
                  <c:v>616.9719108493178</c:v>
                </c:pt>
                <c:pt idx="64">
                  <c:v>637.4025998755918</c:v>
                </c:pt>
                <c:pt idx="65">
                  <c:v>697.324315861188</c:v>
                </c:pt>
              </c:numCache>
            </c:numRef>
          </c:xVal>
          <c:yVal>
            <c:numRef>
              <c:f>Sheet1!$D$1:$D$76</c:f>
              <c:numCache>
                <c:formatCode>General</c:formatCode>
                <c:ptCount val="76"/>
                <c:pt idx="61">
                  <c:v>10.6379341130256</c:v>
                </c:pt>
                <c:pt idx="62">
                  <c:v>7.274387042048709</c:v>
                </c:pt>
                <c:pt idx="63">
                  <c:v>14.5556573722564</c:v>
                </c:pt>
                <c:pt idx="64">
                  <c:v>19.09228280230645</c:v>
                </c:pt>
                <c:pt idx="65">
                  <c:v>14.6404872908417</c:v>
                </c:pt>
              </c:numCache>
            </c:numRef>
          </c:yVal>
          <c:smooth val="0"/>
          <c:extLst xmlns:c16r2="http://schemas.microsoft.com/office/drawing/2015/06/chart">
            <c:ext xmlns:c16="http://schemas.microsoft.com/office/drawing/2014/chart" uri="{C3380CC4-5D6E-409C-BE32-E72D297353CC}">
              <c16:uniqueId val="{00000002-F9B7-4A2E-B785-C20EC7473A14}"/>
            </c:ext>
          </c:extLst>
        </c:ser>
        <c:ser>
          <c:idx val="3"/>
          <c:order val="3"/>
          <c:spPr>
            <a:ln>
              <a:noFill/>
            </a:ln>
          </c:spPr>
          <c:marker>
            <c:symbol val="circle"/>
            <c:size val="4"/>
            <c:spPr>
              <a:solidFill>
                <a:srgbClr val="FFA909"/>
              </a:solidFill>
              <a:ln w="9525" algn="ctr">
                <a:solidFill>
                  <a:srgbClr val="FFA909"/>
                </a:solidFill>
                <a:prstDash val="solid"/>
              </a:ln>
            </c:spPr>
          </c:marker>
          <c:xVal>
            <c:numRef>
              <c:f>Sheet1!$A$1:$A$76</c:f>
              <c:numCache>
                <c:formatCode>General</c:formatCode>
                <c:ptCount val="76"/>
                <c:pt idx="66">
                  <c:v>429.2153445131369</c:v>
                </c:pt>
                <c:pt idx="67">
                  <c:v>483.2153445131369</c:v>
                </c:pt>
                <c:pt idx="68">
                  <c:v>464.2153445131369</c:v>
                </c:pt>
                <c:pt idx="69">
                  <c:v>530.215344513137</c:v>
                </c:pt>
                <c:pt idx="70">
                  <c:v>503.2153445131369</c:v>
                </c:pt>
                <c:pt idx="71">
                  <c:v>488.2153445131369</c:v>
                </c:pt>
                <c:pt idx="72">
                  <c:v>450.2153445131369</c:v>
                </c:pt>
                <c:pt idx="73">
                  <c:v>563.4036408414048</c:v>
                </c:pt>
                <c:pt idx="74">
                  <c:v>500.2153445131369</c:v>
                </c:pt>
                <c:pt idx="75">
                  <c:v>545.215344513137</c:v>
                </c:pt>
              </c:numCache>
            </c:numRef>
          </c:xVal>
          <c:yVal>
            <c:numRef>
              <c:f>Sheet1!$E$1:$E$76</c:f>
              <c:numCache>
                <c:formatCode>General</c:formatCode>
                <c:ptCount val="76"/>
                <c:pt idx="66">
                  <c:v>11.5133391455972</c:v>
                </c:pt>
                <c:pt idx="67">
                  <c:v>7.13989880548746</c:v>
                </c:pt>
                <c:pt idx="68">
                  <c:v>13.8842382555247</c:v>
                </c:pt>
                <c:pt idx="69">
                  <c:v>13.4993555235423</c:v>
                </c:pt>
                <c:pt idx="70">
                  <c:v>8.42382743622899</c:v>
                </c:pt>
                <c:pt idx="71">
                  <c:v>8.70312401388451</c:v>
                </c:pt>
                <c:pt idx="72">
                  <c:v>8.581526390870188</c:v>
                </c:pt>
                <c:pt idx="73">
                  <c:v>14.7172966622901</c:v>
                </c:pt>
                <c:pt idx="74">
                  <c:v>8.54853447669923</c:v>
                </c:pt>
                <c:pt idx="75">
                  <c:v>13.7611479854165</c:v>
                </c:pt>
              </c:numCache>
            </c:numRef>
          </c:yVal>
          <c:smooth val="0"/>
          <c:extLst xmlns:c16r2="http://schemas.microsoft.com/office/drawing/2015/06/chart">
            <c:ext xmlns:c16="http://schemas.microsoft.com/office/drawing/2014/chart" uri="{C3380CC4-5D6E-409C-BE32-E72D297353CC}">
              <c16:uniqueId val="{00000003-F9B7-4A2E-B785-C20EC7473A14}"/>
            </c:ext>
          </c:extLst>
        </c:ser>
        <c:dLbls>
          <c:showLegendKey val="0"/>
          <c:showVal val="0"/>
          <c:showCatName val="0"/>
          <c:showSerName val="0"/>
          <c:showPercent val="0"/>
          <c:showBubbleSize val="0"/>
        </c:dLbls>
        <c:axId val="2133074696"/>
        <c:axId val="2133094104"/>
      </c:scatterChart>
      <c:valAx>
        <c:axId val="2133074696"/>
        <c:scaling>
          <c:orientation val="minMax"/>
          <c:max val="722.324315861188"/>
          <c:min val="100.0"/>
        </c:scaling>
        <c:delete val="0"/>
        <c:axPos val="b"/>
        <c:majorGridlines>
          <c:spPr>
            <a:ln>
              <a:noFill/>
            </a:ln>
          </c:spPr>
        </c:majorGridlines>
        <c:numFmt formatCode="General" sourceLinked="1"/>
        <c:majorTickMark val="none"/>
        <c:minorTickMark val="none"/>
        <c:tickLblPos val="none"/>
        <c:spPr>
          <a:ln w="9525" algn="ctr">
            <a:solidFill>
              <a:schemeClr val="accent5"/>
            </a:solidFill>
            <a:prstDash val="solid"/>
          </a:ln>
        </c:spPr>
        <c:crossAx val="2133094104"/>
        <c:crosses val="min"/>
        <c:crossBetween val="midCat"/>
        <c:majorUnit val="50.0"/>
      </c:valAx>
      <c:valAx>
        <c:axId val="2133094104"/>
        <c:scaling>
          <c:orientation val="minMax"/>
          <c:max val="28.36934016897323"/>
          <c:min val="0.0"/>
        </c:scaling>
        <c:delete val="0"/>
        <c:axPos val="l"/>
        <c:majorGridlines>
          <c:spPr>
            <a:ln>
              <a:noFill/>
            </a:ln>
          </c:spPr>
        </c:majorGridlines>
        <c:numFmt formatCode="General" sourceLinked="1"/>
        <c:majorTickMark val="none"/>
        <c:minorTickMark val="none"/>
        <c:tickLblPos val="none"/>
        <c:spPr>
          <a:ln w="9525" algn="ctr">
            <a:solidFill>
              <a:schemeClr val="accent5"/>
            </a:solidFill>
            <a:prstDash val="solid"/>
          </a:ln>
        </c:spPr>
        <c:crossAx val="2133074696"/>
        <c:crosses val="min"/>
        <c:crossBetween val="midCat"/>
        <c:majorUnit val="4.0"/>
      </c:valAx>
      <c:spPr>
        <a:noFill/>
        <a:ln w="9525" algn="ctr">
          <a:solidFill>
            <a:schemeClr val="bg1"/>
          </a:solidFill>
          <a:prstDash val="solid"/>
        </a:ln>
      </c:spPr>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58620689655172"/>
          <c:y val="0.0536635706914345"/>
          <c:w val="0.928275862068965"/>
          <c:h val="0.892672858617131"/>
        </c:manualLayout>
      </c:layout>
      <c:barChart>
        <c:barDir val="col"/>
        <c:grouping val="stacked"/>
        <c:varyColors val="0"/>
        <c:ser>
          <c:idx val="0"/>
          <c:order val="0"/>
          <c:spPr>
            <a:solidFill>
              <a:schemeClr val="accent1"/>
            </a:solidFill>
            <a:ln>
              <a:noFill/>
            </a:ln>
          </c:spPr>
          <c:invertIfNegative val="0"/>
          <c:val>
            <c:numRef>
              <c:f>Sheet1!$A$1:$U$1</c:f>
              <c:numCache>
                <c:formatCode>General</c:formatCode>
                <c:ptCount val="21"/>
                <c:pt idx="0">
                  <c:v>1.66684E6</c:v>
                </c:pt>
                <c:pt idx="1">
                  <c:v>1.589818E6</c:v>
                </c:pt>
                <c:pt idx="2">
                  <c:v>1.549774E6</c:v>
                </c:pt>
                <c:pt idx="3">
                  <c:v>1.592043E6</c:v>
                </c:pt>
                <c:pt idx="4">
                  <c:v>1.59284E6</c:v>
                </c:pt>
                <c:pt idx="5">
                  <c:v>1.484027E6</c:v>
                </c:pt>
                <c:pt idx="6">
                  <c:v>1.397215E6</c:v>
                </c:pt>
                <c:pt idx="7">
                  <c:v>1.368345E6</c:v>
                </c:pt>
                <c:pt idx="8">
                  <c:v>1.365199E6</c:v>
                </c:pt>
                <c:pt idx="9">
                  <c:v>1.411501E6</c:v>
                </c:pt>
                <c:pt idx="10">
                  <c:v>1.432232E6</c:v>
                </c:pt>
                <c:pt idx="11">
                  <c:v>1.606876E6</c:v>
                </c:pt>
                <c:pt idx="12">
                  <c:v>1.680389E6</c:v>
                </c:pt>
                <c:pt idx="13">
                  <c:v>1.791757E6</c:v>
                </c:pt>
                <c:pt idx="14">
                  <c:v>1.903125E6</c:v>
                </c:pt>
                <c:pt idx="15">
                  <c:v>1.8555465E6</c:v>
                </c:pt>
                <c:pt idx="16">
                  <c:v>1.807968E6</c:v>
                </c:pt>
                <c:pt idx="17">
                  <c:v>1.422643E6</c:v>
                </c:pt>
                <c:pt idx="18">
                  <c:v>1.17239866666667E6</c:v>
                </c:pt>
                <c:pt idx="19">
                  <c:v>922154.3333333336</c:v>
                </c:pt>
                <c:pt idx="20">
                  <c:v>671910.0</c:v>
                </c:pt>
              </c:numCache>
            </c:numRef>
          </c:val>
          <c:extLst xmlns:c16r2="http://schemas.microsoft.com/office/drawing/2015/06/chart">
            <c:ext xmlns:c16="http://schemas.microsoft.com/office/drawing/2014/chart" uri="{C3380CC4-5D6E-409C-BE32-E72D297353CC}">
              <c16:uniqueId val="{00000000-BD0A-4CA9-A806-7E63E8828407}"/>
            </c:ext>
          </c:extLst>
        </c:ser>
        <c:dLbls>
          <c:showLegendKey val="0"/>
          <c:showVal val="0"/>
          <c:showCatName val="0"/>
          <c:showSerName val="0"/>
          <c:showPercent val="0"/>
          <c:showBubbleSize val="0"/>
        </c:dLbls>
        <c:gapWidth val="80"/>
        <c:overlap val="100"/>
        <c:axId val="2134787416"/>
        <c:axId val="2134790872"/>
      </c:barChart>
      <c:catAx>
        <c:axId val="2134787416"/>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34790872"/>
        <c:crosses val="min"/>
        <c:auto val="0"/>
        <c:lblAlgn val="ctr"/>
        <c:lblOffset val="100"/>
        <c:noMultiLvlLbl val="0"/>
      </c:catAx>
      <c:valAx>
        <c:axId val="2134790872"/>
        <c:scaling>
          <c:orientation val="minMax"/>
          <c:max val="2.0E6"/>
          <c:min val="0.0"/>
        </c:scaling>
        <c:delete val="0"/>
        <c:axPos val="l"/>
        <c:majorGridlines>
          <c:spPr>
            <a:ln>
              <a:noFill/>
            </a:ln>
          </c:spPr>
        </c:majorGridlines>
        <c:numFmt formatCode="General" sourceLinked="1"/>
        <c:majorTickMark val="out"/>
        <c:minorTickMark val="none"/>
        <c:tickLblPos val="none"/>
        <c:spPr>
          <a:ln w="9525" algn="ctr">
            <a:solidFill>
              <a:schemeClr val="accent1"/>
            </a:solidFill>
            <a:prstDash val="solid"/>
          </a:ln>
        </c:spPr>
        <c:txPr>
          <a:bodyPr wrap="none"/>
          <a:lstStyle/>
          <a:p>
            <a:pPr>
              <a:defRPr sz="1000">
                <a:latin typeface="+mn-lt"/>
                <a:ea typeface="+mn-ea"/>
                <a:cs typeface="+mn-cs"/>
                <a:sym typeface="+mn-lt"/>
              </a:defRPr>
            </a:pPr>
            <a:endParaRPr lang="de-DE"/>
          </a:p>
        </c:txPr>
        <c:crossAx val="2134787416"/>
        <c:crosses val="min"/>
        <c:crossBetween val="between"/>
        <c:majorUnit val="50000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58620689655172"/>
          <c:y val="0.0536635706914345"/>
          <c:w val="0.928275862068965"/>
          <c:h val="0.892672858617131"/>
        </c:manualLayout>
      </c:layout>
      <c:barChart>
        <c:barDir val="col"/>
        <c:grouping val="stacked"/>
        <c:varyColors val="0"/>
        <c:ser>
          <c:idx val="0"/>
          <c:order val="0"/>
          <c:spPr>
            <a:solidFill>
              <a:schemeClr val="accent1"/>
            </a:solidFill>
            <a:ln>
              <a:noFill/>
            </a:ln>
          </c:spPr>
          <c:invertIfNegative val="0"/>
          <c:val>
            <c:numRef>
              <c:f>Sheet1!$A$1:$U$1</c:f>
              <c:numCache>
                <c:formatCode>General</c:formatCode>
                <c:ptCount val="21"/>
                <c:pt idx="0">
                  <c:v>3.357101E6</c:v>
                </c:pt>
                <c:pt idx="1">
                  <c:v>3.191368E6</c:v>
                </c:pt>
                <c:pt idx="2">
                  <c:v>3.279029E6</c:v>
                </c:pt>
                <c:pt idx="3">
                  <c:v>3.346589E6</c:v>
                </c:pt>
                <c:pt idx="4">
                  <c:v>3.41892E6</c:v>
                </c:pt>
                <c:pt idx="5">
                  <c:v>3.337529E6</c:v>
                </c:pt>
                <c:pt idx="6">
                  <c:v>3.369138E6</c:v>
                </c:pt>
                <c:pt idx="7">
                  <c:v>3.444643E6</c:v>
                </c:pt>
                <c:pt idx="8">
                  <c:v>3.511935E6</c:v>
                </c:pt>
                <c:pt idx="9">
                  <c:v>3.629834E6</c:v>
                </c:pt>
                <c:pt idx="10">
                  <c:v>3.555788E6</c:v>
                </c:pt>
                <c:pt idx="11">
                  <c:v>3.243288E6</c:v>
                </c:pt>
                <c:pt idx="12">
                  <c:v>2.983331E6</c:v>
                </c:pt>
                <c:pt idx="13">
                  <c:v>2.93188564214286E6</c:v>
                </c:pt>
                <c:pt idx="14">
                  <c:v>2.88044028428571E6</c:v>
                </c:pt>
                <c:pt idx="15">
                  <c:v>2.54817264214286E6</c:v>
                </c:pt>
                <c:pt idx="16">
                  <c:v>2.215905E6</c:v>
                </c:pt>
                <c:pt idx="17">
                  <c:v>1.537971E6</c:v>
                </c:pt>
                <c:pt idx="18">
                  <c:v>1.48959033333333E6</c:v>
                </c:pt>
                <c:pt idx="19">
                  <c:v>1.44120966666667E6</c:v>
                </c:pt>
                <c:pt idx="20">
                  <c:v>1.392829E6</c:v>
                </c:pt>
              </c:numCache>
            </c:numRef>
          </c:val>
          <c:extLst xmlns:c16r2="http://schemas.microsoft.com/office/drawing/2015/06/chart">
            <c:ext xmlns:c16="http://schemas.microsoft.com/office/drawing/2014/chart" uri="{C3380CC4-5D6E-409C-BE32-E72D297353CC}">
              <c16:uniqueId val="{00000000-2C6F-463C-988B-77B166E2121B}"/>
            </c:ext>
          </c:extLst>
        </c:ser>
        <c:dLbls>
          <c:showLegendKey val="0"/>
          <c:showVal val="0"/>
          <c:showCatName val="0"/>
          <c:showSerName val="0"/>
          <c:showPercent val="0"/>
          <c:showBubbleSize val="0"/>
        </c:dLbls>
        <c:gapWidth val="80"/>
        <c:overlap val="100"/>
        <c:axId val="2134854888"/>
        <c:axId val="2134858344"/>
      </c:barChart>
      <c:catAx>
        <c:axId val="2134854888"/>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34858344"/>
        <c:crosses val="min"/>
        <c:auto val="0"/>
        <c:lblAlgn val="ctr"/>
        <c:lblOffset val="100"/>
        <c:noMultiLvlLbl val="0"/>
      </c:catAx>
      <c:valAx>
        <c:axId val="2134858344"/>
        <c:scaling>
          <c:orientation val="minMax"/>
          <c:max val="4.0E6"/>
          <c:min val="0.0"/>
        </c:scaling>
        <c:delete val="0"/>
        <c:axPos val="l"/>
        <c:majorGridlines>
          <c:spPr>
            <a:ln>
              <a:noFill/>
            </a:ln>
          </c:spPr>
        </c:majorGridlines>
        <c:numFmt formatCode="General" sourceLinked="1"/>
        <c:majorTickMark val="out"/>
        <c:minorTickMark val="none"/>
        <c:tickLblPos val="none"/>
        <c:spPr>
          <a:ln w="9525" algn="ctr">
            <a:solidFill>
              <a:schemeClr val="accent1"/>
            </a:solidFill>
            <a:prstDash val="solid"/>
          </a:ln>
        </c:spPr>
        <c:txPr>
          <a:bodyPr wrap="none"/>
          <a:lstStyle/>
          <a:p>
            <a:pPr>
              <a:defRPr sz="1000">
                <a:latin typeface="+mn-lt"/>
                <a:ea typeface="+mn-ea"/>
                <a:cs typeface="+mn-cs"/>
                <a:sym typeface="+mn-lt"/>
              </a:defRPr>
            </a:pPr>
            <a:endParaRPr lang="de-DE"/>
          </a:p>
        </c:txPr>
        <c:crossAx val="2134854888"/>
        <c:crosses val="min"/>
        <c:crossBetween val="between"/>
        <c:majorUnit val="1.0E6"/>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58620689655172"/>
          <c:y val="0.0537190082644628"/>
          <c:w val="0.928275862068965"/>
          <c:h val="0.892561983471074"/>
        </c:manualLayout>
      </c:layout>
      <c:barChart>
        <c:barDir val="col"/>
        <c:grouping val="stacked"/>
        <c:varyColors val="0"/>
        <c:ser>
          <c:idx val="0"/>
          <c:order val="0"/>
          <c:spPr>
            <a:solidFill>
              <a:schemeClr val="accent1"/>
            </a:solidFill>
            <a:ln>
              <a:noFill/>
            </a:ln>
          </c:spPr>
          <c:invertIfNegative val="0"/>
          <c:val>
            <c:numRef>
              <c:f>Sheet1!$A$1:$U$1</c:f>
              <c:numCache>
                <c:formatCode>General</c:formatCode>
                <c:ptCount val="21"/>
                <c:pt idx="0">
                  <c:v>1.065388E6</c:v>
                </c:pt>
                <c:pt idx="1">
                  <c:v>1.030381E6</c:v>
                </c:pt>
                <c:pt idx="2">
                  <c:v>1.045389E6</c:v>
                </c:pt>
                <c:pt idx="3">
                  <c:v>966228.0</c:v>
                </c:pt>
                <c:pt idx="4">
                  <c:v>886191.0</c:v>
                </c:pt>
                <c:pt idx="5">
                  <c:v>916758.0</c:v>
                </c:pt>
                <c:pt idx="6">
                  <c:v>868315.0</c:v>
                </c:pt>
                <c:pt idx="7">
                  <c:v>886606.0</c:v>
                </c:pt>
                <c:pt idx="8">
                  <c:v>890631.0</c:v>
                </c:pt>
                <c:pt idx="9">
                  <c:v>899091.0</c:v>
                </c:pt>
                <c:pt idx="10">
                  <c:v>904277.0</c:v>
                </c:pt>
                <c:pt idx="11">
                  <c:v>875590.375</c:v>
                </c:pt>
                <c:pt idx="12">
                  <c:v>836745.0</c:v>
                </c:pt>
                <c:pt idx="13">
                  <c:v>823200.0</c:v>
                </c:pt>
                <c:pt idx="14">
                  <c:v>809655.0</c:v>
                </c:pt>
                <c:pt idx="15">
                  <c:v>633356.5</c:v>
                </c:pt>
                <c:pt idx="16">
                  <c:v>457058.0</c:v>
                </c:pt>
                <c:pt idx="17">
                  <c:v>258551.0</c:v>
                </c:pt>
                <c:pt idx="18">
                  <c:v>246335.0</c:v>
                </c:pt>
                <c:pt idx="19">
                  <c:v>234119.0</c:v>
                </c:pt>
                <c:pt idx="20">
                  <c:v>221903.0</c:v>
                </c:pt>
              </c:numCache>
            </c:numRef>
          </c:val>
          <c:extLst xmlns:c16r2="http://schemas.microsoft.com/office/drawing/2015/06/chart">
            <c:ext xmlns:c16="http://schemas.microsoft.com/office/drawing/2014/chart" uri="{C3380CC4-5D6E-409C-BE32-E72D297353CC}">
              <c16:uniqueId val="{00000000-07E1-49DD-8D53-CA298B9715C5}"/>
            </c:ext>
          </c:extLst>
        </c:ser>
        <c:dLbls>
          <c:showLegendKey val="0"/>
          <c:showVal val="0"/>
          <c:showCatName val="0"/>
          <c:showSerName val="0"/>
          <c:showPercent val="0"/>
          <c:showBubbleSize val="0"/>
        </c:dLbls>
        <c:gapWidth val="80"/>
        <c:overlap val="100"/>
        <c:axId val="2133928984"/>
        <c:axId val="2133932440"/>
      </c:barChart>
      <c:catAx>
        <c:axId val="2133928984"/>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33932440"/>
        <c:crosses val="min"/>
        <c:auto val="0"/>
        <c:lblAlgn val="ctr"/>
        <c:lblOffset val="100"/>
        <c:noMultiLvlLbl val="0"/>
      </c:catAx>
      <c:valAx>
        <c:axId val="2133932440"/>
        <c:scaling>
          <c:orientation val="minMax"/>
          <c:max val="1.2E6"/>
          <c:min val="0.0"/>
        </c:scaling>
        <c:delete val="0"/>
        <c:axPos val="l"/>
        <c:majorGridlines>
          <c:spPr>
            <a:ln>
              <a:noFill/>
            </a:ln>
          </c:spPr>
        </c:majorGridlines>
        <c:numFmt formatCode="General" sourceLinked="1"/>
        <c:majorTickMark val="out"/>
        <c:minorTickMark val="none"/>
        <c:tickLblPos val="none"/>
        <c:spPr>
          <a:ln w="9525" algn="ctr">
            <a:solidFill>
              <a:schemeClr val="accent1"/>
            </a:solidFill>
            <a:prstDash val="solid"/>
          </a:ln>
        </c:spPr>
        <c:txPr>
          <a:bodyPr wrap="none"/>
          <a:lstStyle/>
          <a:p>
            <a:pPr>
              <a:defRPr sz="1000">
                <a:latin typeface="+mn-lt"/>
                <a:ea typeface="+mn-ea"/>
                <a:cs typeface="+mn-cs"/>
                <a:sym typeface="+mn-lt"/>
              </a:defRPr>
            </a:pPr>
            <a:endParaRPr lang="de-DE"/>
          </a:p>
        </c:txPr>
        <c:crossAx val="2133928984"/>
        <c:crosses val="min"/>
        <c:crossBetween val="between"/>
        <c:majorUnit val="200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58620689655172"/>
          <c:y val="0.0537190082644628"/>
          <c:w val="0.928275862068965"/>
          <c:h val="0.892561983471074"/>
        </c:manualLayout>
      </c:layout>
      <c:barChart>
        <c:barDir val="col"/>
        <c:grouping val="stacked"/>
        <c:varyColors val="0"/>
        <c:ser>
          <c:idx val="0"/>
          <c:order val="0"/>
          <c:spPr>
            <a:solidFill>
              <a:schemeClr val="accent1"/>
            </a:solidFill>
            <a:ln>
              <a:noFill/>
            </a:ln>
          </c:spPr>
          <c:invertIfNegative val="0"/>
          <c:val>
            <c:numRef>
              <c:f>Sheet1!$A$1:$U$1</c:f>
              <c:numCache>
                <c:formatCode>General</c:formatCode>
                <c:ptCount val="21"/>
                <c:pt idx="0">
                  <c:v>4.4554845E7</c:v>
                </c:pt>
                <c:pt idx="1">
                  <c:v>4.4584904E7</c:v>
                </c:pt>
                <c:pt idx="2">
                  <c:v>4.4372075E7</c:v>
                </c:pt>
                <c:pt idx="3">
                  <c:v>4.2628483E7</c:v>
                </c:pt>
                <c:pt idx="4">
                  <c:v>4.0388041E7</c:v>
                </c:pt>
                <c:pt idx="5">
                  <c:v>4.1196211E7</c:v>
                </c:pt>
                <c:pt idx="6">
                  <c:v>4.2309656E7</c:v>
                </c:pt>
                <c:pt idx="7">
                  <c:v>4.4690061E7</c:v>
                </c:pt>
                <c:pt idx="8">
                  <c:v>4.5798579E7</c:v>
                </c:pt>
                <c:pt idx="9">
                  <c:v>4.6947435E7</c:v>
                </c:pt>
                <c:pt idx="10">
                  <c:v>4.7641848E7</c:v>
                </c:pt>
                <c:pt idx="11">
                  <c:v>4.7510056E7</c:v>
                </c:pt>
                <c:pt idx="12">
                  <c:v>4.6149837E7</c:v>
                </c:pt>
                <c:pt idx="13">
                  <c:v>4.73861880710742E7</c:v>
                </c:pt>
                <c:pt idx="14">
                  <c:v>4.86225391421483E7</c:v>
                </c:pt>
                <c:pt idx="15">
                  <c:v>4.56093920710742E7</c:v>
                </c:pt>
                <c:pt idx="16">
                  <c:v>4.2596245E7</c:v>
                </c:pt>
                <c:pt idx="17">
                  <c:v>4.1250254E7</c:v>
                </c:pt>
                <c:pt idx="18">
                  <c:v>3.9987227E7</c:v>
                </c:pt>
                <c:pt idx="19">
                  <c:v>3.87242E7</c:v>
                </c:pt>
                <c:pt idx="20">
                  <c:v>3.7461173E7</c:v>
                </c:pt>
              </c:numCache>
            </c:numRef>
          </c:val>
          <c:extLst xmlns:c16r2="http://schemas.microsoft.com/office/drawing/2015/06/chart">
            <c:ext xmlns:c16="http://schemas.microsoft.com/office/drawing/2014/chart" uri="{C3380CC4-5D6E-409C-BE32-E72D297353CC}">
              <c16:uniqueId val="{00000000-1355-44EA-B3AF-C881EB6BFC01}"/>
            </c:ext>
          </c:extLst>
        </c:ser>
        <c:dLbls>
          <c:showLegendKey val="0"/>
          <c:showVal val="0"/>
          <c:showCatName val="0"/>
          <c:showSerName val="0"/>
          <c:showPercent val="0"/>
          <c:showBubbleSize val="0"/>
        </c:dLbls>
        <c:gapWidth val="80"/>
        <c:overlap val="100"/>
        <c:axId val="2133863880"/>
        <c:axId val="2133867336"/>
      </c:barChart>
      <c:catAx>
        <c:axId val="2133863880"/>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33867336"/>
        <c:crosses val="min"/>
        <c:auto val="0"/>
        <c:lblAlgn val="ctr"/>
        <c:lblOffset val="100"/>
        <c:noMultiLvlLbl val="0"/>
      </c:catAx>
      <c:valAx>
        <c:axId val="2133867336"/>
        <c:scaling>
          <c:orientation val="minMax"/>
          <c:max val="5.0E7"/>
          <c:min val="0.0"/>
        </c:scaling>
        <c:delete val="0"/>
        <c:axPos val="l"/>
        <c:majorGridlines>
          <c:spPr>
            <a:ln>
              <a:noFill/>
            </a:ln>
          </c:spPr>
        </c:majorGridlines>
        <c:numFmt formatCode="General" sourceLinked="1"/>
        <c:majorTickMark val="out"/>
        <c:minorTickMark val="none"/>
        <c:tickLblPos val="none"/>
        <c:spPr>
          <a:ln w="9525" algn="ctr">
            <a:solidFill>
              <a:schemeClr val="accent1"/>
            </a:solidFill>
            <a:prstDash val="solid"/>
          </a:ln>
        </c:spPr>
        <c:txPr>
          <a:bodyPr wrap="none"/>
          <a:lstStyle/>
          <a:p>
            <a:pPr>
              <a:defRPr sz="1000">
                <a:latin typeface="+mn-lt"/>
                <a:ea typeface="+mn-ea"/>
                <a:cs typeface="+mn-cs"/>
                <a:sym typeface="+mn-lt"/>
              </a:defRPr>
            </a:pPr>
            <a:endParaRPr lang="de-DE"/>
          </a:p>
        </c:txPr>
        <c:crossAx val="2133863880"/>
        <c:crosses val="min"/>
        <c:crossBetween val="between"/>
        <c:majorUnit val="1.0E7"/>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58620689655172"/>
          <c:y val="0.0537190082644628"/>
          <c:w val="0.928275862068965"/>
          <c:h val="0.892561983471074"/>
        </c:manualLayout>
      </c:layout>
      <c:barChart>
        <c:barDir val="col"/>
        <c:grouping val="stacked"/>
        <c:varyColors val="0"/>
        <c:ser>
          <c:idx val="0"/>
          <c:order val="0"/>
          <c:spPr>
            <a:solidFill>
              <a:schemeClr val="accent5"/>
            </a:solidFill>
            <a:ln>
              <a:noFill/>
            </a:ln>
          </c:spPr>
          <c:invertIfNegative val="0"/>
          <c:val>
            <c:numRef>
              <c:f>Sheet1!$A$1:$U$1</c:f>
              <c:numCache>
                <c:formatCode>General</c:formatCode>
                <c:ptCount val="21"/>
                <c:pt idx="0">
                  <c:v>84366.83333333333</c:v>
                </c:pt>
                <c:pt idx="1">
                  <c:v>87169.33333333333</c:v>
                </c:pt>
                <c:pt idx="2">
                  <c:v>87066.41666666666</c:v>
                </c:pt>
                <c:pt idx="3">
                  <c:v>93024.41666666666</c:v>
                </c:pt>
                <c:pt idx="4">
                  <c:v>96500.33333333333</c:v>
                </c:pt>
                <c:pt idx="5">
                  <c:v>98391.16666666667</c:v>
                </c:pt>
                <c:pt idx="6">
                  <c:v>98348.0</c:v>
                </c:pt>
                <c:pt idx="7">
                  <c:v>99205.33333333333</c:v>
                </c:pt>
                <c:pt idx="8">
                  <c:v>100414.9166666667</c:v>
                </c:pt>
                <c:pt idx="9">
                  <c:v>101937.6666666667</c:v>
                </c:pt>
                <c:pt idx="10">
                  <c:v>104637.4166666667</c:v>
                </c:pt>
                <c:pt idx="11">
                  <c:v>106497.0</c:v>
                </c:pt>
                <c:pt idx="12">
                  <c:v>108492.1666666667</c:v>
                </c:pt>
                <c:pt idx="13">
                  <c:v>111385.5</c:v>
                </c:pt>
                <c:pt idx="14">
                  <c:v>116001.3333333333</c:v>
                </c:pt>
                <c:pt idx="15">
                  <c:v>132459.833333333</c:v>
                </c:pt>
                <c:pt idx="16">
                  <c:v>141406.6666666667</c:v>
                </c:pt>
                <c:pt idx="17">
                  <c:v>150515.0</c:v>
                </c:pt>
                <c:pt idx="18">
                  <c:v>152111.0</c:v>
                </c:pt>
                <c:pt idx="19">
                  <c:v>153707.0</c:v>
                </c:pt>
                <c:pt idx="20">
                  <c:v>155303.0</c:v>
                </c:pt>
              </c:numCache>
            </c:numRef>
          </c:val>
          <c:extLst xmlns:c16r2="http://schemas.microsoft.com/office/drawing/2015/06/chart">
            <c:ext xmlns:c16="http://schemas.microsoft.com/office/drawing/2014/chart" uri="{C3380CC4-5D6E-409C-BE32-E72D297353CC}">
              <c16:uniqueId val="{00000000-D9EA-4962-8ED9-253E95580A13}"/>
            </c:ext>
          </c:extLst>
        </c:ser>
        <c:ser>
          <c:idx val="1"/>
          <c:order val="1"/>
          <c:spPr>
            <a:solidFill>
              <a:schemeClr val="accent1"/>
            </a:solidFill>
            <a:ln>
              <a:noFill/>
            </a:ln>
          </c:spPr>
          <c:invertIfNegative val="0"/>
          <c:val>
            <c:numRef>
              <c:f>Sheet1!$A$2:$U$2</c:f>
              <c:numCache>
                <c:formatCode>General</c:formatCode>
                <c:ptCount val="21"/>
                <c:pt idx="0">
                  <c:v>174132.5</c:v>
                </c:pt>
                <c:pt idx="1">
                  <c:v>181414.75</c:v>
                </c:pt>
                <c:pt idx="2">
                  <c:v>184046.1666666666</c:v>
                </c:pt>
                <c:pt idx="3">
                  <c:v>187743.9166666666</c:v>
                </c:pt>
                <c:pt idx="4">
                  <c:v>190453.25</c:v>
                </c:pt>
                <c:pt idx="5">
                  <c:v>192577.4166666666</c:v>
                </c:pt>
                <c:pt idx="6">
                  <c:v>193120.5</c:v>
                </c:pt>
                <c:pt idx="7">
                  <c:v>192855.0833333333</c:v>
                </c:pt>
                <c:pt idx="8">
                  <c:v>192608.25</c:v>
                </c:pt>
                <c:pt idx="9">
                  <c:v>204146.5</c:v>
                </c:pt>
                <c:pt idx="10">
                  <c:v>212589.3333333333</c:v>
                </c:pt>
                <c:pt idx="11">
                  <c:v>217719.0</c:v>
                </c:pt>
                <c:pt idx="12">
                  <c:v>221886.0833333333</c:v>
                </c:pt>
                <c:pt idx="13">
                  <c:v>230397.75</c:v>
                </c:pt>
                <c:pt idx="14">
                  <c:v>241227.3333333333</c:v>
                </c:pt>
                <c:pt idx="15">
                  <c:v>307033.0</c:v>
                </c:pt>
                <c:pt idx="16">
                  <c:v>402679.0833333334</c:v>
                </c:pt>
                <c:pt idx="17">
                  <c:v>571124.0</c:v>
                </c:pt>
                <c:pt idx="18">
                  <c:v>582425.6666666667</c:v>
                </c:pt>
                <c:pt idx="19">
                  <c:v>593727.3333333334</c:v>
                </c:pt>
                <c:pt idx="20">
                  <c:v>605029.0</c:v>
                </c:pt>
              </c:numCache>
            </c:numRef>
          </c:val>
          <c:extLst xmlns:c16r2="http://schemas.microsoft.com/office/drawing/2015/06/chart">
            <c:ext xmlns:c16="http://schemas.microsoft.com/office/drawing/2014/chart" uri="{C3380CC4-5D6E-409C-BE32-E72D297353CC}">
              <c16:uniqueId val="{00000001-D9EA-4962-8ED9-253E95580A13}"/>
            </c:ext>
          </c:extLst>
        </c:ser>
        <c:dLbls>
          <c:showLegendKey val="0"/>
          <c:showVal val="0"/>
          <c:showCatName val="0"/>
          <c:showSerName val="0"/>
          <c:showPercent val="0"/>
          <c:showBubbleSize val="0"/>
        </c:dLbls>
        <c:gapWidth val="80"/>
        <c:overlap val="100"/>
        <c:axId val="2136127160"/>
        <c:axId val="2136130600"/>
      </c:barChart>
      <c:catAx>
        <c:axId val="2136127160"/>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36130600"/>
        <c:crosses val="min"/>
        <c:auto val="0"/>
        <c:lblAlgn val="ctr"/>
        <c:lblOffset val="100"/>
        <c:noMultiLvlLbl val="0"/>
      </c:catAx>
      <c:valAx>
        <c:axId val="2136130600"/>
        <c:scaling>
          <c:orientation val="minMax"/>
          <c:max val="800000.0"/>
          <c:min val="0.0"/>
        </c:scaling>
        <c:delete val="0"/>
        <c:axPos val="l"/>
        <c:majorGridlines>
          <c:spPr>
            <a:ln>
              <a:noFill/>
            </a:ln>
          </c:spPr>
        </c:majorGridlines>
        <c:numFmt formatCode="General" sourceLinked="1"/>
        <c:majorTickMark val="out"/>
        <c:minorTickMark val="none"/>
        <c:tickLblPos val="none"/>
        <c:spPr>
          <a:ln w="9525" algn="ctr">
            <a:solidFill>
              <a:schemeClr val="accent1"/>
            </a:solidFill>
            <a:prstDash val="solid"/>
          </a:ln>
        </c:spPr>
        <c:txPr>
          <a:bodyPr wrap="none"/>
          <a:lstStyle/>
          <a:p>
            <a:pPr>
              <a:defRPr sz="1000">
                <a:latin typeface="+mn-lt"/>
                <a:ea typeface="+mn-ea"/>
                <a:cs typeface="+mn-cs"/>
                <a:sym typeface="+mn-lt"/>
              </a:defRPr>
            </a:pPr>
            <a:endParaRPr lang="de-DE"/>
          </a:p>
        </c:txPr>
        <c:crossAx val="2136127160"/>
        <c:crosses val="min"/>
        <c:crossBetween val="between"/>
        <c:majorUnit val="200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00308641975309"/>
          <c:y val="0.130781499202552"/>
          <c:w val="0.979938271604938"/>
          <c:h val="0.827751196172249"/>
        </c:manualLayout>
      </c:layout>
      <c:barChart>
        <c:barDir val="col"/>
        <c:grouping val="clustered"/>
        <c:varyColors val="0"/>
        <c:ser>
          <c:idx val="0"/>
          <c:order val="0"/>
          <c:spPr>
            <a:solidFill>
              <a:schemeClr val="accent1"/>
            </a:solidFill>
            <a:ln>
              <a:noFill/>
            </a:ln>
          </c:spPr>
          <c:invertIfNegative val="0"/>
          <c:dLbls>
            <c:dLbl>
              <c:idx val="0"/>
              <c:layout>
                <c:manualLayout>
                  <c:x val="0.0"/>
                  <c:y val="-0.48006379585327"/>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CE-4443-A076-939E96F78631}"/>
                </c:ext>
              </c:extLst>
            </c:dLbl>
            <c:dLbl>
              <c:idx val="1"/>
              <c:layout>
                <c:manualLayout>
                  <c:x val="0.0"/>
                  <c:y val="-0.14752791068580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CE-4443-A076-939E96F78631}"/>
                </c:ext>
              </c:extLst>
            </c:dLbl>
            <c:dLbl>
              <c:idx val="2"/>
              <c:layout>
                <c:manualLayout>
                  <c:x val="0.0"/>
                  <c:y val="-0.10207336523126"/>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CE-4443-A076-939E96F78631}"/>
                </c:ext>
              </c:extLst>
            </c:dLbl>
            <c:dLbl>
              <c:idx val="3"/>
              <c:layout>
                <c:manualLayout>
                  <c:x val="0.0"/>
                  <c:y val="-0.2344497607655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CE-4443-A076-939E96F78631}"/>
                </c:ext>
              </c:extLst>
            </c:dLbl>
            <c:dLbl>
              <c:idx val="4"/>
              <c:layout>
                <c:manualLayout>
                  <c:x val="0.0"/>
                  <c:y val="-0.2344497607655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CE-4443-A076-939E96F78631}"/>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49.6</c:v>
                </c:pt>
                <c:pt idx="1">
                  <c:v>9.9</c:v>
                </c:pt>
                <c:pt idx="2">
                  <c:v>7.2</c:v>
                </c:pt>
                <c:pt idx="3">
                  <c:v>20.2</c:v>
                </c:pt>
                <c:pt idx="4">
                  <c:v>20.2</c:v>
                </c:pt>
              </c:numCache>
            </c:numRef>
          </c:val>
          <c:extLst xmlns:c16r2="http://schemas.microsoft.com/office/drawing/2015/06/chart">
            <c:ext xmlns:c16="http://schemas.microsoft.com/office/drawing/2014/chart" uri="{C3380CC4-5D6E-409C-BE32-E72D297353CC}">
              <c16:uniqueId val="{00000005-71CE-4443-A076-939E96F78631}"/>
            </c:ext>
          </c:extLst>
        </c:ser>
        <c:ser>
          <c:idx val="1"/>
          <c:order val="1"/>
          <c:spPr>
            <a:solidFill>
              <a:srgbClr val="C0C0C0"/>
            </a:solidFill>
            <a:ln>
              <a:noFill/>
            </a:ln>
          </c:spPr>
          <c:invertIfNegative val="0"/>
          <c:dLbls>
            <c:dLbl>
              <c:idx val="0"/>
              <c:layout>
                <c:manualLayout>
                  <c:x val="0.0"/>
                  <c:y val="-0.417065390749601"/>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CE-4443-A076-939E96F78631}"/>
                </c:ext>
              </c:extLst>
            </c:dLbl>
            <c:dLbl>
              <c:idx val="1"/>
              <c:layout>
                <c:manualLayout>
                  <c:x val="0.0"/>
                  <c:y val="-0.14912280701754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CE-4443-A076-939E96F78631}"/>
                </c:ext>
              </c:extLst>
            </c:dLbl>
            <c:dLbl>
              <c:idx val="2"/>
              <c:layout>
                <c:manualLayout>
                  <c:x val="0.0"/>
                  <c:y val="-0.059011164274322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1CE-4443-A076-939E96F78631}"/>
                </c:ext>
              </c:extLst>
            </c:dLbl>
            <c:dLbl>
              <c:idx val="3"/>
              <c:layout>
                <c:manualLayout>
                  <c:x val="0.0"/>
                  <c:y val="-0.12041467304625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1CE-4443-A076-939E96F78631}"/>
                </c:ext>
              </c:extLst>
            </c:dLbl>
            <c:dLbl>
              <c:idx val="4"/>
              <c:layout>
                <c:manualLayout>
                  <c:x val="0.0"/>
                  <c:y val="-0.167464114832536"/>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CE-4443-A076-939E96F78631}"/>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0">
                  <c:v>42.0</c:v>
                </c:pt>
                <c:pt idx="1">
                  <c:v>10.0</c:v>
                </c:pt>
                <c:pt idx="2">
                  <c:v>4.6</c:v>
                </c:pt>
                <c:pt idx="3">
                  <c:v>8.3</c:v>
                </c:pt>
                <c:pt idx="4">
                  <c:v>12.1</c:v>
                </c:pt>
              </c:numCache>
            </c:numRef>
          </c:val>
          <c:extLst xmlns:c16r2="http://schemas.microsoft.com/office/drawing/2015/06/chart">
            <c:ext xmlns:c16="http://schemas.microsoft.com/office/drawing/2014/chart" uri="{C3380CC4-5D6E-409C-BE32-E72D297353CC}">
              <c16:uniqueId val="{0000000B-71CE-4443-A076-939E96F78631}"/>
            </c:ext>
          </c:extLst>
        </c:ser>
        <c:ser>
          <c:idx val="2"/>
          <c:order val="2"/>
          <c:spPr>
            <a:solidFill>
              <a:schemeClr val="accent6"/>
            </a:solidFill>
            <a:ln>
              <a:noFill/>
            </a:ln>
          </c:spPr>
          <c:invertIfNegative val="0"/>
          <c:dLbls>
            <c:dLbl>
              <c:idx val="0"/>
              <c:layout>
                <c:manualLayout>
                  <c:x val="0.0"/>
                  <c:y val="-0.165869218500797"/>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CE-4443-A076-939E96F78631}"/>
                </c:ext>
              </c:extLst>
            </c:dLbl>
            <c:dLbl>
              <c:idx val="2"/>
              <c:layout>
                <c:manualLayout>
                  <c:x val="0.0"/>
                  <c:y val="0.015948963317384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CE-4443-A076-939E96F78631}"/>
                </c:ext>
              </c:extLst>
            </c:dLbl>
            <c:dLbl>
              <c:idx val="3"/>
              <c:layout>
                <c:manualLayout>
                  <c:x val="0.0"/>
                  <c:y val="-0.0869218500797448"/>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1CE-4443-A076-939E96F78631}"/>
                </c:ext>
              </c:extLst>
            </c:dLbl>
            <c:dLbl>
              <c:idx val="4"/>
              <c:layout>
                <c:manualLayout>
                  <c:x val="0.0"/>
                  <c:y val="-0.00717703349282297"/>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1CE-4443-A076-939E96F78631}"/>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3:$E$3</c:f>
              <c:numCache>
                <c:formatCode>General</c:formatCode>
                <c:ptCount val="5"/>
                <c:pt idx="0">
                  <c:v>11.9</c:v>
                </c:pt>
                <c:pt idx="2">
                  <c:v>0.1</c:v>
                </c:pt>
                <c:pt idx="3">
                  <c:v>6.3</c:v>
                </c:pt>
                <c:pt idx="4">
                  <c:v>1.5</c:v>
                </c:pt>
              </c:numCache>
            </c:numRef>
          </c:val>
          <c:extLst xmlns:c16r2="http://schemas.microsoft.com/office/drawing/2015/06/chart">
            <c:ext xmlns:c16="http://schemas.microsoft.com/office/drawing/2014/chart" uri="{C3380CC4-5D6E-409C-BE32-E72D297353CC}">
              <c16:uniqueId val="{00000010-71CE-4443-A076-939E96F78631}"/>
            </c:ext>
          </c:extLst>
        </c:ser>
        <c:dLbls>
          <c:showLegendKey val="0"/>
          <c:showVal val="0"/>
          <c:showCatName val="0"/>
          <c:showSerName val="0"/>
          <c:showPercent val="0"/>
          <c:showBubbleSize val="0"/>
        </c:dLbls>
        <c:gapWidth val="80"/>
        <c:axId val="2136501416"/>
        <c:axId val="2136505064"/>
      </c:barChart>
      <c:catAx>
        <c:axId val="2136501416"/>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36505064"/>
        <c:crosses val="min"/>
        <c:auto val="0"/>
        <c:lblAlgn val="ctr"/>
        <c:lblOffset val="100"/>
        <c:noMultiLvlLbl val="0"/>
      </c:catAx>
      <c:valAx>
        <c:axId val="2136505064"/>
        <c:scaling>
          <c:orientation val="minMax"/>
          <c:max val="49.6"/>
          <c:min val="0.0"/>
        </c:scaling>
        <c:delete val="1"/>
        <c:axPos val="l"/>
        <c:numFmt formatCode="General" sourceLinked="1"/>
        <c:majorTickMark val="out"/>
        <c:minorTickMark val="none"/>
        <c:tickLblPos val="nextTo"/>
        <c:crossAx val="213650141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675159235669"/>
          <c:y val="0.0473684210526316"/>
          <c:w val="0.840764331210191"/>
          <c:h val="0.905263157894737"/>
        </c:manualLayout>
      </c:layout>
      <c:barChart>
        <c:barDir val="col"/>
        <c:grouping val="stacked"/>
        <c:varyColors val="0"/>
        <c:ser>
          <c:idx val="0"/>
          <c:order val="0"/>
          <c:spPr>
            <a:solidFill>
              <a:schemeClr val="accent1"/>
            </a:solidFill>
            <a:ln>
              <a:noFill/>
            </a:ln>
          </c:spPr>
          <c:invertIfNegative val="0"/>
          <c:val>
            <c:numRef>
              <c:f>Sheet1!$A$1:$S$1</c:f>
              <c:numCache>
                <c:formatCode>General</c:formatCode>
                <c:ptCount val="19"/>
                <c:pt idx="0">
                  <c:v>724.9</c:v>
                </c:pt>
                <c:pt idx="1">
                  <c:v>729.5</c:v>
                </c:pt>
                <c:pt idx="2">
                  <c:v>722.4</c:v>
                </c:pt>
                <c:pt idx="3">
                  <c:v>722.1</c:v>
                </c:pt>
                <c:pt idx="4">
                  <c:v>735.4</c:v>
                </c:pt>
                <c:pt idx="5">
                  <c:v>746.8</c:v>
                </c:pt>
                <c:pt idx="6">
                  <c:v>772.2</c:v>
                </c:pt>
                <c:pt idx="7">
                  <c:v>793.0</c:v>
                </c:pt>
                <c:pt idx="8">
                  <c:v>803.7</c:v>
                </c:pt>
                <c:pt idx="9">
                  <c:v>811.8</c:v>
                </c:pt>
                <c:pt idx="10">
                  <c:v>838.7</c:v>
                </c:pt>
                <c:pt idx="11">
                  <c:v>875.0</c:v>
                </c:pt>
                <c:pt idx="12">
                  <c:v>906.6</c:v>
                </c:pt>
                <c:pt idx="13">
                  <c:v>900.0</c:v>
                </c:pt>
                <c:pt idx="14">
                  <c:v>931.2</c:v>
                </c:pt>
                <c:pt idx="15">
                  <c:v>939.1</c:v>
                </c:pt>
                <c:pt idx="16">
                  <c:v>954.2</c:v>
                </c:pt>
                <c:pt idx="17">
                  <c:v>962.0</c:v>
                </c:pt>
                <c:pt idx="18">
                  <c:v>966.0</c:v>
                </c:pt>
              </c:numCache>
            </c:numRef>
          </c:val>
          <c:extLst xmlns:c16r2="http://schemas.microsoft.com/office/drawing/2015/06/chart">
            <c:ext xmlns:c16="http://schemas.microsoft.com/office/drawing/2014/chart" uri="{C3380CC4-5D6E-409C-BE32-E72D297353CC}">
              <c16:uniqueId val="{00000000-A6DB-4910-8CC4-3F9D64B81E32}"/>
            </c:ext>
          </c:extLst>
        </c:ser>
        <c:dLbls>
          <c:showLegendKey val="0"/>
          <c:showVal val="0"/>
          <c:showCatName val="0"/>
          <c:showSerName val="0"/>
          <c:showPercent val="0"/>
          <c:showBubbleSize val="0"/>
        </c:dLbls>
        <c:gapWidth val="87"/>
        <c:overlap val="100"/>
        <c:axId val="2111805448"/>
        <c:axId val="2111808904"/>
      </c:barChart>
      <c:catAx>
        <c:axId val="2111805448"/>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11808904"/>
        <c:crosses val="min"/>
        <c:auto val="0"/>
        <c:lblAlgn val="ctr"/>
        <c:lblOffset val="100"/>
        <c:noMultiLvlLbl val="0"/>
      </c:catAx>
      <c:valAx>
        <c:axId val="2111808904"/>
        <c:scaling>
          <c:orientation val="minMax"/>
          <c:max val="1000.0"/>
          <c:min val="0.0"/>
        </c:scaling>
        <c:delete val="0"/>
        <c:axPos val="l"/>
        <c:majorGridlines>
          <c:spPr>
            <a:ln>
              <a:noFill/>
            </a:ln>
          </c:spPr>
        </c:majorGridlines>
        <c:numFmt formatCode="#,##0;&quot;-&quot;#,##0" sourceLinked="0"/>
        <c:majorTickMark val="out"/>
        <c:minorTickMark val="none"/>
        <c:tickLblPos val="nextTo"/>
        <c:spPr>
          <a:ln w="9525" algn="ctr">
            <a:solidFill>
              <a:schemeClr val="accent1"/>
            </a:solidFill>
            <a:prstDash val="solid"/>
          </a:ln>
        </c:spPr>
        <c:txPr>
          <a:bodyPr wrap="none"/>
          <a:lstStyle/>
          <a:p>
            <a:pPr>
              <a:defRPr sz="1400">
                <a:solidFill>
                  <a:schemeClr val="tx1"/>
                </a:solidFill>
                <a:latin typeface="+mn-lt"/>
                <a:ea typeface="+mn-ea"/>
                <a:cs typeface="Arial"/>
                <a:sym typeface="+mn-lt"/>
              </a:defRPr>
            </a:pPr>
            <a:endParaRPr lang="de-DE"/>
          </a:p>
        </c:txPr>
        <c:crossAx val="2111805448"/>
        <c:crosses val="min"/>
        <c:crossBetween val="between"/>
        <c:majorUnit val="200.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673575129533679"/>
          <c:y val="0.0256536753823384"/>
          <c:w val="0.865284974093264"/>
          <c:h val="0.948692649235323"/>
        </c:manualLayout>
      </c:layout>
      <c:barChart>
        <c:barDir val="bar"/>
        <c:grouping val="stacked"/>
        <c:varyColors val="0"/>
        <c:ser>
          <c:idx val="0"/>
          <c:order val="0"/>
          <c:spPr>
            <a:solidFill>
              <a:schemeClr val="accent1"/>
            </a:solidFill>
            <a:ln>
              <a:noFill/>
            </a:ln>
          </c:spPr>
          <c:invertIfNegative val="0"/>
          <c:val>
            <c:numRef>
              <c:f>Sheet1!$A$1:$H$1</c:f>
              <c:numCache>
                <c:formatCode>General</c:formatCode>
                <c:ptCount val="8"/>
                <c:pt idx="0">
                  <c:v>9.34073069468418E7</c:v>
                </c:pt>
                <c:pt idx="1">
                  <c:v>8.1E6</c:v>
                </c:pt>
                <c:pt idx="2">
                  <c:v>3.2E6</c:v>
                </c:pt>
                <c:pt idx="3">
                  <c:v>4.887742E6</c:v>
                </c:pt>
                <c:pt idx="4">
                  <c:v>2.649E6</c:v>
                </c:pt>
                <c:pt idx="5">
                  <c:v>2.0E6</c:v>
                </c:pt>
                <c:pt idx="6">
                  <c:v>2.02245E6</c:v>
                </c:pt>
                <c:pt idx="7">
                  <c:v>1.13E6</c:v>
                </c:pt>
              </c:numCache>
            </c:numRef>
          </c:val>
          <c:extLst xmlns:c16r2="http://schemas.microsoft.com/office/drawing/2015/06/chart">
            <c:ext xmlns:c16="http://schemas.microsoft.com/office/drawing/2014/chart" uri="{C3380CC4-5D6E-409C-BE32-E72D297353CC}">
              <c16:uniqueId val="{00000000-A566-40EB-8F8B-041AB541CAB2}"/>
            </c:ext>
          </c:extLst>
        </c:ser>
        <c:dLbls>
          <c:showLegendKey val="0"/>
          <c:showVal val="0"/>
          <c:showCatName val="0"/>
          <c:showSerName val="0"/>
          <c:showPercent val="0"/>
          <c:showBubbleSize val="0"/>
        </c:dLbls>
        <c:gapWidth val="80"/>
        <c:overlap val="100"/>
        <c:axId val="2135720232"/>
        <c:axId val="2135723688"/>
      </c:barChart>
      <c:catAx>
        <c:axId val="2135720232"/>
        <c:scaling>
          <c:orientation val="maxMin"/>
        </c:scaling>
        <c:delete val="0"/>
        <c:axPos val="l"/>
        <c:majorGridlines>
          <c:spPr>
            <a:ln>
              <a:noFill/>
            </a:ln>
          </c:spPr>
        </c:majorGridlines>
        <c:majorTickMark val="none"/>
        <c:minorTickMark val="none"/>
        <c:tickLblPos val="none"/>
        <c:spPr>
          <a:ln w="9525" algn="ctr">
            <a:solidFill>
              <a:schemeClr val="accent1"/>
            </a:solidFill>
            <a:prstDash val="solid"/>
          </a:ln>
        </c:spPr>
        <c:crossAx val="2135723688"/>
        <c:crosses val="min"/>
        <c:auto val="0"/>
        <c:lblAlgn val="ctr"/>
        <c:lblOffset val="100"/>
        <c:noMultiLvlLbl val="0"/>
      </c:catAx>
      <c:valAx>
        <c:axId val="2135723688"/>
        <c:scaling>
          <c:orientation val="minMax"/>
          <c:max val="9.34073069468418E7"/>
          <c:min val="0.0"/>
        </c:scaling>
        <c:delete val="1"/>
        <c:axPos val="t"/>
        <c:numFmt formatCode="General" sourceLinked="1"/>
        <c:majorTickMark val="out"/>
        <c:minorTickMark val="none"/>
        <c:tickLblPos val="nextTo"/>
        <c:crossAx val="213572023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2396313364055"/>
          <c:y val="0.0256536753823384"/>
          <c:w val="0.392626728110599"/>
          <c:h val="0.948692649235323"/>
        </c:manualLayout>
      </c:layout>
      <c:barChart>
        <c:barDir val="bar"/>
        <c:grouping val="stacked"/>
        <c:varyColors val="0"/>
        <c:ser>
          <c:idx val="0"/>
          <c:order val="0"/>
          <c:spPr>
            <a:solidFill>
              <a:schemeClr val="accent1"/>
            </a:solidFill>
            <a:ln>
              <a:noFill/>
            </a:ln>
          </c:spPr>
          <c:invertIfNegative val="0"/>
          <c:dLbls>
            <c:dLbl>
              <c:idx val="0"/>
              <c:layout>
                <c:manualLayout>
                  <c:x val="0.28294930875576"/>
                  <c:y val="0.0"/>
                </c:manualLayout>
              </c:layout>
              <c:numFmt formatCode="#,##0;&quot;-&quot;#,##0" sourceLinked="0"/>
              <c:spPr>
                <a:noFill/>
                <a:ln>
                  <a:noFill/>
                </a:ln>
              </c:spPr>
              <c:txPr>
                <a:bodyPr wrap="none"/>
                <a:lstStyle/>
                <a:p>
                  <a:pPr>
                    <a:defRPr sz="1400">
                      <a:solidFill>
                        <a:schemeClr val="tx1"/>
                      </a:solidFill>
                      <a:latin typeface="+mn-lt"/>
                      <a:ea typeface="+mn-ea"/>
                      <a:cs typeface="Arial"/>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7A8-4D46-9F5E-66195FCAD6F4}"/>
                </c:ext>
              </c:extLst>
            </c:dLbl>
            <c:dLbl>
              <c:idx val="1"/>
              <c:layout>
                <c:manualLayout>
                  <c:x val="0.139170506912442"/>
                  <c:y val="0.0"/>
                </c:manualLayout>
              </c:layout>
              <c:numFmt formatCode="#,##0;&quot;-&quot;#,##0" sourceLinked="0"/>
              <c:spPr>
                <a:noFill/>
                <a:ln>
                  <a:noFill/>
                </a:ln>
              </c:spPr>
              <c:txPr>
                <a:bodyPr wrap="none"/>
                <a:lstStyle/>
                <a:p>
                  <a:pPr>
                    <a:defRPr sz="1400">
                      <a:solidFill>
                        <a:schemeClr val="tx1"/>
                      </a:solidFill>
                      <a:latin typeface="+mn-lt"/>
                      <a:ea typeface="+mn-ea"/>
                      <a:cs typeface="Arial"/>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7A8-4D46-9F5E-66195FCAD6F4}"/>
                </c:ext>
              </c:extLst>
            </c:dLbl>
            <c:dLbl>
              <c:idx val="2"/>
              <c:layout>
                <c:manualLayout>
                  <c:x val="0.0792626728110599"/>
                  <c:y val="0.0"/>
                </c:manualLayout>
              </c:layout>
              <c:numFmt formatCode="#,##0;&quot;-&quot;#,##0" sourceLinked="0"/>
              <c:spPr>
                <a:noFill/>
                <a:ln>
                  <a:noFill/>
                </a:ln>
              </c:spPr>
              <c:txPr>
                <a:bodyPr wrap="none"/>
                <a:lstStyle/>
                <a:p>
                  <a:pPr>
                    <a:defRPr sz="1400">
                      <a:solidFill>
                        <a:schemeClr val="tx1"/>
                      </a:solidFill>
                      <a:latin typeface="+mn-lt"/>
                      <a:ea typeface="+mn-ea"/>
                      <a:cs typeface="Arial"/>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A8-4D46-9F5E-66195FCAD6F4}"/>
                </c:ext>
              </c:extLst>
            </c:dLbl>
            <c:dLbl>
              <c:idx val="3"/>
              <c:layout>
                <c:manualLayout>
                  <c:x val="0.0912442396313364"/>
                  <c:y val="0.0"/>
                </c:manualLayout>
              </c:layout>
              <c:numFmt formatCode="#,##0;&quot;-&quot;#,##0" sourceLinked="0"/>
              <c:spPr>
                <a:noFill/>
                <a:ln>
                  <a:noFill/>
                </a:ln>
              </c:spPr>
              <c:txPr>
                <a:bodyPr wrap="none"/>
                <a:lstStyle/>
                <a:p>
                  <a:pPr>
                    <a:defRPr sz="1400">
                      <a:solidFill>
                        <a:schemeClr val="tx1"/>
                      </a:solidFill>
                      <a:latin typeface="+mn-lt"/>
                      <a:ea typeface="+mn-ea"/>
                      <a:cs typeface="Arial"/>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7A8-4D46-9F5E-66195FCAD6F4}"/>
                </c:ext>
              </c:extLst>
            </c:dLbl>
            <c:dLbl>
              <c:idx val="4"/>
              <c:layout>
                <c:manualLayout>
                  <c:x val="0.0792626728110599"/>
                  <c:y val="0.0"/>
                </c:manualLayout>
              </c:layout>
              <c:numFmt formatCode="#,##0;&quot;-&quot;#,##0" sourceLinked="0"/>
              <c:spPr>
                <a:noFill/>
                <a:ln>
                  <a:noFill/>
                </a:ln>
              </c:spPr>
              <c:txPr>
                <a:bodyPr wrap="none"/>
                <a:lstStyle/>
                <a:p>
                  <a:pPr>
                    <a:defRPr sz="1400">
                      <a:solidFill>
                        <a:schemeClr val="tx1"/>
                      </a:solidFill>
                      <a:latin typeface="+mn-lt"/>
                      <a:ea typeface="+mn-ea"/>
                      <a:cs typeface="Arial"/>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7A8-4D46-9F5E-66195FCAD6F4}"/>
                </c:ext>
              </c:extLst>
            </c:dLbl>
            <c:dLbl>
              <c:idx val="5"/>
              <c:layout>
                <c:manualLayout>
                  <c:x val="0.0792626728110599"/>
                  <c:y val="0.0"/>
                </c:manualLayout>
              </c:layout>
              <c:numFmt formatCode="#,##0;&quot;-&quot;#,##0" sourceLinked="0"/>
              <c:spPr>
                <a:noFill/>
                <a:ln>
                  <a:noFill/>
                </a:ln>
              </c:spPr>
              <c:txPr>
                <a:bodyPr wrap="none"/>
                <a:lstStyle/>
                <a:p>
                  <a:pPr>
                    <a:defRPr sz="1400">
                      <a:solidFill>
                        <a:schemeClr val="tx1"/>
                      </a:solidFill>
                      <a:latin typeface="+mn-lt"/>
                      <a:ea typeface="+mn-ea"/>
                      <a:cs typeface="Arial"/>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7A8-4D46-9F5E-66195FCAD6F4}"/>
                </c:ext>
              </c:extLst>
            </c:dLbl>
            <c:dLbl>
              <c:idx val="6"/>
              <c:layout>
                <c:manualLayout>
                  <c:x val="0.0811059907834102"/>
                  <c:y val="0.0"/>
                </c:manualLayout>
              </c:layout>
              <c:numFmt formatCode="#,##0;&quot;-&quot;#,##0" sourceLinked="0"/>
              <c:spPr>
                <a:noFill/>
                <a:ln>
                  <a:noFill/>
                </a:ln>
              </c:spPr>
              <c:txPr>
                <a:bodyPr wrap="none"/>
                <a:lstStyle/>
                <a:p>
                  <a:pPr>
                    <a:defRPr sz="1400">
                      <a:solidFill>
                        <a:schemeClr val="tx1"/>
                      </a:solidFill>
                      <a:latin typeface="+mn-lt"/>
                      <a:ea typeface="+mn-ea"/>
                      <a:cs typeface="Arial"/>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7A8-4D46-9F5E-66195FCAD6F4}"/>
                </c:ext>
              </c:extLst>
            </c:dLbl>
            <c:dLbl>
              <c:idx val="7"/>
              <c:layout>
                <c:manualLayout>
                  <c:x val="0.0746543778801843"/>
                  <c:y val="0.0"/>
                </c:manualLayout>
              </c:layout>
              <c:numFmt formatCode="#,##0;&quot;-&quot;#,##0" sourceLinked="0"/>
              <c:spPr>
                <a:noFill/>
                <a:ln>
                  <a:noFill/>
                </a:ln>
              </c:spPr>
              <c:txPr>
                <a:bodyPr wrap="none"/>
                <a:lstStyle/>
                <a:p>
                  <a:pPr>
                    <a:defRPr sz="1400">
                      <a:solidFill>
                        <a:schemeClr val="tx1"/>
                      </a:solidFill>
                      <a:latin typeface="+mn-lt"/>
                      <a:ea typeface="+mn-ea"/>
                      <a:cs typeface="Arial"/>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7A8-4D46-9F5E-66195FCAD6F4}"/>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H$1</c:f>
              <c:numCache>
                <c:formatCode>General</c:formatCode>
                <c:ptCount val="8"/>
                <c:pt idx="0">
                  <c:v>49.45388280391204</c:v>
                </c:pt>
                <c:pt idx="1">
                  <c:v>13.20874712587447</c:v>
                </c:pt>
                <c:pt idx="2">
                  <c:v>5.462494004059316</c:v>
                </c:pt>
                <c:pt idx="3">
                  <c:v>8.382569235307437</c:v>
                </c:pt>
                <c:pt idx="4">
                  <c:v>5.299642889295682</c:v>
                </c:pt>
                <c:pt idx="5">
                  <c:v>5.48065329387263</c:v>
                </c:pt>
                <c:pt idx="6">
                  <c:v>5.739237776327365</c:v>
                </c:pt>
                <c:pt idx="7">
                  <c:v>4.304302779132131</c:v>
                </c:pt>
              </c:numCache>
            </c:numRef>
          </c:val>
          <c:extLst xmlns:c16r2="http://schemas.microsoft.com/office/drawing/2015/06/chart">
            <c:ext xmlns:c16="http://schemas.microsoft.com/office/drawing/2014/chart" uri="{C3380CC4-5D6E-409C-BE32-E72D297353CC}">
              <c16:uniqueId val="{00000008-17A8-4D46-9F5E-66195FCAD6F4}"/>
            </c:ext>
          </c:extLst>
        </c:ser>
        <c:dLbls>
          <c:showLegendKey val="0"/>
          <c:showVal val="0"/>
          <c:showCatName val="0"/>
          <c:showSerName val="0"/>
          <c:showPercent val="0"/>
          <c:showBubbleSize val="0"/>
        </c:dLbls>
        <c:gapWidth val="80"/>
        <c:overlap val="100"/>
        <c:axId val="2134980504"/>
        <c:axId val="2134976968"/>
      </c:barChart>
      <c:catAx>
        <c:axId val="2134980504"/>
        <c:scaling>
          <c:orientation val="maxMin"/>
        </c:scaling>
        <c:delete val="0"/>
        <c:axPos val="l"/>
        <c:majorGridlines>
          <c:spPr>
            <a:ln>
              <a:noFill/>
            </a:ln>
          </c:spPr>
        </c:majorGridlines>
        <c:majorTickMark val="none"/>
        <c:minorTickMark val="none"/>
        <c:tickLblPos val="none"/>
        <c:spPr>
          <a:ln w="9525" algn="ctr">
            <a:solidFill>
              <a:schemeClr val="accent1"/>
            </a:solidFill>
            <a:prstDash val="solid"/>
          </a:ln>
        </c:spPr>
        <c:crossAx val="2134976968"/>
        <c:crosses val="min"/>
        <c:auto val="0"/>
        <c:lblAlgn val="ctr"/>
        <c:lblOffset val="100"/>
        <c:noMultiLvlLbl val="0"/>
      </c:catAx>
      <c:valAx>
        <c:axId val="2134976968"/>
        <c:scaling>
          <c:orientation val="minMax"/>
          <c:max val="49.45388280391204"/>
          <c:min val="0.0"/>
        </c:scaling>
        <c:delete val="1"/>
        <c:axPos val="t"/>
        <c:numFmt formatCode="General" sourceLinked="1"/>
        <c:majorTickMark val="out"/>
        <c:minorTickMark val="none"/>
        <c:tickLblPos val="nextTo"/>
        <c:crossAx val="2134980504"/>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613931523022432"/>
          <c:y val="0.0256536753823384"/>
          <c:w val="0.877213695395514"/>
          <c:h val="0.948692649235323"/>
        </c:manualLayout>
      </c:layout>
      <c:barChart>
        <c:barDir val="bar"/>
        <c:grouping val="stacked"/>
        <c:varyColors val="0"/>
        <c:ser>
          <c:idx val="0"/>
          <c:order val="0"/>
          <c:spPr>
            <a:solidFill>
              <a:schemeClr val="accent1"/>
            </a:solidFill>
            <a:ln>
              <a:noFill/>
            </a:ln>
          </c:spPr>
          <c:invertIfNegative val="0"/>
          <c:val>
            <c:numRef>
              <c:f>Sheet1!$A$1:$H$1</c:f>
              <c:numCache>
                <c:formatCode>General</c:formatCode>
                <c:ptCount val="8"/>
                <c:pt idx="0">
                  <c:v>2.72108981904533E7</c:v>
                </c:pt>
                <c:pt idx="1">
                  <c:v>8.83457810631417E6</c:v>
                </c:pt>
                <c:pt idx="2">
                  <c:v>8.43959151410438E6</c:v>
                </c:pt>
                <c:pt idx="3">
                  <c:v>8.4002758190925E6</c:v>
                </c:pt>
                <c:pt idx="4">
                  <c:v>7.20108229139248E6</c:v>
                </c:pt>
                <c:pt idx="5">
                  <c:v>5.25726765252217E6</c:v>
                </c:pt>
                <c:pt idx="6">
                  <c:v>5.07675257062448E6</c:v>
                </c:pt>
                <c:pt idx="7">
                  <c:v>3.78214392820711E6</c:v>
                </c:pt>
              </c:numCache>
            </c:numRef>
          </c:val>
          <c:extLst xmlns:c16r2="http://schemas.microsoft.com/office/drawing/2015/06/chart">
            <c:ext xmlns:c16="http://schemas.microsoft.com/office/drawing/2014/chart" uri="{C3380CC4-5D6E-409C-BE32-E72D297353CC}">
              <c16:uniqueId val="{00000000-A6C9-4462-A646-F52126A7E3E0}"/>
            </c:ext>
          </c:extLst>
        </c:ser>
        <c:dLbls>
          <c:showLegendKey val="0"/>
          <c:showVal val="0"/>
          <c:showCatName val="0"/>
          <c:showSerName val="0"/>
          <c:showPercent val="0"/>
          <c:showBubbleSize val="0"/>
        </c:dLbls>
        <c:gapWidth val="80"/>
        <c:overlap val="100"/>
        <c:axId val="2134910360"/>
        <c:axId val="2134913832"/>
      </c:barChart>
      <c:catAx>
        <c:axId val="2134910360"/>
        <c:scaling>
          <c:orientation val="maxMin"/>
        </c:scaling>
        <c:delete val="0"/>
        <c:axPos val="l"/>
        <c:majorGridlines>
          <c:spPr>
            <a:ln>
              <a:noFill/>
            </a:ln>
          </c:spPr>
        </c:majorGridlines>
        <c:majorTickMark val="none"/>
        <c:minorTickMark val="none"/>
        <c:tickLblPos val="none"/>
        <c:spPr>
          <a:ln w="9525" algn="ctr">
            <a:solidFill>
              <a:schemeClr val="accent1"/>
            </a:solidFill>
            <a:prstDash val="solid"/>
          </a:ln>
        </c:spPr>
        <c:crossAx val="2134913832"/>
        <c:crosses val="min"/>
        <c:auto val="0"/>
        <c:lblAlgn val="ctr"/>
        <c:lblOffset val="100"/>
        <c:noMultiLvlLbl val="0"/>
      </c:catAx>
      <c:valAx>
        <c:axId val="2134913832"/>
        <c:scaling>
          <c:orientation val="minMax"/>
          <c:max val="2.72108981904533E7"/>
          <c:min val="0.0"/>
        </c:scaling>
        <c:delete val="1"/>
        <c:axPos val="t"/>
        <c:numFmt formatCode="General" sourceLinked="1"/>
        <c:majorTickMark val="out"/>
        <c:minorTickMark val="none"/>
        <c:tickLblPos val="nextTo"/>
        <c:crossAx val="213491036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33333333333333"/>
          <c:y val="0.0256536753823384"/>
          <c:w val="0.893333333333333"/>
          <c:h val="0.948692649235323"/>
        </c:manualLayout>
      </c:layout>
      <c:barChart>
        <c:barDir val="bar"/>
        <c:grouping val="stacked"/>
        <c:varyColors val="0"/>
        <c:ser>
          <c:idx val="0"/>
          <c:order val="0"/>
          <c:spPr>
            <a:solidFill>
              <a:schemeClr val="accent1"/>
            </a:solidFill>
            <a:ln>
              <a:noFill/>
            </a:ln>
          </c:spPr>
          <c:invertIfNegative val="0"/>
          <c:val>
            <c:numRef>
              <c:f>Sheet1!$A$1:$H$1</c:f>
              <c:numCache>
                <c:formatCode>General</c:formatCode>
                <c:ptCount val="8"/>
                <c:pt idx="0">
                  <c:v>9.34073069468418E7</c:v>
                </c:pt>
                <c:pt idx="1">
                  <c:v>3.0326604551843E7</c:v>
                </c:pt>
                <c:pt idx="2">
                  <c:v>2.89707274470081E7</c:v>
                </c:pt>
                <c:pt idx="3">
                  <c:v>2.88357678008363E7</c:v>
                </c:pt>
                <c:pt idx="4">
                  <c:v>2.47192760501214E7</c:v>
                </c:pt>
                <c:pt idx="5">
                  <c:v>1.80467109128036E7</c:v>
                </c:pt>
                <c:pt idx="6">
                  <c:v>1.74270537612706E7</c:v>
                </c:pt>
                <c:pt idx="7">
                  <c:v>1.29830289447454E7</c:v>
                </c:pt>
              </c:numCache>
            </c:numRef>
          </c:val>
          <c:extLst xmlns:c16r2="http://schemas.microsoft.com/office/drawing/2015/06/chart">
            <c:ext xmlns:c16="http://schemas.microsoft.com/office/drawing/2014/chart" uri="{C3380CC4-5D6E-409C-BE32-E72D297353CC}">
              <c16:uniqueId val="{00000000-C5A3-4A0A-A9AC-84FC32A7051A}"/>
            </c:ext>
          </c:extLst>
        </c:ser>
        <c:dLbls>
          <c:showLegendKey val="0"/>
          <c:showVal val="0"/>
          <c:showCatName val="0"/>
          <c:showSerName val="0"/>
          <c:showPercent val="0"/>
          <c:showBubbleSize val="0"/>
        </c:dLbls>
        <c:gapWidth val="80"/>
        <c:overlap val="100"/>
        <c:axId val="2137215720"/>
        <c:axId val="2137219176"/>
      </c:barChart>
      <c:catAx>
        <c:axId val="2137215720"/>
        <c:scaling>
          <c:orientation val="maxMin"/>
        </c:scaling>
        <c:delete val="0"/>
        <c:axPos val="l"/>
        <c:majorGridlines>
          <c:spPr>
            <a:ln>
              <a:noFill/>
            </a:ln>
          </c:spPr>
        </c:majorGridlines>
        <c:majorTickMark val="none"/>
        <c:minorTickMark val="none"/>
        <c:tickLblPos val="none"/>
        <c:spPr>
          <a:ln w="9525" algn="ctr">
            <a:solidFill>
              <a:schemeClr val="accent1"/>
            </a:solidFill>
            <a:prstDash val="solid"/>
          </a:ln>
        </c:spPr>
        <c:crossAx val="2137219176"/>
        <c:crosses val="min"/>
        <c:auto val="0"/>
        <c:lblAlgn val="ctr"/>
        <c:lblOffset val="100"/>
        <c:noMultiLvlLbl val="0"/>
      </c:catAx>
      <c:valAx>
        <c:axId val="2137219176"/>
        <c:scaling>
          <c:orientation val="minMax"/>
          <c:max val="9.34073069468418E7"/>
          <c:min val="0.0"/>
        </c:scaling>
        <c:delete val="1"/>
        <c:axPos val="t"/>
        <c:numFmt formatCode="General" sourceLinked="1"/>
        <c:majorTickMark val="out"/>
        <c:minorTickMark val="none"/>
        <c:tickLblPos val="nextTo"/>
        <c:crossAx val="2137215720"/>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11016225448335"/>
          <c:y val="0.031534263189812"/>
          <c:w val="0.977796754910333"/>
          <c:h val="0.936931473620376"/>
        </c:manualLayout>
      </c:layout>
      <c:barChart>
        <c:barDir val="col"/>
        <c:grouping val="stacked"/>
        <c:varyColors val="0"/>
        <c:ser>
          <c:idx val="0"/>
          <c:order val="0"/>
          <c:spPr>
            <a:solidFill>
              <a:schemeClr val="accent1"/>
            </a:solidFill>
            <a:ln>
              <a:noFill/>
            </a:ln>
          </c:spPr>
          <c:invertIfNegative val="0"/>
          <c:val>
            <c:numRef>
              <c:f>Sheet1!$A$1:$Z$1</c:f>
              <c:numCache>
                <c:formatCode>General</c:formatCode>
                <c:ptCount val="26"/>
                <c:pt idx="0">
                  <c:v>11500.0</c:v>
                </c:pt>
                <c:pt idx="1">
                  <c:v>11500.0</c:v>
                </c:pt>
                <c:pt idx="2">
                  <c:v>39000.0</c:v>
                </c:pt>
                <c:pt idx="3">
                  <c:v>39000.0</c:v>
                </c:pt>
                <c:pt idx="4">
                  <c:v>58000.0</c:v>
                </c:pt>
                <c:pt idx="5">
                  <c:v>58000.0</c:v>
                </c:pt>
                <c:pt idx="6">
                  <c:v>114000.0</c:v>
                </c:pt>
                <c:pt idx="7">
                  <c:v>114000.0</c:v>
                </c:pt>
                <c:pt idx="8">
                  <c:v>114000.0</c:v>
                </c:pt>
                <c:pt idx="9">
                  <c:v>114000.0</c:v>
                </c:pt>
                <c:pt idx="10">
                  <c:v>114000.0</c:v>
                </c:pt>
                <c:pt idx="11">
                  <c:v>114000.0</c:v>
                </c:pt>
                <c:pt idx="12">
                  <c:v>120500.0</c:v>
                </c:pt>
                <c:pt idx="13">
                  <c:v>120500.0</c:v>
                </c:pt>
                <c:pt idx="14">
                  <c:v>120500.0</c:v>
                </c:pt>
                <c:pt idx="15">
                  <c:v>120500.0</c:v>
                </c:pt>
                <c:pt idx="16">
                  <c:v>120500.0</c:v>
                </c:pt>
                <c:pt idx="17">
                  <c:v>120500.0</c:v>
                </c:pt>
                <c:pt idx="18">
                  <c:v>120500.0</c:v>
                </c:pt>
                <c:pt idx="19">
                  <c:v>120500.0</c:v>
                </c:pt>
                <c:pt idx="20">
                  <c:v>206500.0</c:v>
                </c:pt>
                <c:pt idx="21">
                  <c:v>206500.0</c:v>
                </c:pt>
                <c:pt idx="22">
                  <c:v>206500.0</c:v>
                </c:pt>
                <c:pt idx="23">
                  <c:v>223000.0</c:v>
                </c:pt>
                <c:pt idx="24">
                  <c:v>276200.0</c:v>
                </c:pt>
                <c:pt idx="25">
                  <c:v>299800.0</c:v>
                </c:pt>
              </c:numCache>
            </c:numRef>
          </c:val>
          <c:extLst xmlns:c16r2="http://schemas.microsoft.com/office/drawing/2015/06/chart">
            <c:ext xmlns:c16="http://schemas.microsoft.com/office/drawing/2014/chart" uri="{C3380CC4-5D6E-409C-BE32-E72D297353CC}">
              <c16:uniqueId val="{00000000-4CC9-4865-9FE4-A79EDEA93039}"/>
            </c:ext>
          </c:extLst>
        </c:ser>
        <c:dLbls>
          <c:showLegendKey val="0"/>
          <c:showVal val="0"/>
          <c:showCatName val="0"/>
          <c:showSerName val="0"/>
          <c:showPercent val="0"/>
          <c:showBubbleSize val="0"/>
        </c:dLbls>
        <c:gapWidth val="87"/>
        <c:overlap val="100"/>
        <c:axId val="2137147560"/>
        <c:axId val="2137137704"/>
      </c:barChart>
      <c:catAx>
        <c:axId val="2137147560"/>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37137704"/>
        <c:crosses val="min"/>
        <c:auto val="0"/>
        <c:lblAlgn val="ctr"/>
        <c:lblOffset val="100"/>
        <c:noMultiLvlLbl val="0"/>
      </c:catAx>
      <c:valAx>
        <c:axId val="2137137704"/>
        <c:scaling>
          <c:orientation val="minMax"/>
          <c:max val="300000.0"/>
          <c:min val="0.0"/>
        </c:scaling>
        <c:delete val="0"/>
        <c:axPos val="l"/>
        <c:majorGridlines>
          <c:spPr>
            <a:ln>
              <a:noFill/>
            </a:ln>
          </c:spPr>
        </c:majorGridlines>
        <c:numFmt formatCode="General" sourceLinked="1"/>
        <c:majorTickMark val="out"/>
        <c:minorTickMark val="none"/>
        <c:tickLblPos val="none"/>
        <c:spPr>
          <a:ln w="9525" algn="ctr">
            <a:solidFill>
              <a:schemeClr val="accent1"/>
            </a:solidFill>
            <a:prstDash val="solid"/>
          </a:ln>
        </c:spPr>
        <c:txPr>
          <a:bodyPr wrap="none"/>
          <a:lstStyle/>
          <a:p>
            <a:pPr>
              <a:defRPr sz="1400">
                <a:latin typeface="+mn-lt"/>
                <a:ea typeface="+mn-ea"/>
                <a:cs typeface="+mn-cs"/>
                <a:sym typeface="+mn-lt"/>
              </a:defRPr>
            </a:pPr>
            <a:endParaRPr lang="de-DE"/>
          </a:p>
        </c:txPr>
        <c:crossAx val="2137147560"/>
        <c:crosses val="min"/>
        <c:crossBetween val="between"/>
        <c:majorUnit val="5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899444988573"/>
          <c:y val="0.0473130841121495"/>
          <c:w val="0.867123734900424"/>
          <c:h val="0.905373831775701"/>
        </c:manualLayout>
      </c:layout>
      <c:barChart>
        <c:barDir val="col"/>
        <c:grouping val="stacked"/>
        <c:varyColors val="0"/>
        <c:ser>
          <c:idx val="0"/>
          <c:order val="0"/>
          <c:spPr>
            <a:solidFill>
              <a:schemeClr val="accent1"/>
            </a:solidFill>
            <a:ln>
              <a:noFill/>
            </a:ln>
          </c:spPr>
          <c:invertIfNegative val="0"/>
          <c:val>
            <c:numRef>
              <c:f>Sheet1!$A$1:$Q$1</c:f>
              <c:numCache>
                <c:formatCode>General</c:formatCode>
                <c:ptCount val="17"/>
                <c:pt idx="0">
                  <c:v>246.7</c:v>
                </c:pt>
                <c:pt idx="1">
                  <c:v>245.3</c:v>
                </c:pt>
                <c:pt idx="2">
                  <c:v>250.9</c:v>
                </c:pt>
                <c:pt idx="3">
                  <c:v>251.5</c:v>
                </c:pt>
                <c:pt idx="4">
                  <c:v>256.7</c:v>
                </c:pt>
                <c:pt idx="5">
                  <c:v>244.5</c:v>
                </c:pt>
                <c:pt idx="6">
                  <c:v>258.1</c:v>
                </c:pt>
                <c:pt idx="7">
                  <c:v>262.1</c:v>
                </c:pt>
                <c:pt idx="8">
                  <c:v>261.3999999999999</c:v>
                </c:pt>
                <c:pt idx="9">
                  <c:v>289.8</c:v>
                </c:pt>
                <c:pt idx="10">
                  <c:v>280.3999999999999</c:v>
                </c:pt>
                <c:pt idx="11">
                  <c:v>331.9</c:v>
                </c:pt>
                <c:pt idx="12">
                  <c:v>321.2</c:v>
                </c:pt>
                <c:pt idx="13">
                  <c:v>330.9</c:v>
                </c:pt>
                <c:pt idx="14">
                  <c:v>316.1</c:v>
                </c:pt>
                <c:pt idx="15">
                  <c:v>331.0</c:v>
                </c:pt>
                <c:pt idx="16">
                  <c:v>324.0</c:v>
                </c:pt>
              </c:numCache>
            </c:numRef>
          </c:val>
          <c:extLst xmlns:c16r2="http://schemas.microsoft.com/office/drawing/2015/06/chart">
            <c:ext xmlns:c16="http://schemas.microsoft.com/office/drawing/2014/chart" uri="{C3380CC4-5D6E-409C-BE32-E72D297353CC}">
              <c16:uniqueId val="{00000000-0F5B-4135-84F6-D56C019A1E2F}"/>
            </c:ext>
          </c:extLst>
        </c:ser>
        <c:dLbls>
          <c:showLegendKey val="0"/>
          <c:showVal val="0"/>
          <c:showCatName val="0"/>
          <c:showSerName val="0"/>
          <c:showPercent val="0"/>
          <c:showBubbleSize val="0"/>
        </c:dLbls>
        <c:gapWidth val="87"/>
        <c:overlap val="100"/>
        <c:axId val="2112244408"/>
        <c:axId val="2112247864"/>
      </c:barChart>
      <c:catAx>
        <c:axId val="2112244408"/>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12247864"/>
        <c:crosses val="min"/>
        <c:auto val="0"/>
        <c:lblAlgn val="ctr"/>
        <c:lblOffset val="100"/>
        <c:noMultiLvlLbl val="0"/>
      </c:catAx>
      <c:valAx>
        <c:axId val="2112247864"/>
        <c:scaling>
          <c:orientation val="minMax"/>
          <c:max val="350.0"/>
          <c:min val="100.0"/>
        </c:scaling>
        <c:delete val="0"/>
        <c:axPos val="l"/>
        <c:majorGridlines>
          <c:spPr>
            <a:ln>
              <a:noFill/>
            </a:ln>
          </c:spPr>
        </c:majorGridlines>
        <c:numFmt formatCode="#,##0;&quot;-&quot;#,##0" sourceLinked="0"/>
        <c:majorTickMark val="out"/>
        <c:minorTickMark val="none"/>
        <c:tickLblPos val="nextTo"/>
        <c:spPr>
          <a:ln w="9525" algn="ctr">
            <a:solidFill>
              <a:schemeClr val="accent1"/>
            </a:solidFill>
            <a:prstDash val="solid"/>
          </a:ln>
        </c:spPr>
        <c:txPr>
          <a:bodyPr wrap="none"/>
          <a:lstStyle/>
          <a:p>
            <a:pPr>
              <a:defRPr sz="1400">
                <a:solidFill>
                  <a:schemeClr val="tx1"/>
                </a:solidFill>
                <a:latin typeface="+mn-lt"/>
                <a:ea typeface="+mn-ea"/>
                <a:cs typeface="+mn-cs"/>
                <a:sym typeface="+mn-lt"/>
              </a:defRPr>
            </a:pPr>
            <a:endParaRPr lang="de-DE"/>
          </a:p>
        </c:txPr>
        <c:crossAx val="2112244408"/>
        <c:crosses val="min"/>
        <c:crossBetween val="between"/>
        <c:majorUnit val="5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056369785795"/>
          <c:y val="0.0407035175879397"/>
          <c:w val="0.86217587373168"/>
          <c:h val="0.84070351758794"/>
        </c:manualLayout>
      </c:layout>
      <c:scatterChart>
        <c:scatterStyle val="lineMarker"/>
        <c:varyColors val="0"/>
        <c:ser>
          <c:idx val="0"/>
          <c:order val="0"/>
          <c:spPr>
            <a:ln>
              <a:noFill/>
            </a:ln>
          </c:spPr>
          <c:marker>
            <c:symbol val="circle"/>
            <c:size val="8"/>
            <c:spPr>
              <a:solidFill>
                <a:schemeClr val="accent1"/>
              </a:solidFill>
              <a:ln w="9525" algn="ctr">
                <a:solidFill>
                  <a:schemeClr val="accent1"/>
                </a:solidFill>
                <a:prstDash val="solid"/>
              </a:ln>
            </c:spPr>
          </c:marker>
          <c:xVal>
            <c:numRef>
              <c:f>Sheet1!$A$1:$A$5</c:f>
              <c:numCache>
                <c:formatCode>General</c:formatCode>
                <c:ptCount val="5"/>
                <c:pt idx="0">
                  <c:v>5.559191866300127</c:v>
                </c:pt>
                <c:pt idx="1">
                  <c:v>8.47225577836837</c:v>
                </c:pt>
                <c:pt idx="2">
                  <c:v>5.438114701749904</c:v>
                </c:pt>
                <c:pt idx="3">
                  <c:v>3.817102233711678</c:v>
                </c:pt>
                <c:pt idx="4">
                  <c:v>4.704937059191143</c:v>
                </c:pt>
              </c:numCache>
            </c:numRef>
          </c:xVal>
          <c:yVal>
            <c:numRef>
              <c:f>Sheet1!$B$1:$B$5</c:f>
              <c:numCache>
                <c:formatCode>General</c:formatCode>
                <c:ptCount val="5"/>
                <c:pt idx="0">
                  <c:v>258.3901098901098</c:v>
                </c:pt>
                <c:pt idx="1">
                  <c:v>285.8526615969583</c:v>
                </c:pt>
                <c:pt idx="2">
                  <c:v>269.5675278919554</c:v>
                </c:pt>
                <c:pt idx="3">
                  <c:v>188.1661375661376</c:v>
                </c:pt>
                <c:pt idx="4">
                  <c:v>223.5555028462998</c:v>
                </c:pt>
              </c:numCache>
            </c:numRef>
          </c:yVal>
          <c:smooth val="0"/>
          <c:extLst xmlns:c16r2="http://schemas.microsoft.com/office/drawing/2015/06/chart">
            <c:ext xmlns:c16="http://schemas.microsoft.com/office/drawing/2014/chart" uri="{C3380CC4-5D6E-409C-BE32-E72D297353CC}">
              <c16:uniqueId val="{00000000-F528-493E-9304-074CAE79E6F6}"/>
            </c:ext>
          </c:extLst>
        </c:ser>
        <c:dLbls>
          <c:showLegendKey val="0"/>
          <c:showVal val="0"/>
          <c:showCatName val="0"/>
          <c:showSerName val="0"/>
          <c:showPercent val="0"/>
          <c:showBubbleSize val="0"/>
        </c:dLbls>
        <c:axId val="2110492344"/>
        <c:axId val="2110497784"/>
      </c:scatterChart>
      <c:valAx>
        <c:axId val="2110492344"/>
        <c:scaling>
          <c:orientation val="minMax"/>
          <c:max val="9.0"/>
          <c:min val="3.0"/>
        </c:scaling>
        <c:delete val="0"/>
        <c:axPos val="b"/>
        <c:majorGridlines>
          <c:spPr>
            <a:ln>
              <a:noFill/>
            </a:ln>
          </c:spPr>
        </c:majorGridlines>
        <c:numFmt formatCode="0;&quot;-&quot;0" sourceLinked="0"/>
        <c:majorTickMark val="out"/>
        <c:minorTickMark val="none"/>
        <c:tickLblPos val="nextTo"/>
        <c:spPr>
          <a:ln w="9525" algn="ctr">
            <a:solidFill>
              <a:schemeClr val="accent1"/>
            </a:solidFill>
            <a:prstDash val="solid"/>
          </a:ln>
        </c:spPr>
        <c:txPr>
          <a:bodyPr wrap="none"/>
          <a:lstStyle/>
          <a:p>
            <a:pPr>
              <a:defRPr sz="1400">
                <a:solidFill>
                  <a:schemeClr val="tx1"/>
                </a:solidFill>
                <a:latin typeface="+mn-lt"/>
                <a:ea typeface="+mn-ea"/>
                <a:cs typeface="+mn-cs"/>
                <a:sym typeface="+mn-lt"/>
              </a:defRPr>
            </a:pPr>
            <a:endParaRPr lang="de-DE"/>
          </a:p>
        </c:txPr>
        <c:crossAx val="2110497784"/>
        <c:crosses val="min"/>
        <c:crossBetween val="midCat"/>
        <c:majorUnit val="1.0"/>
      </c:valAx>
      <c:valAx>
        <c:axId val="2110497784"/>
        <c:scaling>
          <c:orientation val="minMax"/>
          <c:max val="300.0"/>
          <c:min val="150.0"/>
        </c:scaling>
        <c:delete val="0"/>
        <c:axPos val="l"/>
        <c:majorGridlines>
          <c:spPr>
            <a:ln>
              <a:noFill/>
            </a:ln>
          </c:spPr>
        </c:majorGridlines>
        <c:numFmt formatCode="0;&quot;-&quot;0" sourceLinked="0"/>
        <c:majorTickMark val="out"/>
        <c:minorTickMark val="none"/>
        <c:tickLblPos val="nextTo"/>
        <c:spPr>
          <a:ln w="9525" algn="ctr">
            <a:solidFill>
              <a:schemeClr val="accent1"/>
            </a:solidFill>
            <a:prstDash val="solid"/>
          </a:ln>
        </c:spPr>
        <c:txPr>
          <a:bodyPr wrap="none"/>
          <a:lstStyle/>
          <a:p>
            <a:pPr>
              <a:defRPr sz="1400">
                <a:solidFill>
                  <a:schemeClr val="tx1"/>
                </a:solidFill>
                <a:latin typeface="+mn-lt"/>
                <a:ea typeface="+mn-ea"/>
                <a:cs typeface="+mn-cs"/>
                <a:sym typeface="+mn-lt"/>
              </a:defRPr>
            </a:pPr>
            <a:endParaRPr lang="de-DE"/>
          </a:p>
        </c:txPr>
        <c:crossAx val="2110492344"/>
        <c:crosses val="min"/>
        <c:crossBetween val="midCat"/>
        <c:majorUnit val="25.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9374511336982"/>
          <c:y val="0.0473130841121495"/>
          <c:w val="0.780297107114933"/>
          <c:h val="0.905373831775701"/>
        </c:manualLayout>
      </c:layout>
      <c:barChart>
        <c:barDir val="col"/>
        <c:grouping val="stacked"/>
        <c:varyColors val="0"/>
        <c:ser>
          <c:idx val="0"/>
          <c:order val="0"/>
          <c:spPr>
            <a:solidFill>
              <a:schemeClr val="accent1"/>
            </a:solidFill>
            <a:ln>
              <a:noFill/>
            </a:ln>
          </c:spPr>
          <c:invertIfNegative val="0"/>
          <c:val>
            <c:numRef>
              <c:f>Sheet1!$A$1:$L$1</c:f>
              <c:numCache>
                <c:formatCode>General</c:formatCode>
                <c:ptCount val="12"/>
                <c:pt idx="0">
                  <c:v>15426.9</c:v>
                </c:pt>
                <c:pt idx="1">
                  <c:v>15991.3</c:v>
                </c:pt>
                <c:pt idx="2">
                  <c:v>16934.2</c:v>
                </c:pt>
                <c:pt idx="3">
                  <c:v>17177.09999999999</c:v>
                </c:pt>
                <c:pt idx="4">
                  <c:v>17444.4</c:v>
                </c:pt>
                <c:pt idx="5">
                  <c:v>18181.09999999999</c:v>
                </c:pt>
                <c:pt idx="6">
                  <c:v>18390.3</c:v>
                </c:pt>
                <c:pt idx="7">
                  <c:v>18859.09999999999</c:v>
                </c:pt>
                <c:pt idx="8">
                  <c:v>19749.3</c:v>
                </c:pt>
                <c:pt idx="9">
                  <c:v>19765.8</c:v>
                </c:pt>
                <c:pt idx="10">
                  <c:v>19797.3</c:v>
                </c:pt>
                <c:pt idx="11">
                  <c:v>20234.8</c:v>
                </c:pt>
              </c:numCache>
            </c:numRef>
          </c:val>
          <c:extLst xmlns:c16r2="http://schemas.microsoft.com/office/drawing/2015/06/chart">
            <c:ext xmlns:c16="http://schemas.microsoft.com/office/drawing/2014/chart" uri="{C3380CC4-5D6E-409C-BE32-E72D297353CC}">
              <c16:uniqueId val="{00000000-D69E-4A34-A715-BBB1CFEA4459}"/>
            </c:ext>
          </c:extLst>
        </c:ser>
        <c:dLbls>
          <c:showLegendKey val="0"/>
          <c:showVal val="0"/>
          <c:showCatName val="0"/>
          <c:showSerName val="0"/>
          <c:showPercent val="0"/>
          <c:showBubbleSize val="0"/>
        </c:dLbls>
        <c:gapWidth val="87"/>
        <c:overlap val="100"/>
        <c:axId val="2112795992"/>
        <c:axId val="2112799512"/>
      </c:barChart>
      <c:catAx>
        <c:axId val="2112795992"/>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12799512"/>
        <c:crosses val="min"/>
        <c:auto val="0"/>
        <c:lblAlgn val="ctr"/>
        <c:lblOffset val="100"/>
        <c:noMultiLvlLbl val="0"/>
      </c:catAx>
      <c:valAx>
        <c:axId val="2112799512"/>
        <c:scaling>
          <c:orientation val="minMax"/>
          <c:max val="25000.0"/>
          <c:min val="0.0"/>
        </c:scaling>
        <c:delete val="0"/>
        <c:axPos val="l"/>
        <c:majorGridlines>
          <c:spPr>
            <a:ln>
              <a:noFill/>
            </a:ln>
          </c:spPr>
        </c:majorGridlines>
        <c:numFmt formatCode="#,##0;&quot;-&quot;#,##0" sourceLinked="0"/>
        <c:majorTickMark val="out"/>
        <c:minorTickMark val="none"/>
        <c:tickLblPos val="nextTo"/>
        <c:spPr>
          <a:ln w="9525" algn="ctr">
            <a:solidFill>
              <a:schemeClr val="accent1"/>
            </a:solidFill>
            <a:prstDash val="solid"/>
          </a:ln>
        </c:spPr>
        <c:txPr>
          <a:bodyPr wrap="none"/>
          <a:lstStyle/>
          <a:p>
            <a:pPr>
              <a:defRPr sz="1400">
                <a:solidFill>
                  <a:schemeClr val="tx1"/>
                </a:solidFill>
                <a:latin typeface="+mn-lt"/>
                <a:ea typeface="+mn-ea"/>
                <a:cs typeface="+mn-cs"/>
                <a:sym typeface="+mn-lt"/>
              </a:defRPr>
            </a:pPr>
            <a:endParaRPr lang="de-DE"/>
          </a:p>
        </c:txPr>
        <c:crossAx val="2112795992"/>
        <c:crosses val="min"/>
        <c:crossBetween val="between"/>
        <c:majorUnit val="50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153138744502"/>
          <c:y val="0.0446527012127894"/>
          <c:w val="0.862055177928829"/>
          <c:h val="0.910694597574421"/>
        </c:manualLayout>
      </c:layout>
      <c:barChart>
        <c:barDir val="col"/>
        <c:grouping val="stacked"/>
        <c:varyColors val="0"/>
        <c:ser>
          <c:idx val="0"/>
          <c:order val="0"/>
          <c:spPr>
            <a:solidFill>
              <a:schemeClr val="accent1"/>
            </a:solidFill>
            <a:ln>
              <a:noFill/>
            </a:ln>
          </c:spPr>
          <c:invertIfNegative val="0"/>
          <c:dLbls>
            <c:dLbl>
              <c:idx val="0"/>
              <c:layout>
                <c:manualLayout>
                  <c:x val="0.0"/>
                  <c:y val="-0.45148842337376"/>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4B-4F97-953B-1EED3C878CF0}"/>
                </c:ext>
              </c:extLst>
            </c:dLbl>
            <c:dLbl>
              <c:idx val="1"/>
              <c:layout>
                <c:manualLayout>
                  <c:x val="0.0"/>
                  <c:y val="-0.169239250275634"/>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4B-4F97-953B-1EED3C878CF0}"/>
                </c:ext>
              </c:extLst>
            </c:dLbl>
            <c:dLbl>
              <c:idx val="2"/>
              <c:layout>
                <c:manualLayout>
                  <c:x val="0.0"/>
                  <c:y val="-0.256339581036384"/>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4B-4F97-953B-1EED3C878CF0}"/>
                </c:ext>
              </c:extLst>
            </c:dLbl>
            <c:dLbl>
              <c:idx val="3"/>
              <c:layout>
                <c:manualLayout>
                  <c:x val="0.0"/>
                  <c:y val="-0.343991179713341"/>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4B-4F97-953B-1EED3C878CF0}"/>
                </c:ext>
              </c:extLst>
            </c:dLbl>
            <c:dLbl>
              <c:idx val="4"/>
              <c:layout>
                <c:manualLayout>
                  <c:x val="0.0"/>
                  <c:y val="-0.0854465270121279"/>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14B-4F97-953B-1EED3C878CF0}"/>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31.1656910980171</c:v>
                </c:pt>
                <c:pt idx="1">
                  <c:v>9.501064545047066</c:v>
                </c:pt>
                <c:pt idx="2">
                  <c:v>16.15935958298427</c:v>
                </c:pt>
                <c:pt idx="3">
                  <c:v>22.89915966386555</c:v>
                </c:pt>
                <c:pt idx="4">
                  <c:v>3.074538173362606</c:v>
                </c:pt>
              </c:numCache>
            </c:numRef>
          </c:val>
          <c:extLst xmlns:c16r2="http://schemas.microsoft.com/office/drawing/2015/06/chart">
            <c:ext xmlns:c16="http://schemas.microsoft.com/office/drawing/2014/chart" uri="{C3380CC4-5D6E-409C-BE32-E72D297353CC}">
              <c16:uniqueId val="{00000005-B14B-4F97-953B-1EED3C878CF0}"/>
            </c:ext>
          </c:extLst>
        </c:ser>
        <c:dLbls>
          <c:showLegendKey val="0"/>
          <c:showVal val="0"/>
          <c:showCatName val="0"/>
          <c:showSerName val="0"/>
          <c:showPercent val="0"/>
          <c:showBubbleSize val="0"/>
        </c:dLbls>
        <c:gapWidth val="80"/>
        <c:overlap val="100"/>
        <c:axId val="2111913464"/>
        <c:axId val="2111909864"/>
      </c:barChart>
      <c:catAx>
        <c:axId val="2111913464"/>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11909864"/>
        <c:crosses val="min"/>
        <c:auto val="0"/>
        <c:lblAlgn val="ctr"/>
        <c:lblOffset val="100"/>
        <c:noMultiLvlLbl val="0"/>
      </c:catAx>
      <c:valAx>
        <c:axId val="2111909864"/>
        <c:scaling>
          <c:orientation val="minMax"/>
          <c:max val="35.0"/>
          <c:min val="0.0"/>
        </c:scaling>
        <c:delete val="0"/>
        <c:axPos val="l"/>
        <c:majorGridlines>
          <c:spPr>
            <a:ln>
              <a:noFill/>
            </a:ln>
          </c:spPr>
        </c:majorGridlines>
        <c:numFmt formatCode="#,##0;&quot;-&quot;#,##0" sourceLinked="0"/>
        <c:majorTickMark val="out"/>
        <c:minorTickMark val="none"/>
        <c:tickLblPos val="nextTo"/>
        <c:spPr>
          <a:ln w="9525" algn="ctr">
            <a:solidFill>
              <a:schemeClr val="accent1"/>
            </a:solidFill>
            <a:prstDash val="solid"/>
          </a:ln>
        </c:spPr>
        <c:txPr>
          <a:bodyPr wrap="none"/>
          <a:lstStyle/>
          <a:p>
            <a:pPr>
              <a:defRPr sz="1400">
                <a:solidFill>
                  <a:schemeClr val="tx1"/>
                </a:solidFill>
                <a:latin typeface="+mn-lt"/>
                <a:ea typeface="+mn-ea"/>
                <a:cs typeface="+mn-cs"/>
                <a:sym typeface="+mn-lt"/>
              </a:defRPr>
            </a:pPr>
            <a:endParaRPr lang="de-DE"/>
          </a:p>
        </c:txPr>
        <c:crossAx val="2111913464"/>
        <c:crosses val="min"/>
        <c:crossBetween val="between"/>
        <c:majorUnit val="5.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75616345829112"/>
          <c:y val="0.031534263189812"/>
          <c:w val="0.964876730834178"/>
          <c:h val="0.936931473620376"/>
        </c:manualLayout>
      </c:layout>
      <c:barChart>
        <c:barDir val="col"/>
        <c:grouping val="stacked"/>
        <c:varyColors val="0"/>
        <c:ser>
          <c:idx val="0"/>
          <c:order val="0"/>
          <c:spPr>
            <a:solidFill>
              <a:schemeClr val="accent1"/>
            </a:solidFill>
            <a:ln>
              <a:noFill/>
            </a:ln>
          </c:spPr>
          <c:invertIfNegative val="0"/>
          <c:val>
            <c:numRef>
              <c:f>Sheet1!$A$1:$Z$1</c:f>
              <c:numCache>
                <c:formatCode>General</c:formatCode>
                <c:ptCount val="26"/>
                <c:pt idx="0">
                  <c:v>11500.0</c:v>
                </c:pt>
                <c:pt idx="1">
                  <c:v>11500.0</c:v>
                </c:pt>
                <c:pt idx="2">
                  <c:v>39000.0</c:v>
                </c:pt>
                <c:pt idx="3">
                  <c:v>39000.0</c:v>
                </c:pt>
                <c:pt idx="4">
                  <c:v>58000.0</c:v>
                </c:pt>
                <c:pt idx="5">
                  <c:v>58000.0</c:v>
                </c:pt>
                <c:pt idx="6">
                  <c:v>114000.0</c:v>
                </c:pt>
                <c:pt idx="7">
                  <c:v>114000.0</c:v>
                </c:pt>
                <c:pt idx="8">
                  <c:v>114000.0</c:v>
                </c:pt>
                <c:pt idx="9">
                  <c:v>114000.0</c:v>
                </c:pt>
                <c:pt idx="10">
                  <c:v>114000.0</c:v>
                </c:pt>
                <c:pt idx="11">
                  <c:v>114000.0</c:v>
                </c:pt>
                <c:pt idx="12">
                  <c:v>120500.0</c:v>
                </c:pt>
                <c:pt idx="13">
                  <c:v>120500.0</c:v>
                </c:pt>
                <c:pt idx="14">
                  <c:v>120500.0</c:v>
                </c:pt>
                <c:pt idx="15">
                  <c:v>120500.0</c:v>
                </c:pt>
                <c:pt idx="16">
                  <c:v>120500.0</c:v>
                </c:pt>
                <c:pt idx="17">
                  <c:v>120500.0</c:v>
                </c:pt>
                <c:pt idx="18">
                  <c:v>120500.0</c:v>
                </c:pt>
                <c:pt idx="19">
                  <c:v>120500.0</c:v>
                </c:pt>
                <c:pt idx="20">
                  <c:v>206500.0</c:v>
                </c:pt>
                <c:pt idx="21">
                  <c:v>206500.0</c:v>
                </c:pt>
                <c:pt idx="22">
                  <c:v>206500.0</c:v>
                </c:pt>
                <c:pt idx="23">
                  <c:v>223000.0</c:v>
                </c:pt>
                <c:pt idx="24">
                  <c:v>276200.0</c:v>
                </c:pt>
                <c:pt idx="25">
                  <c:v>299800.0</c:v>
                </c:pt>
              </c:numCache>
            </c:numRef>
          </c:val>
          <c:extLst xmlns:c16r2="http://schemas.microsoft.com/office/drawing/2015/06/chart">
            <c:ext xmlns:c16="http://schemas.microsoft.com/office/drawing/2014/chart" uri="{C3380CC4-5D6E-409C-BE32-E72D297353CC}">
              <c16:uniqueId val="{00000000-0DC8-4DAA-B234-9AABCF1A1122}"/>
            </c:ext>
          </c:extLst>
        </c:ser>
        <c:dLbls>
          <c:showLegendKey val="0"/>
          <c:showVal val="0"/>
          <c:showCatName val="0"/>
          <c:showSerName val="0"/>
          <c:showPercent val="0"/>
          <c:showBubbleSize val="0"/>
        </c:dLbls>
        <c:gapWidth val="87"/>
        <c:overlap val="100"/>
        <c:axId val="2113112952"/>
        <c:axId val="2113116456"/>
      </c:barChart>
      <c:catAx>
        <c:axId val="2113112952"/>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13116456"/>
        <c:crosses val="min"/>
        <c:auto val="0"/>
        <c:lblAlgn val="ctr"/>
        <c:lblOffset val="100"/>
        <c:noMultiLvlLbl val="0"/>
      </c:catAx>
      <c:valAx>
        <c:axId val="2113116456"/>
        <c:scaling>
          <c:orientation val="minMax"/>
          <c:max val="300000.0"/>
          <c:min val="0.0"/>
        </c:scaling>
        <c:delete val="0"/>
        <c:axPos val="l"/>
        <c:majorGridlines>
          <c:spPr>
            <a:ln>
              <a:noFill/>
            </a:ln>
          </c:spPr>
        </c:majorGridlines>
        <c:numFmt formatCode="General" sourceLinked="1"/>
        <c:majorTickMark val="out"/>
        <c:minorTickMark val="none"/>
        <c:tickLblPos val="none"/>
        <c:spPr>
          <a:ln w="9525" algn="ctr">
            <a:solidFill>
              <a:schemeClr val="accent1"/>
            </a:solidFill>
            <a:prstDash val="solid"/>
          </a:ln>
        </c:spPr>
        <c:txPr>
          <a:bodyPr wrap="none"/>
          <a:lstStyle/>
          <a:p>
            <a:pPr>
              <a:defRPr sz="1400">
                <a:solidFill>
                  <a:schemeClr val="tx1"/>
                </a:solidFill>
                <a:latin typeface="+mn-lt"/>
                <a:ea typeface="+mn-ea"/>
                <a:cs typeface="+mn-cs"/>
                <a:sym typeface="+mn-lt"/>
              </a:defRPr>
            </a:pPr>
            <a:endParaRPr lang="de-DE"/>
          </a:p>
        </c:txPr>
        <c:crossAx val="2113112952"/>
        <c:crosses val="min"/>
        <c:crossBetween val="between"/>
        <c:majorUnit val="500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75616345829112"/>
          <c:y val="0.031534263189812"/>
          <c:w val="0.964876730834178"/>
          <c:h val="0.936931473620376"/>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6.53E7</c:v>
                </c:pt>
                <c:pt idx="1">
                  <c:v>6.77E7</c:v>
                </c:pt>
                <c:pt idx="2">
                  <c:v>6.67E7</c:v>
                </c:pt>
                <c:pt idx="3">
                  <c:v>6.93E7</c:v>
                </c:pt>
                <c:pt idx="4">
                  <c:v>9.55E7</c:v>
                </c:pt>
                <c:pt idx="5">
                  <c:v>1.023E8</c:v>
                </c:pt>
                <c:pt idx="6">
                  <c:v>1.021E8</c:v>
                </c:pt>
                <c:pt idx="7">
                  <c:v>1.106E8</c:v>
                </c:pt>
                <c:pt idx="8">
                  <c:v>1.10841142E8</c:v>
                </c:pt>
                <c:pt idx="9">
                  <c:v>1.1574E8</c:v>
                </c:pt>
                <c:pt idx="10">
                  <c:v>1.202E8</c:v>
                </c:pt>
              </c:numCache>
            </c:numRef>
          </c:val>
          <c:extLst xmlns:c16r2="http://schemas.microsoft.com/office/drawing/2015/06/chart">
            <c:ext xmlns:c16="http://schemas.microsoft.com/office/drawing/2014/chart" uri="{C3380CC4-5D6E-409C-BE32-E72D297353CC}">
              <c16:uniqueId val="{00000000-0A13-4B1F-8848-9CFEA65E2234}"/>
            </c:ext>
          </c:extLst>
        </c:ser>
        <c:ser>
          <c:idx val="1"/>
          <c:order val="1"/>
          <c:spPr>
            <a:solidFill>
              <a:srgbClr val="C0C0C0"/>
            </a:solidFill>
            <a:ln>
              <a:noFill/>
            </a:ln>
          </c:spPr>
          <c:invertIfNegative val="0"/>
          <c:val>
            <c:numRef>
              <c:f>Sheet1!$A$2:$K$2</c:f>
              <c:numCache>
                <c:formatCode>General</c:formatCode>
                <c:ptCount val="11"/>
                <c:pt idx="0">
                  <c:v>4.387E7</c:v>
                </c:pt>
                <c:pt idx="1">
                  <c:v>4.36E7</c:v>
                </c:pt>
                <c:pt idx="2">
                  <c:v>4.681E7</c:v>
                </c:pt>
                <c:pt idx="3">
                  <c:v>5.048E7</c:v>
                </c:pt>
                <c:pt idx="4">
                  <c:v>4.861E7</c:v>
                </c:pt>
                <c:pt idx="5">
                  <c:v>7.808E7</c:v>
                </c:pt>
                <c:pt idx="6">
                  <c:v>8.492E7</c:v>
                </c:pt>
                <c:pt idx="7">
                  <c:v>8.57E7</c:v>
                </c:pt>
                <c:pt idx="8">
                  <c:v>7.82E7</c:v>
                </c:pt>
                <c:pt idx="9">
                  <c:v>6.66E7</c:v>
                </c:pt>
                <c:pt idx="10">
                  <c:v>6.64E7</c:v>
                </c:pt>
              </c:numCache>
            </c:numRef>
          </c:val>
          <c:extLst xmlns:c16r2="http://schemas.microsoft.com/office/drawing/2015/06/chart">
            <c:ext xmlns:c16="http://schemas.microsoft.com/office/drawing/2014/chart" uri="{C3380CC4-5D6E-409C-BE32-E72D297353CC}">
              <c16:uniqueId val="{00000001-0A13-4B1F-8848-9CFEA65E2234}"/>
            </c:ext>
          </c:extLst>
        </c:ser>
        <c:dLbls>
          <c:showLegendKey val="0"/>
          <c:showVal val="0"/>
          <c:showCatName val="0"/>
          <c:showSerName val="0"/>
          <c:showPercent val="0"/>
          <c:showBubbleSize val="0"/>
        </c:dLbls>
        <c:gapWidth val="87"/>
        <c:overlap val="100"/>
        <c:axId val="2113712920"/>
        <c:axId val="2113716424"/>
      </c:barChart>
      <c:catAx>
        <c:axId val="2113712920"/>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13716424"/>
        <c:crosses val="min"/>
        <c:auto val="0"/>
        <c:lblAlgn val="ctr"/>
        <c:lblOffset val="100"/>
        <c:noMultiLvlLbl val="0"/>
      </c:catAx>
      <c:valAx>
        <c:axId val="2113716424"/>
        <c:scaling>
          <c:orientation val="minMax"/>
          <c:max val="2.0E8"/>
          <c:min val="0.0"/>
        </c:scaling>
        <c:delete val="0"/>
        <c:axPos val="l"/>
        <c:majorGridlines>
          <c:spPr>
            <a:ln>
              <a:noFill/>
            </a:ln>
          </c:spPr>
        </c:majorGridlines>
        <c:numFmt formatCode="General" sourceLinked="1"/>
        <c:majorTickMark val="out"/>
        <c:minorTickMark val="none"/>
        <c:tickLblPos val="none"/>
        <c:spPr>
          <a:ln w="9525" algn="ctr">
            <a:solidFill>
              <a:schemeClr val="accent1"/>
            </a:solidFill>
            <a:prstDash val="solid"/>
          </a:ln>
        </c:spPr>
        <c:txPr>
          <a:bodyPr wrap="none"/>
          <a:lstStyle/>
          <a:p>
            <a:pPr>
              <a:defRPr sz="1400">
                <a:latin typeface="+mn-lt"/>
                <a:ea typeface="+mn-ea"/>
                <a:cs typeface="+mn-cs"/>
                <a:sym typeface="+mn-lt"/>
              </a:defRPr>
            </a:pPr>
            <a:endParaRPr lang="de-DE"/>
          </a:p>
        </c:txPr>
        <c:crossAx val="2113712920"/>
        <c:crosses val="min"/>
        <c:crossBetween val="between"/>
        <c:majorUnit val="5.0E7"/>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5028901734104"/>
          <c:y val="0.10379746835443"/>
          <c:w val="0.969942196531792"/>
          <c:h val="0.863291139240507"/>
        </c:manualLayout>
      </c:layout>
      <c:barChart>
        <c:barDir val="col"/>
        <c:grouping val="stacked"/>
        <c:varyColors val="0"/>
        <c:ser>
          <c:idx val="0"/>
          <c:order val="0"/>
          <c:spPr>
            <a:solidFill>
              <a:schemeClr val="accent1"/>
            </a:solidFill>
            <a:ln>
              <a:noFill/>
            </a:ln>
          </c:spPr>
          <c:invertIfNegative val="0"/>
          <c:dLbls>
            <c:dLbl>
              <c:idx val="0"/>
              <c:layout>
                <c:manualLayout>
                  <c:x val="0.0"/>
                  <c:y val="-0.48417721518987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9E-4247-B4E7-E4F0C383A0C3}"/>
                </c:ext>
              </c:extLst>
            </c:dLbl>
            <c:dLbl>
              <c:idx val="1"/>
              <c:layout>
                <c:manualLayout>
                  <c:x val="0.0"/>
                  <c:y val="-0.13544303797468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9E-4247-B4E7-E4F0C383A0C3}"/>
                </c:ext>
              </c:extLst>
            </c:dLbl>
            <c:dLbl>
              <c:idx val="2"/>
              <c:layout>
                <c:manualLayout>
                  <c:x val="0.0"/>
                  <c:y val="-0.1025316455696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9E-4247-B4E7-E4F0C383A0C3}"/>
                </c:ext>
              </c:extLst>
            </c:dLbl>
            <c:dLbl>
              <c:idx val="3"/>
              <c:layout>
                <c:manualLayout>
                  <c:x val="0.0"/>
                  <c:y val="-0.193670886075949"/>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D9E-4247-B4E7-E4F0C383A0C3}"/>
                </c:ext>
              </c:extLst>
            </c:dLbl>
            <c:dLbl>
              <c:idx val="4"/>
              <c:layout>
                <c:manualLayout>
                  <c:x val="0.0"/>
                  <c:y val="-0.193670886075949"/>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9E-4247-B4E7-E4F0C383A0C3}"/>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104.0</c:v>
                </c:pt>
                <c:pt idx="1">
                  <c:v>20.0</c:v>
                </c:pt>
                <c:pt idx="2">
                  <c:v>12.0</c:v>
                </c:pt>
                <c:pt idx="3">
                  <c:v>34.0</c:v>
                </c:pt>
                <c:pt idx="4">
                  <c:v>34.0</c:v>
                </c:pt>
              </c:numCache>
            </c:numRef>
          </c:val>
          <c:extLst xmlns:c16r2="http://schemas.microsoft.com/office/drawing/2015/06/chart">
            <c:ext xmlns:c16="http://schemas.microsoft.com/office/drawing/2014/chart" uri="{C3380CC4-5D6E-409C-BE32-E72D297353CC}">
              <c16:uniqueId val="{00000005-DD9E-4247-B4E7-E4F0C383A0C3}"/>
            </c:ext>
          </c:extLst>
        </c:ser>
        <c:dLbls>
          <c:showLegendKey val="0"/>
          <c:showVal val="0"/>
          <c:showCatName val="0"/>
          <c:showSerName val="0"/>
          <c:showPercent val="0"/>
          <c:showBubbleSize val="0"/>
        </c:dLbls>
        <c:gapWidth val="80"/>
        <c:overlap val="100"/>
        <c:axId val="2112896680"/>
        <c:axId val="2112893080"/>
      </c:barChart>
      <c:catAx>
        <c:axId val="2112896680"/>
        <c:scaling>
          <c:orientation val="minMax"/>
        </c:scaling>
        <c:delete val="0"/>
        <c:axPos val="b"/>
        <c:majorGridlines>
          <c:spPr>
            <a:ln>
              <a:noFill/>
            </a:ln>
          </c:spPr>
        </c:majorGridlines>
        <c:majorTickMark val="none"/>
        <c:minorTickMark val="none"/>
        <c:tickLblPos val="none"/>
        <c:spPr>
          <a:ln w="9525" algn="ctr">
            <a:solidFill>
              <a:schemeClr val="accent1"/>
            </a:solidFill>
            <a:prstDash val="solid"/>
          </a:ln>
        </c:spPr>
        <c:crossAx val="2112893080"/>
        <c:crosses val="min"/>
        <c:auto val="0"/>
        <c:lblAlgn val="ctr"/>
        <c:lblOffset val="100"/>
        <c:noMultiLvlLbl val="0"/>
      </c:catAx>
      <c:valAx>
        <c:axId val="2112893080"/>
        <c:scaling>
          <c:orientation val="minMax"/>
          <c:max val="104.0"/>
          <c:min val="0.0"/>
        </c:scaling>
        <c:delete val="1"/>
        <c:axPos val="l"/>
        <c:numFmt formatCode="General" sourceLinked="1"/>
        <c:majorTickMark val="out"/>
        <c:minorTickMark val="none"/>
        <c:tickLblPos val="nextTo"/>
        <c:crossAx val="211289668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 Id="rId2" Type="http://schemas.openxmlformats.org/officeDocument/2006/relationships/image" Target="../media/image10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19.emf"/><Relationship Id="rId2" Type="http://schemas.openxmlformats.org/officeDocument/2006/relationships/image" Target="../media/image14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tags" Target="../tags/tag21.xml"/><Relationship Id="rId5" Type="http://schemas.openxmlformats.org/officeDocument/2006/relationships/image" Target="../media/image4.jpeg"/><Relationship Id="rId1" Type="http://schemas.openxmlformats.org/officeDocument/2006/relationships/theme" Target="../theme/theme3.xml"/><Relationship Id="rId2" Type="http://schemas.openxmlformats.org/officeDocument/2006/relationships/tags" Target="../tags/tag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969436" y="9630708"/>
            <a:ext cx="568623" cy="350538"/>
          </a:xfrm>
          <a:prstGeom prst="rect">
            <a:avLst/>
          </a:prstGeom>
        </p:spPr>
        <p:txBody>
          <a:bodyPr vert="horz" lIns="94779" tIns="47390" rIns="94779" bIns="47390" rtlCol="0" anchor="b"/>
          <a:lstStyle>
            <a:lvl1pPr algn="r">
              <a:defRPr sz="1100"/>
            </a:lvl1pPr>
          </a:lstStyle>
          <a:p>
            <a:pPr algn="l"/>
            <a:fld id="{66956680-9DD1-42B3-AC7D-D3500478CED6}" type="slidenum">
              <a:rPr lang="de-DE" smtClean="0"/>
              <a:pPr algn="l"/>
              <a:t>‹Nr.›</a:t>
            </a:fld>
            <a:endParaRPr lang="de-DE"/>
          </a:p>
        </p:txBody>
      </p:sp>
      <p:pic>
        <p:nvPicPr>
          <p:cNvPr id="6" name="Picture 26" descr="C:\Users\bildwechsel\Desktop\Civity PPT Templates\civity_logo_ppt.jpg"/>
          <p:cNvPicPr>
            <a:picLocks noChangeAspect="1" noChangeArrowheads="1"/>
          </p:cNvPicPr>
          <p:nvPr>
            <p:custDataLst>
              <p:tags r:id="rId2"/>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4182705" y="9451999"/>
            <a:ext cx="2349375" cy="560369"/>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descr="casecode"/>
          <p:cNvSpPr txBox="1"/>
          <p:nvPr>
            <p:custDataLst>
              <p:tags r:id="rId3"/>
            </p:custDataLst>
          </p:nvPr>
        </p:nvSpPr>
        <p:spPr>
          <a:xfrm rot="16200000">
            <a:off x="-1646415" y="6534625"/>
            <a:ext cx="4077676" cy="95646"/>
          </a:xfrm>
          <a:prstGeom prst="rect">
            <a:avLst/>
          </a:prstGeom>
          <a:noFill/>
        </p:spPr>
        <p:txBody>
          <a:bodyPr wrap="square" lIns="0" tIns="0" rIns="0" bIns="0" rtlCol="0">
            <a:noAutofit/>
          </a:bodyPr>
          <a:lstStyle/>
          <a:p>
            <a:pPr algn="l"/>
            <a:r>
              <a:rPr lang="de-DE" sz="600" dirty="0">
                <a:solidFill>
                  <a:schemeClr val="accent5"/>
                </a:solidFill>
              </a:rPr>
              <a:t>civity-blank.potx</a:t>
            </a:r>
          </a:p>
        </p:txBody>
      </p:sp>
      <p:sp>
        <p:nvSpPr>
          <p:cNvPr id="8" name="Textfeld 7"/>
          <p:cNvSpPr txBox="1"/>
          <p:nvPr>
            <p:custDataLst>
              <p:tags r:id="rId4"/>
            </p:custDataLst>
          </p:nvPr>
        </p:nvSpPr>
        <p:spPr>
          <a:xfrm rot="16200000">
            <a:off x="61299" y="8935734"/>
            <a:ext cx="662233" cy="92333"/>
          </a:xfrm>
          <a:prstGeom prst="rect">
            <a:avLst/>
          </a:prstGeom>
          <a:noFill/>
        </p:spPr>
        <p:txBody>
          <a:bodyPr wrap="square" lIns="0" tIns="0" rIns="0" bIns="0" rtlCol="0">
            <a:spAutoFit/>
          </a:bodyPr>
          <a:lstStyle/>
          <a:p>
            <a:pPr algn="r"/>
            <a:r>
              <a:rPr lang="de-DE" sz="600" dirty="0">
                <a:solidFill>
                  <a:schemeClr val="accent5"/>
                </a:solidFill>
              </a:rPr>
              <a:t>© civity 2010 ///</a:t>
            </a:r>
          </a:p>
        </p:txBody>
      </p:sp>
    </p:spTree>
    <p:extLst>
      <p:ext uri="{BB962C8B-B14F-4D97-AF65-F5344CB8AC3E}">
        <p14:creationId xmlns:p14="http://schemas.microsoft.com/office/powerpoint/2010/main" val="8163592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7.xml"/><Relationship Id="rId4" Type="http://schemas.openxmlformats.org/officeDocument/2006/relationships/tags" Target="../tags/tag18.xml"/><Relationship Id="rId5" Type="http://schemas.openxmlformats.org/officeDocument/2006/relationships/image" Target="../media/image4.jpeg"/><Relationship Id="rId1" Type="http://schemas.openxmlformats.org/officeDocument/2006/relationships/theme" Target="../theme/theme2.xml"/><Relationship Id="rId2" Type="http://schemas.openxmlformats.org/officeDocument/2006/relationships/tags" Target="../tags/tag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866775" y="514350"/>
            <a:ext cx="5881688" cy="4411663"/>
          </a:xfrm>
          <a:prstGeom prst="rect">
            <a:avLst/>
          </a:prstGeom>
          <a:noFill/>
          <a:ln w="9525">
            <a:noFill/>
          </a:ln>
        </p:spPr>
        <p:txBody>
          <a:bodyPr vert="horz" lIns="94779" tIns="47390" rIns="94779" bIns="47390" rtlCol="0" anchor="ctr"/>
          <a:lstStyle/>
          <a:p>
            <a:endParaRPr lang="de-DE"/>
          </a:p>
        </p:txBody>
      </p:sp>
      <p:sp>
        <p:nvSpPr>
          <p:cNvPr id="7" name="Foliennummernplatzhalter 6"/>
          <p:cNvSpPr>
            <a:spLocks noGrp="1"/>
          </p:cNvSpPr>
          <p:nvPr>
            <p:ph type="sldNum" sz="quarter" idx="5"/>
          </p:nvPr>
        </p:nvSpPr>
        <p:spPr>
          <a:xfrm>
            <a:off x="976312" y="9630710"/>
            <a:ext cx="788973" cy="337738"/>
          </a:xfrm>
          <a:prstGeom prst="rect">
            <a:avLst/>
          </a:prstGeom>
        </p:spPr>
        <p:txBody>
          <a:bodyPr vert="horz" lIns="94779" tIns="47390" rIns="94779" bIns="47390" rtlCol="0" anchor="b" anchorCtr="0"/>
          <a:lstStyle>
            <a:lvl1pPr algn="l">
              <a:defRPr sz="1100">
                <a:solidFill>
                  <a:schemeClr val="tx1"/>
                </a:solidFill>
              </a:defRPr>
            </a:lvl1pPr>
          </a:lstStyle>
          <a:p>
            <a:fld id="{6799E72A-FD89-4596-A8F8-76FC5CB6A101}" type="slidenum">
              <a:rPr lang="de-DE" smtClean="0"/>
              <a:pPr/>
              <a:t>‹Nr.›</a:t>
            </a:fld>
            <a:endParaRPr lang="de-DE" dirty="0"/>
          </a:p>
        </p:txBody>
      </p:sp>
      <p:sp>
        <p:nvSpPr>
          <p:cNvPr id="8" name="Notizenplatzhalter 7"/>
          <p:cNvSpPr>
            <a:spLocks noGrp="1"/>
          </p:cNvSpPr>
          <p:nvPr>
            <p:ph type="body" sz="quarter" idx="3"/>
          </p:nvPr>
        </p:nvSpPr>
        <p:spPr>
          <a:xfrm>
            <a:off x="986318" y="5036711"/>
            <a:ext cx="5441573" cy="4110419"/>
          </a:xfrm>
          <a:prstGeom prst="rect">
            <a:avLst/>
          </a:prstGeom>
        </p:spPr>
        <p:txBody>
          <a:bodyPr vert="horz" lIns="94779" tIns="47390" rIns="94779" bIns="47390" rtlCol="0"/>
          <a:lstStyle/>
          <a:p>
            <a:pPr lvl="0"/>
            <a:r>
              <a:rPr lang="de-DE" dirty="0"/>
              <a:t>Textmasterformat bearbeiten</a:t>
            </a:r>
          </a:p>
          <a:p>
            <a:pPr lvl="1"/>
            <a:r>
              <a:rPr lang="de-DE" dirty="0"/>
              <a:t>Zweite Ebene</a:t>
            </a:r>
          </a:p>
          <a:p>
            <a:pPr lvl="2"/>
            <a:r>
              <a:rPr lang="de-DE" dirty="0"/>
              <a:t>Dritte Ebene</a:t>
            </a:r>
          </a:p>
          <a:p>
            <a:pPr lvl="3"/>
            <a:r>
              <a:rPr lang="de-DE" dirty="0"/>
              <a:t>Vierte Ebene</a:t>
            </a:r>
          </a:p>
        </p:txBody>
      </p:sp>
      <p:cxnSp>
        <p:nvCxnSpPr>
          <p:cNvPr id="11" name="Gerade Verbindung 10"/>
          <p:cNvCxnSpPr/>
          <p:nvPr/>
        </p:nvCxnSpPr>
        <p:spPr>
          <a:xfrm>
            <a:off x="1062022" y="504742"/>
            <a:ext cx="54536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a:xfrm>
            <a:off x="1062022" y="4925129"/>
            <a:ext cx="5453626"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26" descr="C:\Users\bildwechsel\Desktop\Civity PPT Templates\civity_logo_ppt.jpg"/>
          <p:cNvPicPr>
            <a:picLocks noChangeAspect="1" noChangeArrowheads="1"/>
          </p:cNvPicPr>
          <p:nvPr>
            <p:custDataLst>
              <p:tags r:id="rId2"/>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4182705" y="9451999"/>
            <a:ext cx="2349375" cy="560369"/>
          </a:xfrm>
          <a:prstGeom prst="rect">
            <a:avLst/>
          </a:prstGeom>
          <a:noFill/>
          <a:extLst>
            <a:ext uri="{909E8E84-426E-40dd-AFC4-6F175D3DCCD1}">
              <a14:hiddenFill xmlns:a14="http://schemas.microsoft.com/office/drawing/2010/main">
                <a:solidFill>
                  <a:srgbClr val="FFFFFF"/>
                </a:solidFill>
              </a14:hiddenFill>
            </a:ext>
          </a:extLst>
        </p:spPr>
      </p:pic>
      <p:sp>
        <p:nvSpPr>
          <p:cNvPr id="20" name="Textfeld 19" descr="casecode"/>
          <p:cNvSpPr txBox="1"/>
          <p:nvPr>
            <p:custDataLst>
              <p:tags r:id="rId3"/>
            </p:custDataLst>
          </p:nvPr>
        </p:nvSpPr>
        <p:spPr>
          <a:xfrm rot="16200000">
            <a:off x="-1369112" y="6368739"/>
            <a:ext cx="4077676" cy="95646"/>
          </a:xfrm>
          <a:prstGeom prst="rect">
            <a:avLst/>
          </a:prstGeom>
          <a:noFill/>
        </p:spPr>
        <p:txBody>
          <a:bodyPr wrap="square" lIns="0" tIns="0" rIns="0" bIns="0" rtlCol="0">
            <a:noAutofit/>
          </a:bodyPr>
          <a:lstStyle/>
          <a:p>
            <a:pPr algn="l"/>
            <a:r>
              <a:rPr lang="de-DE" sz="600" dirty="0">
                <a:solidFill>
                  <a:schemeClr val="accent5"/>
                </a:solidFill>
              </a:rPr>
              <a:t>civity-blank.potx</a:t>
            </a:r>
          </a:p>
        </p:txBody>
      </p:sp>
      <p:sp>
        <p:nvSpPr>
          <p:cNvPr id="21" name="Textfeld 20"/>
          <p:cNvSpPr txBox="1"/>
          <p:nvPr>
            <p:custDataLst>
              <p:tags r:id="rId4"/>
            </p:custDataLst>
          </p:nvPr>
        </p:nvSpPr>
        <p:spPr>
          <a:xfrm rot="16200000">
            <a:off x="338603" y="8769850"/>
            <a:ext cx="662233" cy="92333"/>
          </a:xfrm>
          <a:prstGeom prst="rect">
            <a:avLst/>
          </a:prstGeom>
          <a:noFill/>
        </p:spPr>
        <p:txBody>
          <a:bodyPr wrap="square" lIns="0" tIns="0" rIns="0" bIns="0" rtlCol="0">
            <a:spAutoFit/>
          </a:bodyPr>
          <a:lstStyle/>
          <a:p>
            <a:pPr algn="r"/>
            <a:r>
              <a:rPr lang="de-DE" sz="600" dirty="0">
                <a:solidFill>
                  <a:schemeClr val="accent5"/>
                </a:solidFill>
              </a:rPr>
              <a:t>© civity 2010 ///</a:t>
            </a:r>
          </a:p>
        </p:txBody>
      </p:sp>
    </p:spTree>
    <p:extLst>
      <p:ext uri="{BB962C8B-B14F-4D97-AF65-F5344CB8AC3E}">
        <p14:creationId xmlns:p14="http://schemas.microsoft.com/office/powerpoint/2010/main" val="3033805969"/>
      </p:ext>
    </p:extLst>
  </p:cSld>
  <p:clrMap bg1="lt1" tx1="dk1" bg2="lt2" tx2="dk2" accent1="accent1" accent2="accent2" accent3="accent3" accent4="accent4" accent5="accent5" accent6="accent6" hlink="hlink" folHlink="folHlink"/>
  <p:notesStyle>
    <a:lvl1pPr marL="0" algn="l" defTabSz="914400" rtl="0" eaLnBrk="1" latinLnBrk="0" hangingPunct="1">
      <a:defRPr sz="1400" kern="1200">
        <a:solidFill>
          <a:schemeClr val="tx1"/>
        </a:solidFill>
        <a:latin typeface="Arial" pitchFamily="34" charset="0"/>
        <a:ea typeface="+mn-ea"/>
        <a:cs typeface="Arial" pitchFamily="34" charset="0"/>
      </a:defRPr>
    </a:lvl1pPr>
    <a:lvl2pPr marL="182563" indent="-182563" algn="l" defTabSz="914400" rtl="0" eaLnBrk="1" latinLnBrk="0" hangingPunct="1">
      <a:buFont typeface="Arial" pitchFamily="34" charset="0"/>
      <a:buChar char="•"/>
      <a:defRPr sz="1400" kern="1200">
        <a:solidFill>
          <a:schemeClr val="tx1"/>
        </a:solidFill>
        <a:latin typeface="Arial" pitchFamily="34" charset="0"/>
        <a:ea typeface="+mn-ea"/>
        <a:cs typeface="Arial" pitchFamily="34" charset="0"/>
      </a:defRPr>
    </a:lvl2pPr>
    <a:lvl3pPr marL="358775" indent="-176213" algn="l" defTabSz="914400" rtl="0" eaLnBrk="1" latinLnBrk="0" hangingPunct="1">
      <a:buFont typeface="Symbol" pitchFamily="18" charset="2"/>
      <a:buChar char=""/>
      <a:tabLst/>
      <a:defRPr sz="1400" kern="1200">
        <a:solidFill>
          <a:schemeClr val="tx1"/>
        </a:solidFill>
        <a:latin typeface="Arial" pitchFamily="34" charset="0"/>
        <a:ea typeface="+mn-ea"/>
        <a:cs typeface="Arial" pitchFamily="34" charset="0"/>
      </a:defRPr>
    </a:lvl3pPr>
    <a:lvl4pPr marL="541338" indent="-166688" algn="l" defTabSz="914400" rtl="0" eaLnBrk="1" latinLnBrk="0" hangingPunct="1">
      <a:buFont typeface="Arial" pitchFamily="34" charset="0"/>
      <a:buChar char="-"/>
      <a:tabLst/>
      <a:defRPr sz="1400" kern="1200">
        <a:solidFill>
          <a:schemeClr val="tx1"/>
        </a:solidFill>
        <a:latin typeface="Arial" pitchFamily="34" charset="0"/>
        <a:ea typeface="+mn-ea"/>
        <a:cs typeface="Arial" pitchFamily="34" charset="0"/>
      </a:defRPr>
    </a:lvl4pPr>
    <a:lvl5pPr marL="2000250" indent="-171450" algn="l" defTabSz="914400" rtl="0" eaLnBrk="1" latinLnBrk="0" hangingPunct="1">
      <a:buFont typeface="Arial" pitchFamily="34" charset="0"/>
      <a:buChar char="•"/>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4663"/>
            <a:ext cx="5416550" cy="4062412"/>
          </a:xfrm>
        </p:spPr>
      </p:sp>
      <p:sp>
        <p:nvSpPr>
          <p:cNvPr id="3" name="Notizenplatzhalter 2"/>
          <p:cNvSpPr>
            <a:spLocks noGrp="1"/>
          </p:cNvSpPr>
          <p:nvPr>
            <p:ph type="body" idx="1"/>
          </p:nvPr>
        </p:nvSpPr>
        <p:spPr/>
        <p:txBody>
          <a:bodyPr/>
          <a:lstStyle/>
          <a:p>
            <a:r>
              <a:rPr lang="de-DE" sz="1700" dirty="0"/>
              <a:t>Kurze Vorstellung, </a:t>
            </a:r>
          </a:p>
          <a:p>
            <a:r>
              <a:rPr lang="de-DE" sz="1700" dirty="0"/>
              <a:t>Schwerpunkt Verknüpfung Wissenschaft/Unternehmensberatung/Politik</a:t>
            </a:r>
          </a:p>
          <a:p>
            <a:r>
              <a:rPr lang="de-DE" sz="1700" dirty="0"/>
              <a:t>„Heute als externer Experte eingeladen, aber Parteihintergrund</a:t>
            </a:r>
          </a:p>
          <a:p>
            <a:r>
              <a:rPr lang="de-DE" sz="1700" dirty="0"/>
              <a:t>„Partei-Du“ anbieten</a:t>
            </a:r>
          </a:p>
          <a:p>
            <a:endParaRPr lang="de-DE" sz="1700" dirty="0"/>
          </a:p>
          <a:p>
            <a:r>
              <a:rPr lang="de-DE" sz="1700" dirty="0"/>
              <a:t>Programmschwerpunkt</a:t>
            </a:r>
          </a:p>
          <a:p>
            <a:pPr lvl="0"/>
            <a:r>
              <a:rPr lang="de-DE" dirty="0"/>
              <a:t>„Verkehrswende für eine bessere Mobilität - Wie finanzieren wir unseren ÖV – Maßnahmen, Steuerungswirkungen/Effekte, Umsetzung und politische Spielräume“</a:t>
            </a:r>
          </a:p>
          <a:p>
            <a:pPr lvl="0"/>
            <a:endParaRPr lang="de-DE" dirty="0"/>
          </a:p>
          <a:p>
            <a:pPr lvl="1"/>
            <a:r>
              <a:rPr lang="en-US" dirty="0" err="1"/>
              <a:t>Konzept</a:t>
            </a:r>
            <a:r>
              <a:rPr lang="en-US" dirty="0"/>
              <a:t> „365 Euro – Ticket“ Wien: Dr. Julian Zuber, Senior Consultant, </a:t>
            </a:r>
            <a:r>
              <a:rPr lang="en-US" dirty="0" err="1"/>
              <a:t>civity</a:t>
            </a:r>
            <a:r>
              <a:rPr lang="en-US" dirty="0"/>
              <a:t> Management Consultants GmbH &amp; Co. </a:t>
            </a:r>
            <a:r>
              <a:rPr lang="de-DE" dirty="0"/>
              <a:t>KG</a:t>
            </a:r>
            <a:r>
              <a:rPr lang="de-DE" sz="1100" dirty="0"/>
              <a:t> </a:t>
            </a:r>
            <a:endParaRPr lang="de-DE" dirty="0"/>
          </a:p>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solidFill>
                  <a:prstClr val="black"/>
                </a:solidFill>
                <a:latin typeface="Calibri"/>
              </a:rPr>
              <a:pPr/>
              <a:t>1</a:t>
            </a:fld>
            <a:endParaRPr lang="de-DE" dirty="0">
              <a:solidFill>
                <a:prstClr val="black"/>
              </a:solidFill>
              <a:latin typeface="Calibri"/>
            </a:endParaRPr>
          </a:p>
        </p:txBody>
      </p:sp>
    </p:spTree>
    <p:extLst>
      <p:ext uri="{BB962C8B-B14F-4D97-AF65-F5344CB8AC3E}">
        <p14:creationId xmlns:p14="http://schemas.microsoft.com/office/powerpoint/2010/main" val="19276730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79538" y="434975"/>
            <a:ext cx="4992687" cy="37449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10</a:t>
            </a:fld>
            <a:endParaRPr lang="de-DE" dirty="0"/>
          </a:p>
        </p:txBody>
      </p:sp>
    </p:spTree>
    <p:extLst>
      <p:ext uri="{BB962C8B-B14F-4D97-AF65-F5344CB8AC3E}">
        <p14:creationId xmlns:p14="http://schemas.microsoft.com/office/powerpoint/2010/main" val="1300664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pPr defTabSz="947867">
              <a:defRPr/>
            </a:pPr>
            <a:r>
              <a:rPr lang="de-DE" dirty="0"/>
              <a:t>Noch dramatischer als vorherige Folie. Es hätte ja sein können, dass das Aufkommen der anderen Verkehrsträger </a:t>
            </a:r>
            <a:r>
              <a:rPr lang="de-DE" dirty="0" err="1"/>
              <a:t>überdurchchnittlich</a:t>
            </a:r>
            <a:r>
              <a:rPr lang="de-DE" dirty="0"/>
              <a:t> stark gestiegen ist. </a:t>
            </a:r>
          </a:p>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11</a:t>
            </a:fld>
            <a:endParaRPr lang="de-DE" dirty="0"/>
          </a:p>
        </p:txBody>
      </p:sp>
    </p:spTree>
    <p:extLst>
      <p:ext uri="{BB962C8B-B14F-4D97-AF65-F5344CB8AC3E}">
        <p14:creationId xmlns:p14="http://schemas.microsoft.com/office/powerpoint/2010/main" val="1985815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867">
              <a:defRPr/>
            </a:pPr>
            <a:r>
              <a:rPr lang="de-DE" dirty="0"/>
              <a:t>Wurde von </a:t>
            </a:r>
            <a:r>
              <a:rPr lang="de-DE" dirty="0" err="1"/>
              <a:t>civity</a:t>
            </a:r>
            <a:r>
              <a:rPr lang="de-DE" dirty="0"/>
              <a:t> vor der Einführung so prognostiziert</a:t>
            </a:r>
          </a:p>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12</a:t>
            </a:fld>
            <a:endParaRPr lang="de-DE" dirty="0"/>
          </a:p>
        </p:txBody>
      </p:sp>
    </p:spTree>
    <p:extLst>
      <p:ext uri="{BB962C8B-B14F-4D97-AF65-F5344CB8AC3E}">
        <p14:creationId xmlns:p14="http://schemas.microsoft.com/office/powerpoint/2010/main" val="18099887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867">
              <a:defRPr/>
            </a:pPr>
            <a:r>
              <a:rPr lang="de-DE" sz="1500" dirty="0"/>
              <a:t>Hinweis auf den ÖPNV Report von </a:t>
            </a:r>
            <a:r>
              <a:rPr lang="de-DE" sz="1500" dirty="0" err="1"/>
              <a:t>civity</a:t>
            </a:r>
            <a:r>
              <a:rPr lang="de-DE" sz="1500" dirty="0"/>
              <a:t> und das Potential der Daten</a:t>
            </a:r>
          </a:p>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13</a:t>
            </a:fld>
            <a:endParaRPr lang="de-DE" dirty="0"/>
          </a:p>
        </p:txBody>
      </p:sp>
    </p:spTree>
    <p:extLst>
      <p:ext uri="{BB962C8B-B14F-4D97-AF65-F5344CB8AC3E}">
        <p14:creationId xmlns:p14="http://schemas.microsoft.com/office/powerpoint/2010/main" val="20366736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30238" y="573088"/>
            <a:ext cx="6542087" cy="4906962"/>
          </a:xfrm>
        </p:spPr>
      </p:sp>
      <p:sp>
        <p:nvSpPr>
          <p:cNvPr id="3" name="Notizenplatzhalter 2"/>
          <p:cNvSpPr>
            <a:spLocks noGrp="1"/>
          </p:cNvSpPr>
          <p:nvPr>
            <p:ph type="body" idx="1"/>
          </p:nvPr>
        </p:nvSpPr>
        <p:spPr/>
        <p:txBody>
          <a:bodyPr/>
          <a:lstStyle/>
          <a:p>
            <a:pPr algn="l"/>
            <a:r>
              <a:rPr lang="de-DE" sz="1500" dirty="0"/>
              <a:t>Hintergrund Methode : Radien:</a:t>
            </a:r>
          </a:p>
          <a:p>
            <a:pPr marL="296208" indent="-296208">
              <a:buFontTx/>
              <a:buChar char="-"/>
            </a:pPr>
            <a:r>
              <a:rPr lang="de-DE" sz="1500" dirty="0"/>
              <a:t>Regionalbahn/-express: 1000m</a:t>
            </a:r>
          </a:p>
          <a:p>
            <a:pPr marL="296208" indent="-296208">
              <a:buFontTx/>
              <a:buChar char="-"/>
            </a:pPr>
            <a:r>
              <a:rPr lang="de-DE" sz="1500" dirty="0"/>
              <a:t>S-Bahn: 500m</a:t>
            </a:r>
          </a:p>
          <a:p>
            <a:pPr marL="296208" indent="-296208">
              <a:buFontTx/>
              <a:buChar char="-"/>
            </a:pPr>
            <a:r>
              <a:rPr lang="de-DE" sz="1500" dirty="0"/>
              <a:t>Stadtbahn: 400m</a:t>
            </a:r>
          </a:p>
          <a:p>
            <a:pPr marL="296208" indent="-296208">
              <a:buFontTx/>
              <a:buChar char="-"/>
            </a:pPr>
            <a:r>
              <a:rPr lang="de-DE" sz="1500" dirty="0"/>
              <a:t>Tram: 400m</a:t>
            </a:r>
          </a:p>
          <a:p>
            <a:pPr marL="296208" indent="-296208">
              <a:buFontTx/>
              <a:buChar char="-"/>
            </a:pPr>
            <a:r>
              <a:rPr lang="de-DE" sz="1500" dirty="0"/>
              <a:t>U-Bahn: 500m</a:t>
            </a:r>
          </a:p>
          <a:p>
            <a:endParaRPr lang="de-DE" dirty="0"/>
          </a:p>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14</a:t>
            </a:fld>
            <a:endParaRPr lang="de-DE" dirty="0"/>
          </a:p>
        </p:txBody>
      </p:sp>
    </p:spTree>
    <p:extLst>
      <p:ext uri="{BB962C8B-B14F-4D97-AF65-F5344CB8AC3E}">
        <p14:creationId xmlns:p14="http://schemas.microsoft.com/office/powerpoint/2010/main" val="3043339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ethodischer Hinweis: Angebot nicht einheitlich angegeben (in Wien </a:t>
            </a:r>
            <a:r>
              <a:rPr lang="de-DE" dirty="0" err="1"/>
              <a:t>Platzkm</a:t>
            </a:r>
            <a:r>
              <a:rPr lang="de-DE" dirty="0"/>
              <a:t>, in deutschen Städten oft </a:t>
            </a:r>
            <a:r>
              <a:rPr lang="de-DE" dirty="0" err="1"/>
              <a:t>Zugkm</a:t>
            </a:r>
            <a:r>
              <a:rPr lang="de-DE" dirty="0"/>
              <a:t>. Oder </a:t>
            </a:r>
            <a:r>
              <a:rPr lang="de-DE" dirty="0" err="1"/>
              <a:t>Streckenkm</a:t>
            </a:r>
            <a:r>
              <a:rPr lang="de-DE" dirty="0"/>
              <a:t> (?))</a:t>
            </a:r>
          </a:p>
        </p:txBody>
      </p:sp>
      <p:sp>
        <p:nvSpPr>
          <p:cNvPr id="4" name="Foliennummernplatzhalter 3"/>
          <p:cNvSpPr>
            <a:spLocks noGrp="1"/>
          </p:cNvSpPr>
          <p:nvPr>
            <p:ph type="sldNum" sz="quarter" idx="5"/>
          </p:nvPr>
        </p:nvSpPr>
        <p:spPr/>
        <p:txBody>
          <a:bodyPr/>
          <a:lstStyle/>
          <a:p>
            <a:fld id="{6799E72A-FD89-4596-A8F8-76FC5CB6A101}" type="slidenum">
              <a:rPr lang="de-DE" smtClean="0"/>
              <a:pPr/>
              <a:t>15</a:t>
            </a:fld>
            <a:endParaRPr lang="de-DE" dirty="0"/>
          </a:p>
        </p:txBody>
      </p:sp>
    </p:spTree>
    <p:extLst>
      <p:ext uri="{BB962C8B-B14F-4D97-AF65-F5344CB8AC3E}">
        <p14:creationId xmlns:p14="http://schemas.microsoft.com/office/powerpoint/2010/main" val="39542154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30238" y="573088"/>
            <a:ext cx="6542087" cy="4906962"/>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17</a:t>
            </a:fld>
            <a:endParaRPr lang="de-DE" dirty="0"/>
          </a:p>
        </p:txBody>
      </p:sp>
    </p:spTree>
    <p:extLst>
      <p:ext uri="{BB962C8B-B14F-4D97-AF65-F5344CB8AC3E}">
        <p14:creationId xmlns:p14="http://schemas.microsoft.com/office/powerpoint/2010/main" val="32770175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799E72A-FD89-4596-A8F8-76FC5CB6A101}" type="slidenum">
              <a:rPr lang="de-DE" smtClean="0"/>
              <a:pPr/>
              <a:t>18</a:t>
            </a:fld>
            <a:endParaRPr lang="de-DE" dirty="0"/>
          </a:p>
        </p:txBody>
      </p:sp>
    </p:spTree>
    <p:extLst>
      <p:ext uri="{BB962C8B-B14F-4D97-AF65-F5344CB8AC3E}">
        <p14:creationId xmlns:p14="http://schemas.microsoft.com/office/powerpoint/2010/main" val="13818333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799E72A-FD89-4596-A8F8-76FC5CB6A101}" type="slidenum">
              <a:rPr lang="de-DE" smtClean="0"/>
              <a:pPr/>
              <a:t>19</a:t>
            </a:fld>
            <a:endParaRPr lang="de-DE" dirty="0"/>
          </a:p>
        </p:txBody>
      </p:sp>
    </p:spTree>
    <p:extLst>
      <p:ext uri="{BB962C8B-B14F-4D97-AF65-F5344CB8AC3E}">
        <p14:creationId xmlns:p14="http://schemas.microsoft.com/office/powerpoint/2010/main" val="3702885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500" dirty="0"/>
              <a:t>„Geringer Steuerungseffekt aber hoher Finanzierungseffekt„</a:t>
            </a:r>
          </a:p>
          <a:p>
            <a:endParaRPr lang="de-DE" sz="1500" dirty="0"/>
          </a:p>
          <a:p>
            <a:r>
              <a:rPr lang="de-DE" sz="1500" dirty="0"/>
              <a:t>Vereinfachtes Rechenbeispiel: </a:t>
            </a:r>
            <a:r>
              <a:rPr lang="de-DE" sz="1500" b="1" dirty="0"/>
              <a:t>Würde Berlin nur halb so viel € pro Einwohner und Jahr einnehmen, dann hätte Berlin 112 </a:t>
            </a:r>
            <a:r>
              <a:rPr lang="de-DE" sz="1500" b="1" dirty="0" err="1"/>
              <a:t>Mio</a:t>
            </a:r>
            <a:r>
              <a:rPr lang="de-DE" sz="1500" b="1" dirty="0"/>
              <a:t> </a:t>
            </a:r>
            <a:r>
              <a:rPr lang="de-DE" sz="1500" b="1" dirty="0" err="1"/>
              <a:t>Eur</a:t>
            </a:r>
            <a:r>
              <a:rPr lang="de-DE" sz="1500" b="1" dirty="0"/>
              <a:t> mehr pro Jahr zur Verfügung</a:t>
            </a:r>
          </a:p>
          <a:p>
            <a:endParaRPr lang="de-DE" sz="1500" dirty="0"/>
          </a:p>
          <a:p>
            <a:r>
              <a:rPr lang="de-DE" sz="1500" b="1" dirty="0"/>
              <a:t>Hinweis auf parken Projekte bei </a:t>
            </a:r>
            <a:r>
              <a:rPr lang="de-DE" sz="1500" b="1" dirty="0" err="1"/>
              <a:t>civity</a:t>
            </a:r>
            <a:endParaRPr lang="de-DE" sz="1500" b="1" dirty="0"/>
          </a:p>
          <a:p>
            <a:r>
              <a:rPr lang="de-DE" sz="1500" dirty="0"/>
              <a:t>Folie 35 als Back-up mit genauer Aufschlüsselung </a:t>
            </a:r>
          </a:p>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20</a:t>
            </a:fld>
            <a:endParaRPr lang="de-DE" dirty="0"/>
          </a:p>
        </p:txBody>
      </p:sp>
    </p:spTree>
    <p:extLst>
      <p:ext uri="{BB962C8B-B14F-4D97-AF65-F5344CB8AC3E}">
        <p14:creationId xmlns:p14="http://schemas.microsoft.com/office/powerpoint/2010/main" val="35317265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91129" eaLnBrk="0" hangingPunct="0">
              <a:defRPr sz="1100">
                <a:solidFill>
                  <a:schemeClr val="tx2"/>
                </a:solidFill>
                <a:latin typeface="Verdana" pitchFamily="34" charset="0"/>
              </a:defRPr>
            </a:lvl1pPr>
            <a:lvl2pPr marL="766692" indent="-294882" defTabSz="991129" eaLnBrk="0" hangingPunct="0">
              <a:defRPr sz="1100">
                <a:solidFill>
                  <a:schemeClr val="tx2"/>
                </a:solidFill>
                <a:latin typeface="Verdana" pitchFamily="34" charset="0"/>
              </a:defRPr>
            </a:lvl2pPr>
            <a:lvl3pPr marL="1179526" indent="-235905" defTabSz="991129" eaLnBrk="0" hangingPunct="0">
              <a:defRPr sz="1100">
                <a:solidFill>
                  <a:schemeClr val="tx2"/>
                </a:solidFill>
                <a:latin typeface="Verdana" pitchFamily="34" charset="0"/>
              </a:defRPr>
            </a:lvl3pPr>
            <a:lvl4pPr marL="1651335" indent="-235905" defTabSz="991129" eaLnBrk="0" hangingPunct="0">
              <a:defRPr sz="1100">
                <a:solidFill>
                  <a:schemeClr val="tx2"/>
                </a:solidFill>
                <a:latin typeface="Verdana" pitchFamily="34" charset="0"/>
              </a:defRPr>
            </a:lvl4pPr>
            <a:lvl5pPr marL="2123143" indent="-235905" defTabSz="991129" eaLnBrk="0" hangingPunct="0">
              <a:defRPr sz="1100">
                <a:solidFill>
                  <a:schemeClr val="tx2"/>
                </a:solidFill>
                <a:latin typeface="Verdana" pitchFamily="34" charset="0"/>
              </a:defRPr>
            </a:lvl5pPr>
            <a:lvl6pPr marL="2594956" indent="-235905" defTabSz="991129" eaLnBrk="0" fontAlgn="base" hangingPunct="0">
              <a:lnSpc>
                <a:spcPct val="110000"/>
              </a:lnSpc>
              <a:spcBef>
                <a:spcPct val="50000"/>
              </a:spcBef>
              <a:spcAft>
                <a:spcPct val="0"/>
              </a:spcAft>
              <a:buClr>
                <a:schemeClr val="tx2"/>
              </a:buClr>
              <a:buFont typeface="Wingdings" pitchFamily="2" charset="2"/>
              <a:defRPr sz="1100">
                <a:solidFill>
                  <a:schemeClr val="tx2"/>
                </a:solidFill>
                <a:latin typeface="Verdana" pitchFamily="34" charset="0"/>
              </a:defRPr>
            </a:lvl6pPr>
            <a:lvl7pPr marL="3066765" indent="-235905" defTabSz="991129" eaLnBrk="0" fontAlgn="base" hangingPunct="0">
              <a:lnSpc>
                <a:spcPct val="110000"/>
              </a:lnSpc>
              <a:spcBef>
                <a:spcPct val="50000"/>
              </a:spcBef>
              <a:spcAft>
                <a:spcPct val="0"/>
              </a:spcAft>
              <a:buClr>
                <a:schemeClr val="tx2"/>
              </a:buClr>
              <a:buFont typeface="Wingdings" pitchFamily="2" charset="2"/>
              <a:defRPr sz="1100">
                <a:solidFill>
                  <a:schemeClr val="tx2"/>
                </a:solidFill>
                <a:latin typeface="Verdana" pitchFamily="34" charset="0"/>
              </a:defRPr>
            </a:lvl7pPr>
            <a:lvl8pPr marL="3538575" indent="-235905" defTabSz="991129" eaLnBrk="0" fontAlgn="base" hangingPunct="0">
              <a:lnSpc>
                <a:spcPct val="110000"/>
              </a:lnSpc>
              <a:spcBef>
                <a:spcPct val="50000"/>
              </a:spcBef>
              <a:spcAft>
                <a:spcPct val="0"/>
              </a:spcAft>
              <a:buClr>
                <a:schemeClr val="tx2"/>
              </a:buClr>
              <a:buFont typeface="Wingdings" pitchFamily="2" charset="2"/>
              <a:defRPr sz="1100">
                <a:solidFill>
                  <a:schemeClr val="tx2"/>
                </a:solidFill>
                <a:latin typeface="Verdana" pitchFamily="34" charset="0"/>
              </a:defRPr>
            </a:lvl8pPr>
            <a:lvl9pPr marL="4010386" indent="-235905" defTabSz="991129" eaLnBrk="0" fontAlgn="base" hangingPunct="0">
              <a:lnSpc>
                <a:spcPct val="110000"/>
              </a:lnSpc>
              <a:spcBef>
                <a:spcPct val="50000"/>
              </a:spcBef>
              <a:spcAft>
                <a:spcPct val="0"/>
              </a:spcAft>
              <a:buClr>
                <a:schemeClr val="tx2"/>
              </a:buClr>
              <a:buFont typeface="Wingdings" pitchFamily="2" charset="2"/>
              <a:defRPr sz="1100">
                <a:solidFill>
                  <a:schemeClr val="tx2"/>
                </a:solidFill>
                <a:latin typeface="Verdana" pitchFamily="34" charset="0"/>
              </a:defRPr>
            </a:lvl9pPr>
          </a:lstStyle>
          <a:p>
            <a:pPr eaLnBrk="1" hangingPunct="1"/>
            <a:fld id="{8DB532CB-2033-46A2-8159-C398009A2430}" type="slidenum">
              <a:rPr lang="en-GB" altLang="de-DE">
                <a:solidFill>
                  <a:schemeClr val="tx1"/>
                </a:solidFill>
                <a:latin typeface="Arial" panose="020B0604020202020204" pitchFamily="34" charset="0"/>
                <a:sym typeface="Arial" panose="020B0604020202020204" pitchFamily="34" charset="0"/>
              </a:rPr>
              <a:pPr eaLnBrk="1" hangingPunct="1"/>
              <a:t>2</a:t>
            </a:fld>
            <a:endParaRPr lang="en-GB" altLang="de-DE" dirty="0">
              <a:solidFill>
                <a:schemeClr val="tx1"/>
              </a:solidFill>
              <a:latin typeface="Arial" panose="020B0604020202020204" pitchFamily="34" charset="0"/>
              <a:sym typeface="Arial" panose="020B0604020202020204" pitchFamily="34" charset="0"/>
            </a:endParaRPr>
          </a:p>
        </p:txBody>
      </p:sp>
      <p:sp>
        <p:nvSpPr>
          <p:cNvPr id="8195" name="Rectangle 2"/>
          <p:cNvSpPr>
            <a:spLocks noGrp="1" noRot="1" noChangeAspect="1" noChangeArrowheads="1" noTextEdit="1"/>
          </p:cNvSpPr>
          <p:nvPr>
            <p:ph type="sldImg"/>
          </p:nvPr>
        </p:nvSpPr>
        <p:spPr>
          <a:xfrm>
            <a:off x="215900" y="1001713"/>
            <a:ext cx="6669088" cy="5000625"/>
          </a:xfrm>
          <a:ln/>
        </p:spPr>
      </p:sp>
      <p:sp>
        <p:nvSpPr>
          <p:cNvPr id="8196" name="Rectangle 3"/>
          <p:cNvSpPr>
            <a:spLocks noGrp="1" noChangeArrowheads="1"/>
          </p:cNvSpPr>
          <p:nvPr>
            <p:ph type="body" idx="1"/>
          </p:nvPr>
        </p:nvSpPr>
        <p:spPr>
          <a:xfrm>
            <a:off x="710376" y="6334201"/>
            <a:ext cx="5673458" cy="5999078"/>
          </a:xfrm>
          <a:noFill/>
        </p:spPr>
        <p:txBody>
          <a:bodyPr/>
          <a:lstStyle/>
          <a:p>
            <a:pPr hangingPunct="1"/>
            <a:endParaRPr lang="en-GB" altLang="de-DE" dirty="0"/>
          </a:p>
        </p:txBody>
      </p:sp>
    </p:spTree>
    <p:extLst>
      <p:ext uri="{BB962C8B-B14F-4D97-AF65-F5344CB8AC3E}">
        <p14:creationId xmlns:p14="http://schemas.microsoft.com/office/powerpoint/2010/main" val="33523945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799E72A-FD89-4596-A8F8-76FC5CB6A101}" type="slidenum">
              <a:rPr lang="de-DE" smtClean="0"/>
              <a:pPr/>
              <a:t>21</a:t>
            </a:fld>
            <a:endParaRPr lang="de-DE"/>
          </a:p>
        </p:txBody>
      </p:sp>
    </p:spTree>
    <p:extLst>
      <p:ext uri="{BB962C8B-B14F-4D97-AF65-F5344CB8AC3E}">
        <p14:creationId xmlns:p14="http://schemas.microsoft.com/office/powerpoint/2010/main" val="36790840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200" dirty="0"/>
              <a:t>Tonspur (von FB und SW)</a:t>
            </a:r>
            <a:br>
              <a:rPr lang="de-DE" sz="1200" dirty="0"/>
            </a:br>
            <a:endParaRPr lang="de-DE" sz="1200" dirty="0"/>
          </a:p>
          <a:p>
            <a:pPr marL="296208" indent="-296208">
              <a:buFont typeface="Arial" panose="020B0604020202020204" pitchFamily="34" charset="0"/>
              <a:buChar char="•"/>
            </a:pPr>
            <a:r>
              <a:rPr lang="de-DE" sz="1200" dirty="0"/>
              <a:t>Auch die </a:t>
            </a:r>
            <a:r>
              <a:rPr lang="de-DE" sz="1200" dirty="0" err="1"/>
              <a:t>Mafo</a:t>
            </a:r>
            <a:r>
              <a:rPr lang="de-DE" sz="1200" dirty="0"/>
              <a:t> der Wiener Linien weist rund 3´% Neukunden bzw. Erstkäufer aufgrund des 365 Tickets aus</a:t>
            </a:r>
          </a:p>
          <a:p>
            <a:pPr marL="296208" indent="-296208">
              <a:buFont typeface="Arial" panose="020B0604020202020204" pitchFamily="34" charset="0"/>
              <a:buChar char="•"/>
            </a:pPr>
            <a:r>
              <a:rPr lang="de-DE" sz="1200" dirty="0"/>
              <a:t>Wesentlicher Nachfrage und Modal Split Effekt lief vor den 365 ab, insbesondere durch Angebotsausbau</a:t>
            </a:r>
          </a:p>
          <a:p>
            <a:pPr marL="296208" indent="-296208">
              <a:buFont typeface="Arial" panose="020B0604020202020204" pitchFamily="34" charset="0"/>
              <a:buChar char="•"/>
            </a:pPr>
            <a:r>
              <a:rPr lang="de-DE" sz="1200" dirty="0"/>
              <a:t>Angebotsdichte deutlich höher als in deutschen Städten</a:t>
            </a:r>
          </a:p>
          <a:p>
            <a:pPr marL="296208" indent="-296208">
              <a:buFont typeface="Arial" panose="020B0604020202020204" pitchFamily="34" charset="0"/>
              <a:buChar char="•"/>
            </a:pPr>
            <a:endParaRPr lang="de-DE" sz="1200" dirty="0"/>
          </a:p>
          <a:p>
            <a:pPr marL="296208" indent="-296208">
              <a:buFont typeface="Arial" panose="020B0604020202020204" pitchFamily="34" charset="0"/>
              <a:buChar char="•"/>
            </a:pPr>
            <a:r>
              <a:rPr lang="de-DE" sz="1200" dirty="0"/>
              <a:t>UND: 365.- sind zutiefst populistisch und undemokratisch: einmal eingeführt nicht mehr wegzubekommen! Besser 380 oder 400 EUR</a:t>
            </a:r>
          </a:p>
          <a:p>
            <a:pPr marL="296208" indent="-296208">
              <a:buFont typeface="Arial" panose="020B0604020202020204" pitchFamily="34" charset="0"/>
              <a:buChar char="•"/>
            </a:pPr>
            <a:endParaRPr lang="de-DE" sz="1200" dirty="0"/>
          </a:p>
          <a:p>
            <a:pPr marL="296208" indent="-296208">
              <a:buFont typeface="Arial" panose="020B0604020202020204" pitchFamily="34" charset="0"/>
              <a:buChar char="•"/>
            </a:pPr>
            <a:endParaRPr lang="de-DE" sz="1200" dirty="0"/>
          </a:p>
          <a:p>
            <a:pPr marL="296208" indent="-296208">
              <a:buFont typeface="Arial" panose="020B0604020202020204" pitchFamily="34" charset="0"/>
              <a:buChar char="•"/>
            </a:pPr>
            <a:r>
              <a:rPr lang="de-DE" sz="1200" dirty="0"/>
              <a:t>JUZ: Ergänzungen zu Stefans Punkten: Welche Fragen sollte man sich bei einem 365 stellen</a:t>
            </a:r>
          </a:p>
          <a:p>
            <a:pPr marL="296208" indent="-296208">
              <a:buFont typeface="Arial" panose="020B0604020202020204" pitchFamily="34" charset="0"/>
              <a:buChar char="•"/>
            </a:pPr>
            <a:endParaRPr lang="de-DE" sz="1200" dirty="0"/>
          </a:p>
          <a:p>
            <a:pPr marL="177725" indent="-177725">
              <a:buFont typeface="Arial" panose="020B0604020202020204" pitchFamily="34" charset="0"/>
              <a:buChar char="•"/>
            </a:pPr>
            <a:r>
              <a:rPr lang="de-DE" sz="1200" b="1" dirty="0"/>
              <a:t>1 Gerechtigkeitsfrage (politisch)</a:t>
            </a:r>
          </a:p>
          <a:p>
            <a:pPr marL="177725" indent="-177725">
              <a:buFont typeface="Arial" panose="020B0604020202020204" pitchFamily="34" charset="0"/>
              <a:buChar char="•"/>
            </a:pPr>
            <a:r>
              <a:rPr lang="de-DE" sz="1200" b="1" dirty="0"/>
              <a:t>2 Finanzierungsfrage (</a:t>
            </a:r>
            <a:r>
              <a:rPr lang="de-DE" sz="1200" b="1" dirty="0" err="1"/>
              <a:t>haushalterisch</a:t>
            </a:r>
            <a:r>
              <a:rPr lang="de-DE" sz="1200" b="1" dirty="0"/>
              <a:t> und politisch)</a:t>
            </a:r>
          </a:p>
          <a:p>
            <a:pPr marL="651659" lvl="1" indent="-177725"/>
            <a:r>
              <a:rPr lang="de-DE" sz="1200" dirty="0"/>
              <a:t>Wie wird Verbesserung des ÖV Angebots finanziert?</a:t>
            </a:r>
          </a:p>
          <a:p>
            <a:pPr marL="651659" lvl="1" indent="-177725"/>
            <a:r>
              <a:rPr lang="de-DE" sz="1200" dirty="0"/>
              <a:t>Wie wichtig ist einem die kommunale Steuerung der Preise? (lock-in Effekt)</a:t>
            </a:r>
          </a:p>
          <a:p>
            <a:pPr marL="177725" indent="-177725">
              <a:buFont typeface="Arial" panose="020B0604020202020204" pitchFamily="34" charset="0"/>
              <a:buChar char="•"/>
            </a:pPr>
            <a:r>
              <a:rPr lang="de-DE" sz="1200" b="1" dirty="0"/>
              <a:t>3 Impact/Steuerungsfrage (politisch und ökonomisch „</a:t>
            </a:r>
            <a:r>
              <a:rPr lang="de-DE" sz="1200" b="1" dirty="0" err="1"/>
              <a:t>data</a:t>
            </a:r>
            <a:r>
              <a:rPr lang="de-DE" sz="1200" b="1" dirty="0"/>
              <a:t>, </a:t>
            </a:r>
            <a:r>
              <a:rPr lang="de-DE" sz="1200" b="1" dirty="0" err="1"/>
              <a:t>models</a:t>
            </a:r>
            <a:r>
              <a:rPr lang="de-DE" sz="1200" b="1" dirty="0"/>
              <a:t> &amp; </a:t>
            </a:r>
            <a:r>
              <a:rPr lang="de-DE" sz="1200" b="1" dirty="0" err="1"/>
              <a:t>values</a:t>
            </a:r>
            <a:r>
              <a:rPr lang="de-DE" sz="1200" b="1" dirty="0"/>
              <a:t>“)</a:t>
            </a:r>
          </a:p>
          <a:p>
            <a:pPr marL="296208" indent="-296208">
              <a:buFont typeface="Arial" panose="020B0604020202020204" pitchFamily="34" charset="0"/>
              <a:buChar char="•"/>
            </a:pPr>
            <a:r>
              <a:rPr lang="de-DE" sz="1200" dirty="0"/>
              <a:t>- 3a (Fahrgäste (Handlungsveränderung bei Preisabsenkung) (Modal Split) </a:t>
            </a:r>
          </a:p>
          <a:p>
            <a:pPr marL="296208" indent="-296208">
              <a:buFont typeface="Arial" panose="020B0604020202020204" pitchFamily="34" charset="0"/>
              <a:buChar char="•"/>
            </a:pPr>
            <a:r>
              <a:rPr lang="de-DE" sz="1200" dirty="0"/>
              <a:t>– 3b Umsetzung(Kapazität und Koordination)</a:t>
            </a:r>
          </a:p>
          <a:p>
            <a:pPr marL="296208" indent="-296208">
              <a:buFont typeface="Arial" panose="020B0604020202020204" pitchFamily="34" charset="0"/>
              <a:buChar char="•"/>
            </a:pPr>
            <a:r>
              <a:rPr lang="de-DE" sz="1200" dirty="0"/>
              <a:t>- 3c Verkehrswende/Co2 Emissionen</a:t>
            </a:r>
          </a:p>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22</a:t>
            </a:fld>
            <a:endParaRPr lang="de-DE" dirty="0"/>
          </a:p>
        </p:txBody>
      </p:sp>
    </p:spTree>
    <p:extLst>
      <p:ext uri="{BB962C8B-B14F-4D97-AF65-F5344CB8AC3E}">
        <p14:creationId xmlns:p14="http://schemas.microsoft.com/office/powerpoint/2010/main" val="30207056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23</a:t>
            </a:fld>
            <a:endParaRPr lang="de-DE"/>
          </a:p>
        </p:txBody>
      </p:sp>
    </p:spTree>
    <p:extLst>
      <p:ext uri="{BB962C8B-B14F-4D97-AF65-F5344CB8AC3E}">
        <p14:creationId xmlns:p14="http://schemas.microsoft.com/office/powerpoint/2010/main" val="19306503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49288" y="574675"/>
            <a:ext cx="6588125" cy="4940300"/>
          </a:xfrm>
        </p:spPr>
      </p:sp>
      <p:sp>
        <p:nvSpPr>
          <p:cNvPr id="3" name="Notizenplatzhalter 2"/>
          <p:cNvSpPr>
            <a:spLocks noGrp="1"/>
          </p:cNvSpPr>
          <p:nvPr>
            <p:ph type="body" idx="1"/>
          </p:nvPr>
        </p:nvSpPr>
        <p:spPr/>
        <p:txBody>
          <a:bodyPr/>
          <a:lstStyle/>
          <a:p>
            <a:pPr defTabSz="947867">
              <a:defRPr/>
            </a:pPr>
            <a:r>
              <a:rPr lang="de-DE" sz="1500" dirty="0"/>
              <a:t>Bei Interesse noch Folie 41 aus Back-Up zu internationalen Beispielen zeigen</a:t>
            </a:r>
          </a:p>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24</a:t>
            </a:fld>
            <a:endParaRPr lang="de-DE"/>
          </a:p>
        </p:txBody>
      </p:sp>
    </p:spTree>
    <p:extLst>
      <p:ext uri="{BB962C8B-B14F-4D97-AF65-F5344CB8AC3E}">
        <p14:creationId xmlns:p14="http://schemas.microsoft.com/office/powerpoint/2010/main" val="19408414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r>
              <a:rPr lang="de-DE" dirty="0"/>
              <a:t>NEU = Neu im DACH-Raum</a:t>
            </a:r>
          </a:p>
          <a:p>
            <a:endParaRPr lang="de-DE" dirty="0"/>
          </a:p>
          <a:p>
            <a:r>
              <a:rPr lang="de-DE" dirty="0"/>
              <a:t>Einnahmen aus Parkgebühren (und weiteren Investitionen) müssen ebenfalls den ÖPNV zugeführt werden, bei Gebühren und Beiträgen können in den Satzungen im ALLGEMEINEN jedoch Nutzungszwecke angegeben werden (im Detail zu prüfen)</a:t>
            </a:r>
          </a:p>
          <a:p>
            <a:endParaRPr lang="de-DE" sz="1500" dirty="0"/>
          </a:p>
          <a:p>
            <a:r>
              <a:rPr lang="de-DE" sz="1500" dirty="0"/>
              <a:t>Rech toffen diskutieren: </a:t>
            </a:r>
          </a:p>
          <a:p>
            <a:endParaRPr lang="de-DE" sz="1500" dirty="0"/>
          </a:p>
          <a:p>
            <a:r>
              <a:rPr lang="de-DE" sz="1500" dirty="0"/>
              <a:t>Umsetzungsgeschwindigkeit und politische Spielräume im Hinblick auf die jeweiligen Maßnahmen </a:t>
            </a:r>
            <a:r>
              <a:rPr lang="de-DE" sz="1500" dirty="0" err="1"/>
              <a:t>aussschaut</a:t>
            </a:r>
            <a:r>
              <a:rPr lang="de-DE" sz="1500" dirty="0"/>
              <a:t>.  </a:t>
            </a:r>
          </a:p>
          <a:p>
            <a:endParaRPr lang="de-DE" sz="1500" dirty="0"/>
          </a:p>
          <a:p>
            <a:pPr marL="296208" indent="-296208">
              <a:buFontTx/>
              <a:buChar char="-"/>
            </a:pPr>
            <a:r>
              <a:rPr lang="de-DE" sz="1500" dirty="0"/>
              <a:t>Arbeitgeberabgabe: Für </a:t>
            </a:r>
            <a:r>
              <a:rPr lang="de-DE" sz="1500" dirty="0" err="1"/>
              <a:t>FRAnkfurt</a:t>
            </a:r>
            <a:r>
              <a:rPr lang="de-DE" sz="1500" dirty="0"/>
              <a:t>: Die Arbeitgeber/Arbeitnehmerabgabe ist finanzverfassungsrechtlich am ehesten als Beitrag einzuordnen. </a:t>
            </a:r>
          </a:p>
          <a:p>
            <a:pPr marL="485453" lvl="1" indent="-296208">
              <a:buFontTx/>
              <a:buChar char="-"/>
            </a:pPr>
            <a:r>
              <a:rPr lang="de-DE" sz="1500" dirty="0"/>
              <a:t>Das Hessische Kommunalabgabengesetz (HKAG) müsste entsprechend geändert werden. Grundrechtliche Eingriffe durch die Beitragserhebung, z.B. in die Eigentumsgarantie nach Art. 14 Grundgesetz, wären gerechtfertigt, wenn nachweisbar ist, dass die Maßnahme umweltschädliche Einwirkungen verringert oder verhindert und dadurch dem Schutz z.B. der menschlichen Gesundheit dient (OVG Rechtsprechung und auch Bundesverwaltungsgericht in 2018</a:t>
            </a:r>
          </a:p>
          <a:p>
            <a:pPr marL="485453" lvl="1" indent="-296208">
              <a:buFontTx/>
              <a:buChar char="-"/>
            </a:pPr>
            <a:r>
              <a:rPr lang="de-DE" sz="1500" dirty="0"/>
              <a:t>Beispiele: </a:t>
            </a:r>
            <a:r>
              <a:rPr lang="de-DE" sz="1500" dirty="0" err="1"/>
              <a:t>Frankreiceh</a:t>
            </a:r>
            <a:r>
              <a:rPr lang="de-DE" sz="1500" dirty="0"/>
              <a:t>: </a:t>
            </a:r>
            <a:r>
              <a:rPr lang="de-DE" sz="1500" dirty="0" err="1"/>
              <a:t>versement</a:t>
            </a:r>
            <a:r>
              <a:rPr lang="de-DE" sz="1500" dirty="0"/>
              <a:t> </a:t>
            </a:r>
            <a:r>
              <a:rPr lang="de-DE" sz="1500" dirty="0" err="1"/>
              <a:t>transport</a:t>
            </a:r>
            <a:r>
              <a:rPr lang="de-DE" sz="1500" dirty="0"/>
              <a:t> (prozentual zur Lohnsumme, 6,9 Mrd.), Nottingham </a:t>
            </a:r>
            <a:r>
              <a:rPr lang="de-DE" sz="1500" dirty="0" err="1"/>
              <a:t>Workplace</a:t>
            </a:r>
            <a:r>
              <a:rPr lang="de-DE" sz="1500" dirty="0"/>
              <a:t> </a:t>
            </a:r>
            <a:r>
              <a:rPr lang="de-DE" sz="1500" dirty="0" err="1"/>
              <a:t>Parking</a:t>
            </a:r>
            <a:r>
              <a:rPr lang="de-DE" sz="1500" dirty="0"/>
              <a:t> Levy (10,8 </a:t>
            </a:r>
            <a:r>
              <a:rPr lang="de-DE" sz="1500" dirty="0" err="1"/>
              <a:t>Mio</a:t>
            </a:r>
            <a:r>
              <a:rPr lang="de-DE" sz="1500" dirty="0"/>
              <a:t>)</a:t>
            </a:r>
          </a:p>
          <a:p>
            <a:pPr marL="296208" indent="-296208" defTabSz="947867">
              <a:buFontTx/>
              <a:buChar char="-"/>
              <a:defRPr/>
            </a:pPr>
            <a:r>
              <a:rPr lang="de-DE" sz="1500" dirty="0"/>
              <a:t>Parken: Die Grenzen des Verhältnismäßigkeitsgrundsatzes und des Willkürgebotes sind dabei einzuhalten, so dass die konkrete Ausgestaltung zur Höhe und räumlichen Ausdehnung noch näher zu prüfen ist. Z. T. stellt die Rechtsprechung daran keine allzu hohen Ansprüche, womit eine gewisse Ausgestaltungsfreiheit gegeben ist.</a:t>
            </a:r>
          </a:p>
          <a:p>
            <a:pPr marL="296208" indent="-296208" defTabSz="947867">
              <a:buFontTx/>
              <a:buChar char="-"/>
              <a:defRPr/>
            </a:pPr>
            <a:r>
              <a:rPr lang="de-DE" sz="1500" dirty="0"/>
              <a:t>Entscheidung des VG Wiesbaden zum Dieselfahrverbot, in dem eine Aufnahme des Parkraumbewirtschaftungskonzeptes in den Luftreinhalteplan angeordnet wurde. Die Erhebung der Parkgebühr würde ja nicht nur durch die Lenkungswirkung den Zielen des § 1 BImSchG, z.B. Schutz der Gesundheit, zugutekommen, sondern die Ziele würden auch dadurch, dass die Einnahmen für den ÖPNV genutzt werden mit der Folge eines besseren Angebotes des ÖPNV, weiter verfolgt.   (</a:t>
            </a:r>
            <a:r>
              <a:rPr lang="de-DE" sz="1500" dirty="0" err="1"/>
              <a:t>problem</a:t>
            </a:r>
            <a:r>
              <a:rPr lang="de-DE" sz="1500" dirty="0"/>
              <a:t> Parkhäuser)</a:t>
            </a:r>
          </a:p>
          <a:p>
            <a:pPr marL="296208" indent="-296208" defTabSz="947867">
              <a:buFontTx/>
              <a:buChar char="-"/>
              <a:defRPr/>
            </a:pPr>
            <a:r>
              <a:rPr lang="de-DE" sz="1500" b="1" dirty="0"/>
              <a:t>Konzessionsabgabe durch Anbieter neuer Mobilität (eher unwahrscheinlich durchsetzbar), OVG Hamburg 2009 sagt auch „</a:t>
            </a:r>
            <a:r>
              <a:rPr lang="de-DE" sz="1500" dirty="0"/>
              <a:t>Das Aufstellen der Fahrräder dürfte auch nicht deshalb aus der Widmung zum Verkehr und damit aus dem einschlägigen Gemeingebrauch herausfallen, weil es sich um Mietfahrräder handelt“</a:t>
            </a:r>
            <a:endParaRPr lang="de-DE" sz="1500" b="1" dirty="0"/>
          </a:p>
          <a:p>
            <a:pPr marL="296208" indent="-296208" defTabSz="947867">
              <a:buFontTx/>
              <a:buChar char="-"/>
              <a:defRPr/>
            </a:pPr>
            <a:r>
              <a:rPr lang="de-DE" sz="1500" dirty="0"/>
              <a:t>Bei größeren Mengen </a:t>
            </a:r>
            <a:r>
              <a:rPr lang="de-DE" sz="1500"/>
              <a:t>gibt’s vielleicht </a:t>
            </a:r>
            <a:r>
              <a:rPr lang="de-DE" sz="1500" dirty="0"/>
              <a:t>die Möglichkeit eine Sondernutzungsgebühr zu prüfen. Diese wäre dann unter dem Aspekt der Gleichbehandlung nach Art. 3 Grundgesetz von allen Anbietern von zu mietenden Rädern, Scootern sowie anderen Verkehrsmitteln. </a:t>
            </a:r>
          </a:p>
          <a:p>
            <a:pPr marL="296208" indent="-296208" defTabSz="947867">
              <a:buFontTx/>
              <a:buChar char="-"/>
              <a:defRPr/>
            </a:pPr>
            <a:r>
              <a:rPr lang="de-DE" sz="1500" dirty="0"/>
              <a:t>Übernachtungspauschale: Um Touristen an den Kosten des ÖPNV zu beteiligen (Gesetzesänderung zumindest in </a:t>
            </a:r>
            <a:r>
              <a:rPr lang="de-DE" sz="1500" dirty="0" err="1"/>
              <a:t>hessen</a:t>
            </a:r>
            <a:r>
              <a:rPr lang="de-DE" sz="1500" dirty="0"/>
              <a:t> notwendig)</a:t>
            </a:r>
          </a:p>
          <a:p>
            <a:pPr marL="296208" indent="-296208">
              <a:buFontTx/>
              <a:buChar char="-"/>
            </a:pPr>
            <a:endParaRPr lang="de-DE" sz="1500" dirty="0"/>
          </a:p>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25</a:t>
            </a:fld>
            <a:endParaRPr lang="de-DE"/>
          </a:p>
        </p:txBody>
      </p:sp>
    </p:spTree>
    <p:extLst>
      <p:ext uri="{BB962C8B-B14F-4D97-AF65-F5344CB8AC3E}">
        <p14:creationId xmlns:p14="http://schemas.microsoft.com/office/powerpoint/2010/main" val="16591322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500" dirty="0">
              <a:sym typeface="Wingdings" panose="05000000000000000000" pitchFamily="2" charset="2"/>
            </a:endParaRPr>
          </a:p>
          <a:p>
            <a:r>
              <a:rPr lang="de-DE" sz="1500" b="1" dirty="0">
                <a:sym typeface="Wingdings" panose="05000000000000000000" pitchFamily="2" charset="2"/>
              </a:rPr>
              <a:t>Nebenbemerkung</a:t>
            </a:r>
            <a:r>
              <a:rPr lang="de-DE" sz="1500" dirty="0">
                <a:sym typeface="Wingdings" panose="05000000000000000000" pitchFamily="2" charset="2"/>
              </a:rPr>
              <a:t>: Interessant wären aus grüner Sicht auch die direkten Effekte der Instrumente auf Emissionen, auch wenn natürlich eine Finanzierung der ÖV erwartbar Emissionen reduziert (allerdings halt erst im zweiten Schritt) </a:t>
            </a:r>
            <a:endParaRPr lang="de-DE" sz="1500" dirty="0"/>
          </a:p>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26</a:t>
            </a:fld>
            <a:endParaRPr lang="de-DE" dirty="0"/>
          </a:p>
        </p:txBody>
      </p:sp>
    </p:spTree>
    <p:extLst>
      <p:ext uri="{BB962C8B-B14F-4D97-AF65-F5344CB8AC3E}">
        <p14:creationId xmlns:p14="http://schemas.microsoft.com/office/powerpoint/2010/main" val="16340651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0900" y="511175"/>
            <a:ext cx="5846763" cy="43846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28</a:t>
            </a:fld>
            <a:endParaRPr lang="de-DE"/>
          </a:p>
        </p:txBody>
      </p:sp>
    </p:spTree>
    <p:extLst>
      <p:ext uri="{BB962C8B-B14F-4D97-AF65-F5344CB8AC3E}">
        <p14:creationId xmlns:p14="http://schemas.microsoft.com/office/powerpoint/2010/main" val="12231671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2700" y="676275"/>
            <a:ext cx="7767638" cy="582453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29</a:t>
            </a:fld>
            <a:endParaRPr lang="de-DE"/>
          </a:p>
        </p:txBody>
      </p:sp>
    </p:spTree>
    <p:extLst>
      <p:ext uri="{BB962C8B-B14F-4D97-AF65-F5344CB8AC3E}">
        <p14:creationId xmlns:p14="http://schemas.microsoft.com/office/powerpoint/2010/main" val="5058297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truktur</a:t>
            </a:r>
          </a:p>
        </p:txBody>
      </p:sp>
      <p:sp>
        <p:nvSpPr>
          <p:cNvPr id="4" name="Foliennummernplatzhalter 3"/>
          <p:cNvSpPr>
            <a:spLocks noGrp="1"/>
          </p:cNvSpPr>
          <p:nvPr>
            <p:ph type="sldNum" sz="quarter" idx="5"/>
          </p:nvPr>
        </p:nvSpPr>
        <p:spPr/>
        <p:txBody>
          <a:bodyPr/>
          <a:lstStyle/>
          <a:p>
            <a:fld id="{6799E72A-FD89-4596-A8F8-76FC5CB6A101}" type="slidenum">
              <a:rPr lang="de-DE" smtClean="0"/>
              <a:pPr/>
              <a:t>30</a:t>
            </a:fld>
            <a:endParaRPr lang="de-DE" dirty="0"/>
          </a:p>
        </p:txBody>
      </p:sp>
    </p:spTree>
    <p:extLst>
      <p:ext uri="{BB962C8B-B14F-4D97-AF65-F5344CB8AC3E}">
        <p14:creationId xmlns:p14="http://schemas.microsoft.com/office/powerpoint/2010/main" val="30675977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6775" y="514350"/>
            <a:ext cx="5881688" cy="441166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31</a:t>
            </a:fld>
            <a:endParaRPr lang="de-DE" dirty="0"/>
          </a:p>
        </p:txBody>
      </p:sp>
    </p:spTree>
    <p:extLst>
      <p:ext uri="{BB962C8B-B14F-4D97-AF65-F5344CB8AC3E}">
        <p14:creationId xmlns:p14="http://schemas.microsoft.com/office/powerpoint/2010/main" val="19838643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24465" eaLnBrk="0" hangingPunct="0">
              <a:defRPr sz="1100">
                <a:solidFill>
                  <a:schemeClr val="tx2"/>
                </a:solidFill>
                <a:latin typeface="Verdana" pitchFamily="34" charset="0"/>
              </a:defRPr>
            </a:lvl1pPr>
            <a:lvl2pPr marL="715122" indent="-275047" defTabSz="924465" eaLnBrk="0" hangingPunct="0">
              <a:defRPr sz="1100">
                <a:solidFill>
                  <a:schemeClr val="tx2"/>
                </a:solidFill>
                <a:latin typeface="Verdana" pitchFamily="34" charset="0"/>
              </a:defRPr>
            </a:lvl2pPr>
            <a:lvl3pPr marL="1100189" indent="-220037" defTabSz="924465" eaLnBrk="0" hangingPunct="0">
              <a:defRPr sz="1100">
                <a:solidFill>
                  <a:schemeClr val="tx2"/>
                </a:solidFill>
                <a:latin typeface="Verdana" pitchFamily="34" charset="0"/>
              </a:defRPr>
            </a:lvl3pPr>
            <a:lvl4pPr marL="1540263" indent="-220037" defTabSz="924465" eaLnBrk="0" hangingPunct="0">
              <a:defRPr sz="1100">
                <a:solidFill>
                  <a:schemeClr val="tx2"/>
                </a:solidFill>
                <a:latin typeface="Verdana" pitchFamily="34" charset="0"/>
              </a:defRPr>
            </a:lvl4pPr>
            <a:lvl5pPr marL="1980338" indent="-220037" defTabSz="924465" eaLnBrk="0" hangingPunct="0">
              <a:defRPr sz="1100">
                <a:solidFill>
                  <a:schemeClr val="tx2"/>
                </a:solidFill>
                <a:latin typeface="Verdana" pitchFamily="34" charset="0"/>
              </a:defRPr>
            </a:lvl5pPr>
            <a:lvl6pPr marL="2420413" indent="-220037" defTabSz="924465" eaLnBrk="0" fontAlgn="base" hangingPunct="0">
              <a:lnSpc>
                <a:spcPct val="110000"/>
              </a:lnSpc>
              <a:spcBef>
                <a:spcPct val="50000"/>
              </a:spcBef>
              <a:spcAft>
                <a:spcPct val="0"/>
              </a:spcAft>
              <a:buClr>
                <a:schemeClr val="tx2"/>
              </a:buClr>
              <a:buFont typeface="Wingdings" pitchFamily="2" charset="2"/>
              <a:defRPr sz="1100">
                <a:solidFill>
                  <a:schemeClr val="tx2"/>
                </a:solidFill>
                <a:latin typeface="Verdana" pitchFamily="34" charset="0"/>
              </a:defRPr>
            </a:lvl6pPr>
            <a:lvl7pPr marL="2860490" indent="-220037" defTabSz="924465" eaLnBrk="0" fontAlgn="base" hangingPunct="0">
              <a:lnSpc>
                <a:spcPct val="110000"/>
              </a:lnSpc>
              <a:spcBef>
                <a:spcPct val="50000"/>
              </a:spcBef>
              <a:spcAft>
                <a:spcPct val="0"/>
              </a:spcAft>
              <a:buClr>
                <a:schemeClr val="tx2"/>
              </a:buClr>
              <a:buFont typeface="Wingdings" pitchFamily="2" charset="2"/>
              <a:defRPr sz="1100">
                <a:solidFill>
                  <a:schemeClr val="tx2"/>
                </a:solidFill>
                <a:latin typeface="Verdana" pitchFamily="34" charset="0"/>
              </a:defRPr>
            </a:lvl7pPr>
            <a:lvl8pPr marL="3300567" indent="-220037" defTabSz="924465" eaLnBrk="0" fontAlgn="base" hangingPunct="0">
              <a:lnSpc>
                <a:spcPct val="110000"/>
              </a:lnSpc>
              <a:spcBef>
                <a:spcPct val="50000"/>
              </a:spcBef>
              <a:spcAft>
                <a:spcPct val="0"/>
              </a:spcAft>
              <a:buClr>
                <a:schemeClr val="tx2"/>
              </a:buClr>
              <a:buFont typeface="Wingdings" pitchFamily="2" charset="2"/>
              <a:defRPr sz="1100">
                <a:solidFill>
                  <a:schemeClr val="tx2"/>
                </a:solidFill>
                <a:latin typeface="Verdana" pitchFamily="34" charset="0"/>
              </a:defRPr>
            </a:lvl8pPr>
            <a:lvl9pPr marL="3740642" indent="-220037" defTabSz="924465" eaLnBrk="0" fontAlgn="base" hangingPunct="0">
              <a:lnSpc>
                <a:spcPct val="110000"/>
              </a:lnSpc>
              <a:spcBef>
                <a:spcPct val="50000"/>
              </a:spcBef>
              <a:spcAft>
                <a:spcPct val="0"/>
              </a:spcAft>
              <a:buClr>
                <a:schemeClr val="tx2"/>
              </a:buClr>
              <a:buFont typeface="Wingdings" pitchFamily="2" charset="2"/>
              <a:defRPr sz="1100">
                <a:solidFill>
                  <a:schemeClr val="tx2"/>
                </a:solidFill>
                <a:latin typeface="Verdana" pitchFamily="34" charset="0"/>
              </a:defRPr>
            </a:lvl9pPr>
          </a:lstStyle>
          <a:p>
            <a:pPr eaLnBrk="1" hangingPunct="1"/>
            <a:fld id="{8DB532CB-2033-46A2-8159-C398009A2430}" type="slidenum">
              <a:rPr lang="en-GB" altLang="de-DE" sz="1000">
                <a:solidFill>
                  <a:schemeClr val="tx1"/>
                </a:solidFill>
                <a:latin typeface="Arial" panose="020B0604020202020204" pitchFamily="34" charset="0"/>
              </a:rPr>
              <a:pPr eaLnBrk="1" hangingPunct="1"/>
              <a:t>3</a:t>
            </a:fld>
            <a:endParaRPr lang="en-GB" altLang="de-DE" sz="1000">
              <a:solidFill>
                <a:schemeClr val="tx1"/>
              </a:solidFill>
              <a:latin typeface="Arial" panose="020B0604020202020204" pitchFamily="34" charset="0"/>
            </a:endParaRPr>
          </a:p>
        </p:txBody>
      </p:sp>
      <p:sp>
        <p:nvSpPr>
          <p:cNvPr id="8195" name="Rectangle 2"/>
          <p:cNvSpPr>
            <a:spLocks noGrp="1" noRot="1" noChangeAspect="1" noChangeArrowheads="1" noTextEdit="1"/>
          </p:cNvSpPr>
          <p:nvPr>
            <p:ph type="sldImg"/>
          </p:nvPr>
        </p:nvSpPr>
        <p:spPr>
          <a:xfrm>
            <a:off x="449263" y="895350"/>
            <a:ext cx="5957887" cy="4467225"/>
          </a:xfrm>
          <a:ln/>
        </p:spPr>
      </p:sp>
      <p:sp>
        <p:nvSpPr>
          <p:cNvPr id="8196" name="Rectangle 3"/>
          <p:cNvSpPr>
            <a:spLocks noGrp="1" noChangeArrowheads="1"/>
          </p:cNvSpPr>
          <p:nvPr>
            <p:ph type="body" idx="1"/>
          </p:nvPr>
        </p:nvSpPr>
        <p:spPr>
          <a:xfrm>
            <a:off x="686229" y="5659219"/>
            <a:ext cx="5480622" cy="5359807"/>
          </a:xfrm>
          <a:noFill/>
        </p:spPr>
        <p:txBody>
          <a:bodyPr/>
          <a:lstStyle/>
          <a:p>
            <a:pPr defTabSz="947867">
              <a:defRPr/>
            </a:pPr>
            <a:r>
              <a:rPr lang="de-DE" sz="1500" dirty="0"/>
              <a:t>Politisch relevante und  „grüne“ Projekte hervorheben</a:t>
            </a:r>
          </a:p>
          <a:p>
            <a:pPr eaLnBrk="1" hangingPunct="1"/>
            <a:endParaRPr lang="en-GB" altLang="de-DE" dirty="0"/>
          </a:p>
        </p:txBody>
      </p:sp>
    </p:spTree>
    <p:extLst>
      <p:ext uri="{BB962C8B-B14F-4D97-AF65-F5344CB8AC3E}">
        <p14:creationId xmlns:p14="http://schemas.microsoft.com/office/powerpoint/2010/main" val="35265633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46113" y="576263"/>
            <a:ext cx="6584950" cy="4938712"/>
          </a:xfrm>
        </p:spPr>
      </p:sp>
      <p:sp>
        <p:nvSpPr>
          <p:cNvPr id="3" name="Notizenplatzhalter 2"/>
          <p:cNvSpPr>
            <a:spLocks noGrp="1"/>
          </p:cNvSpPr>
          <p:nvPr>
            <p:ph type="body" idx="1"/>
          </p:nvPr>
        </p:nvSpPr>
        <p:spPr/>
        <p:txBody>
          <a:bodyPr/>
          <a:lstStyle/>
          <a:p>
            <a:r>
              <a:rPr lang="de-DE" dirty="0"/>
              <a:t>geschwindigkeitsgewichtet</a:t>
            </a:r>
          </a:p>
        </p:txBody>
      </p:sp>
      <p:sp>
        <p:nvSpPr>
          <p:cNvPr id="4" name="Foliennummernplatzhalter 3"/>
          <p:cNvSpPr>
            <a:spLocks noGrp="1"/>
          </p:cNvSpPr>
          <p:nvPr>
            <p:ph type="sldNum" sz="quarter" idx="10"/>
          </p:nvPr>
        </p:nvSpPr>
        <p:spPr/>
        <p:txBody>
          <a:bodyPr/>
          <a:lstStyle/>
          <a:p>
            <a:fld id="{6799E72A-FD89-4596-A8F8-76FC5CB6A101}" type="slidenum">
              <a:rPr lang="de-DE" smtClean="0"/>
              <a:pPr/>
              <a:t>32</a:t>
            </a:fld>
            <a:endParaRPr lang="de-DE" dirty="0"/>
          </a:p>
        </p:txBody>
      </p:sp>
    </p:spTree>
    <p:extLst>
      <p:ext uri="{BB962C8B-B14F-4D97-AF65-F5344CB8AC3E}">
        <p14:creationId xmlns:p14="http://schemas.microsoft.com/office/powerpoint/2010/main" val="6407609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2013" y="514350"/>
            <a:ext cx="5884862" cy="4413250"/>
          </a:xfrm>
        </p:spPr>
      </p:sp>
      <p:sp>
        <p:nvSpPr>
          <p:cNvPr id="3" name="Notizenplatzhalter 2"/>
          <p:cNvSpPr>
            <a:spLocks noGrp="1"/>
          </p:cNvSpPr>
          <p:nvPr>
            <p:ph type="body" idx="1"/>
          </p:nvPr>
        </p:nvSpPr>
        <p:spPr/>
        <p:txBody>
          <a:bodyPr/>
          <a:lstStyle/>
          <a:p>
            <a:r>
              <a:rPr lang="de-DE" dirty="0"/>
              <a:t>Nicht Geschwindigkeitsgewichtet, also ohne Abgrenzung Schienenanteil/Schienenbonus!</a:t>
            </a:r>
          </a:p>
        </p:txBody>
      </p:sp>
      <p:sp>
        <p:nvSpPr>
          <p:cNvPr id="4" name="Foliennummernplatzhalter 3"/>
          <p:cNvSpPr>
            <a:spLocks noGrp="1"/>
          </p:cNvSpPr>
          <p:nvPr>
            <p:ph type="sldNum" sz="quarter" idx="10"/>
          </p:nvPr>
        </p:nvSpPr>
        <p:spPr/>
        <p:txBody>
          <a:bodyPr/>
          <a:lstStyle/>
          <a:p>
            <a:fld id="{6799E72A-FD89-4596-A8F8-76FC5CB6A101}" type="slidenum">
              <a:rPr lang="de-DE" smtClean="0"/>
              <a:pPr/>
              <a:t>33</a:t>
            </a:fld>
            <a:endParaRPr lang="de-DE" dirty="0"/>
          </a:p>
        </p:txBody>
      </p:sp>
    </p:spTree>
    <p:extLst>
      <p:ext uri="{BB962C8B-B14F-4D97-AF65-F5344CB8AC3E}">
        <p14:creationId xmlns:p14="http://schemas.microsoft.com/office/powerpoint/2010/main" val="1921967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81025" y="558800"/>
            <a:ext cx="6388100" cy="47910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34</a:t>
            </a:fld>
            <a:endParaRPr lang="de-DE" dirty="0"/>
          </a:p>
        </p:txBody>
      </p:sp>
    </p:spTree>
    <p:extLst>
      <p:ext uri="{BB962C8B-B14F-4D97-AF65-F5344CB8AC3E}">
        <p14:creationId xmlns:p14="http://schemas.microsoft.com/office/powerpoint/2010/main" val="9118939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6775" y="514350"/>
            <a:ext cx="5881688" cy="441166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a:solidFill>
                  <a:prstClr val="black"/>
                </a:solidFill>
                <a:latin typeface="Calibri"/>
              </a:rPr>
              <a:pPr/>
              <a:t>35</a:t>
            </a:fld>
            <a:endParaRPr lang="de-DE" dirty="0">
              <a:solidFill>
                <a:prstClr val="black"/>
              </a:solidFill>
              <a:latin typeface="Calibri"/>
            </a:endParaRPr>
          </a:p>
        </p:txBody>
      </p:sp>
    </p:spTree>
    <p:extLst>
      <p:ext uri="{BB962C8B-B14F-4D97-AF65-F5344CB8AC3E}">
        <p14:creationId xmlns:p14="http://schemas.microsoft.com/office/powerpoint/2010/main" val="37581580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37</a:t>
            </a:fld>
            <a:endParaRPr lang="de-DE" dirty="0"/>
          </a:p>
        </p:txBody>
      </p:sp>
    </p:spTree>
    <p:extLst>
      <p:ext uri="{BB962C8B-B14F-4D97-AF65-F5344CB8AC3E}">
        <p14:creationId xmlns:p14="http://schemas.microsoft.com/office/powerpoint/2010/main" val="38156398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5188" y="514350"/>
            <a:ext cx="5883275" cy="44132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38</a:t>
            </a:fld>
            <a:endParaRPr lang="de-DE"/>
          </a:p>
        </p:txBody>
      </p:sp>
    </p:spTree>
    <p:extLst>
      <p:ext uri="{BB962C8B-B14F-4D97-AF65-F5344CB8AC3E}">
        <p14:creationId xmlns:p14="http://schemas.microsoft.com/office/powerpoint/2010/main" val="36423769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pPr marL="189244" lvl="2" indent="0">
              <a:buNone/>
            </a:pPr>
            <a:r>
              <a:rPr lang="de-DE" sz="1500" dirty="0"/>
              <a:t>Erläuterung zusammen mit Folgefolie (geografisch)!</a:t>
            </a:r>
          </a:p>
          <a:p>
            <a:pPr marL="189244" lvl="2" indent="0">
              <a:buNone/>
            </a:pPr>
            <a:r>
              <a:rPr lang="de-DE" sz="1500" dirty="0"/>
              <a:t>Dazu Einnahmen:</a:t>
            </a:r>
          </a:p>
          <a:p>
            <a:pPr lvl="2"/>
            <a:r>
              <a:rPr lang="de-DE" sz="1500" dirty="0"/>
              <a:t>Im Jahr 2018 erzielte Wien Einnahmen aus Parkgebühren in der Höhe von rund 120,2 Mio. €</a:t>
            </a:r>
          </a:p>
          <a:p>
            <a:pPr lvl="2"/>
            <a:r>
              <a:rPr lang="de-DE" sz="1500" dirty="0"/>
              <a:t>Die Einnahmen aus Strafgebühren beliefen sich auf rund 66,4 Mio. €</a:t>
            </a:r>
          </a:p>
          <a:p>
            <a:pPr lvl="2"/>
            <a:r>
              <a:rPr lang="de-DE" sz="1500" dirty="0"/>
              <a:t>Insgesamt Steigerung um 56% von 2011 bis 2018</a:t>
            </a:r>
          </a:p>
          <a:p>
            <a:pPr lvl="2"/>
            <a:r>
              <a:rPr lang="de-DE" sz="1500" dirty="0"/>
              <a:t>Pro Einwohner werden rund 100 € pro Jahr mit der Parkraumbewirtschaftung eingenommen</a:t>
            </a:r>
          </a:p>
        </p:txBody>
      </p:sp>
      <p:sp>
        <p:nvSpPr>
          <p:cNvPr id="4" name="Foliennummernplatzhalter 3"/>
          <p:cNvSpPr>
            <a:spLocks noGrp="1"/>
          </p:cNvSpPr>
          <p:nvPr>
            <p:ph type="sldNum" sz="quarter" idx="5"/>
          </p:nvPr>
        </p:nvSpPr>
        <p:spPr/>
        <p:txBody>
          <a:bodyPr/>
          <a:lstStyle/>
          <a:p>
            <a:fld id="{6799E72A-FD89-4596-A8F8-76FC5CB6A101}" type="slidenum">
              <a:rPr lang="de-DE" smtClean="0"/>
              <a:pPr/>
              <a:t>40</a:t>
            </a:fld>
            <a:endParaRPr lang="de-DE" dirty="0"/>
          </a:p>
        </p:txBody>
      </p:sp>
    </p:spTree>
    <p:extLst>
      <p:ext uri="{BB962C8B-B14F-4D97-AF65-F5344CB8AC3E}">
        <p14:creationId xmlns:p14="http://schemas.microsoft.com/office/powerpoint/2010/main" val="35303931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5188" y="514350"/>
            <a:ext cx="5883275" cy="4413250"/>
          </a:xfrm>
        </p:spPr>
      </p:sp>
      <p:sp>
        <p:nvSpPr>
          <p:cNvPr id="3" name="Notizenplatzhalter 2"/>
          <p:cNvSpPr>
            <a:spLocks noGrp="1"/>
          </p:cNvSpPr>
          <p:nvPr>
            <p:ph type="body" idx="1"/>
          </p:nvPr>
        </p:nvSpPr>
        <p:spPr/>
        <p:txBody>
          <a:bodyPr/>
          <a:lstStyle/>
          <a:p>
            <a:pPr marL="296208" indent="-296208" defTabSz="947867">
              <a:buFont typeface="Arial" panose="020B0604020202020204" pitchFamily="34" charset="0"/>
              <a:buChar char="•"/>
              <a:defRPr/>
            </a:pPr>
            <a:r>
              <a:rPr lang="de-DE" sz="1500" dirty="0"/>
              <a:t>Finanzierung in Tallinn: Steuermehreinnahmen durch neu zugezogene Bürger, freiwerdende Mittel nach abgeschlossenen Großbauprojekten und Fördergelder der EU. </a:t>
            </a:r>
            <a:r>
              <a:rPr lang="de-DE" b="0" dirty="0"/>
              <a:t>Passagierzahlen nur geringfügig gestiegen (weil das Netzt noch nicht genug ausgebaut ist) (Nur Einwohner) </a:t>
            </a:r>
          </a:p>
          <a:p>
            <a:pPr marL="296208" indent="-296208" defTabSz="947867">
              <a:buFont typeface="Arial" panose="020B0604020202020204" pitchFamily="34" charset="0"/>
              <a:buChar char="•"/>
              <a:defRPr/>
            </a:pPr>
            <a:r>
              <a:rPr lang="de-DE" dirty="0"/>
              <a:t>Hasselt in Belgien, Templin und Lübben: gescheiterte Versuche, weil es zu viele nutzen und die Preise stiegen</a:t>
            </a:r>
          </a:p>
          <a:p>
            <a:pPr marL="296208" indent="-296208" defTabSz="947867">
              <a:buFont typeface="Arial" panose="020B0604020202020204" pitchFamily="34" charset="0"/>
              <a:buChar char="•"/>
              <a:defRPr/>
            </a:pPr>
            <a:r>
              <a:rPr lang="de-DE" dirty="0">
                <a:solidFill>
                  <a:srgbClr val="FF0000"/>
                </a:solidFill>
              </a:rPr>
              <a:t>In Frankreich angeblich in 20 Städten</a:t>
            </a:r>
            <a:r>
              <a:rPr lang="de-DE" dirty="0"/>
              <a:t>. (https://qz.com/1442882/free-public-transit-is-gaining-popularity-in-european-cities/)</a:t>
            </a:r>
          </a:p>
          <a:p>
            <a:pPr marL="296208" indent="-296208" defTabSz="947867">
              <a:buFont typeface="Arial" panose="020B0604020202020204" pitchFamily="34" charset="0"/>
              <a:buChar char="•"/>
              <a:defRPr/>
            </a:pPr>
            <a:r>
              <a:rPr lang="de-DE" dirty="0" err="1"/>
              <a:t>Luyemburg</a:t>
            </a:r>
            <a:r>
              <a:rPr lang="de-DE" dirty="0"/>
              <a:t>: https://www.bbc.com/worklife/article/20190128-the-cost-of-luxembourgs-free-public-transport-plan (Hier Einwohner + Touristen!)</a:t>
            </a:r>
          </a:p>
          <a:p>
            <a:pPr defTabSz="947867">
              <a:defRPr/>
            </a:pPr>
            <a:r>
              <a:rPr lang="de-DE" b="0" dirty="0"/>
              <a:t>Q: https://www.mdr.de/nachrichten/vermischtes/kostenloser-oepnv-in-europa-100.html</a:t>
            </a:r>
          </a:p>
          <a:p>
            <a:r>
              <a:rPr lang="de-DE" b="0" dirty="0">
                <a:effectLst/>
                <a:latin typeface="Arial" pitchFamily="34" charset="0"/>
              </a:rPr>
              <a:t>Q: Wuppertal Institut: Das Bürgerticket für den öffentlichen Personennahverkehr (im Ordner (Analyse/Quellen abgelegt)</a:t>
            </a:r>
          </a:p>
          <a:p>
            <a:r>
              <a:rPr lang="de-DE" b="0" dirty="0">
                <a:effectLst/>
                <a:latin typeface="Arial" pitchFamily="34" charset="0"/>
              </a:rPr>
              <a:t>Q: https://www.newstix.de/index.php?site=&amp;entmsg=true&amp;ref=RNL&amp;mid=457736</a:t>
            </a:r>
          </a:p>
          <a:p>
            <a:endParaRPr lang="de-DE" b="0" dirty="0">
              <a:effectLst/>
              <a:latin typeface="Arial" pitchFamily="34" charset="0"/>
            </a:endParaRPr>
          </a:p>
          <a:p>
            <a:r>
              <a:rPr lang="de-DE" b="0" dirty="0">
                <a:effectLst/>
                <a:latin typeface="Arial" pitchFamily="34" charset="0"/>
              </a:rPr>
              <a:t>Außerdem </a:t>
            </a:r>
            <a:r>
              <a:rPr lang="de-DE" dirty="0" err="1"/>
              <a:t>Dunkirk</a:t>
            </a:r>
            <a:r>
              <a:rPr lang="de-DE" dirty="0"/>
              <a:t> (FR)</a:t>
            </a:r>
            <a:r>
              <a:rPr lang="de-DE" b="0" dirty="0">
                <a:effectLst/>
                <a:latin typeface="Arial" pitchFamily="34" charset="0"/>
              </a:rPr>
              <a:t>: https://www.theguardian.com/cities/2018/oct/15/i-leave-the-car-at-home-how-free-buses-are-revolutionising-one-french-city</a:t>
            </a:r>
          </a:p>
        </p:txBody>
      </p:sp>
      <p:sp>
        <p:nvSpPr>
          <p:cNvPr id="4" name="Foliennummernplatzhalter 3"/>
          <p:cNvSpPr>
            <a:spLocks noGrp="1"/>
          </p:cNvSpPr>
          <p:nvPr>
            <p:ph type="sldNum" sz="quarter" idx="10"/>
          </p:nvPr>
        </p:nvSpPr>
        <p:spPr/>
        <p:txBody>
          <a:bodyPr/>
          <a:lstStyle/>
          <a:p>
            <a:fld id="{6799E72A-FD89-4596-A8F8-76FC5CB6A101}" type="slidenum">
              <a:rPr lang="de-DE" smtClean="0"/>
              <a:pPr/>
              <a:t>41</a:t>
            </a:fld>
            <a:endParaRPr lang="de-DE" dirty="0"/>
          </a:p>
        </p:txBody>
      </p:sp>
    </p:spTree>
    <p:extLst>
      <p:ext uri="{BB962C8B-B14F-4D97-AF65-F5344CB8AC3E}">
        <p14:creationId xmlns:p14="http://schemas.microsoft.com/office/powerpoint/2010/main" val="18860975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42</a:t>
            </a:fld>
            <a:endParaRPr lang="de-DE" dirty="0"/>
          </a:p>
        </p:txBody>
      </p:sp>
    </p:spTree>
    <p:extLst>
      <p:ext uri="{BB962C8B-B14F-4D97-AF65-F5344CB8AC3E}">
        <p14:creationId xmlns:p14="http://schemas.microsoft.com/office/powerpoint/2010/main" val="2637229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defTabSz="947867">
              <a:defRPr/>
            </a:pPr>
            <a:fld id="{6799E72A-FD89-4596-A8F8-76FC5CB6A101}" type="slidenum">
              <a:rPr lang="de-DE" sz="1200">
                <a:solidFill>
                  <a:prstClr val="black"/>
                </a:solidFill>
                <a:latin typeface="Arial"/>
              </a:rPr>
              <a:pPr defTabSz="947867">
                <a:defRPr/>
              </a:pPr>
              <a:t>43</a:t>
            </a:fld>
            <a:endParaRPr lang="de-DE" sz="1200" dirty="0">
              <a:solidFill>
                <a:prstClr val="black"/>
              </a:solidFill>
              <a:latin typeface="Arial"/>
            </a:endParaRPr>
          </a:p>
        </p:txBody>
      </p:sp>
    </p:spTree>
    <p:extLst>
      <p:ext uri="{BB962C8B-B14F-4D97-AF65-F5344CB8AC3E}">
        <p14:creationId xmlns:p14="http://schemas.microsoft.com/office/powerpoint/2010/main" val="2124507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867">
              <a:defRPr/>
            </a:pPr>
            <a:r>
              <a:rPr lang="de-DE" sz="1500" dirty="0"/>
              <a:t>Unsere Projekte sind strategisch aber konkret genug, um den Erfolg messen zu können. Wir bieten daher auch neben dem klassischen Portfolio einer Strategieberatung, Umsetzungsberatung, und neueste Techniken in der Datenanalyse an (Generierung, Visualisierung, Erzeugung)</a:t>
            </a:r>
          </a:p>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4</a:t>
            </a:fld>
            <a:endParaRPr lang="de-DE"/>
          </a:p>
        </p:txBody>
      </p:sp>
    </p:spTree>
    <p:extLst>
      <p:ext uri="{BB962C8B-B14F-4D97-AF65-F5344CB8AC3E}">
        <p14:creationId xmlns:p14="http://schemas.microsoft.com/office/powerpoint/2010/main" val="18274782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5188" y="514350"/>
            <a:ext cx="5883275" cy="44132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44</a:t>
            </a:fld>
            <a:endParaRPr lang="de-DE"/>
          </a:p>
        </p:txBody>
      </p:sp>
    </p:spTree>
    <p:extLst>
      <p:ext uri="{BB962C8B-B14F-4D97-AF65-F5344CB8AC3E}">
        <p14:creationId xmlns:p14="http://schemas.microsoft.com/office/powerpoint/2010/main" val="416114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5188" y="514350"/>
            <a:ext cx="5883275" cy="44132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45</a:t>
            </a:fld>
            <a:endParaRPr lang="de-DE"/>
          </a:p>
        </p:txBody>
      </p:sp>
    </p:spTree>
    <p:extLst>
      <p:ext uri="{BB962C8B-B14F-4D97-AF65-F5344CB8AC3E}">
        <p14:creationId xmlns:p14="http://schemas.microsoft.com/office/powerpoint/2010/main" val="9780901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5188" y="514350"/>
            <a:ext cx="5883275" cy="44132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46</a:t>
            </a:fld>
            <a:endParaRPr lang="de-DE"/>
          </a:p>
        </p:txBody>
      </p:sp>
    </p:spTree>
    <p:extLst>
      <p:ext uri="{BB962C8B-B14F-4D97-AF65-F5344CB8AC3E}">
        <p14:creationId xmlns:p14="http://schemas.microsoft.com/office/powerpoint/2010/main" val="3147491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5188" y="514350"/>
            <a:ext cx="5883275" cy="44132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47</a:t>
            </a:fld>
            <a:endParaRPr lang="de-DE"/>
          </a:p>
        </p:txBody>
      </p:sp>
    </p:spTree>
    <p:extLst>
      <p:ext uri="{BB962C8B-B14F-4D97-AF65-F5344CB8AC3E}">
        <p14:creationId xmlns:p14="http://schemas.microsoft.com/office/powerpoint/2010/main" val="11053241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defTabSz="947867">
              <a:defRPr/>
            </a:pPr>
            <a:fld id="{6799E72A-FD89-4596-A8F8-76FC5CB6A101}" type="slidenum">
              <a:rPr lang="de-DE" sz="1200">
                <a:solidFill>
                  <a:prstClr val="black"/>
                </a:solidFill>
                <a:latin typeface="Arial"/>
              </a:rPr>
              <a:pPr defTabSz="947867">
                <a:defRPr/>
              </a:pPr>
              <a:t>48</a:t>
            </a:fld>
            <a:endParaRPr lang="de-DE" sz="1200" dirty="0">
              <a:solidFill>
                <a:prstClr val="black"/>
              </a:solidFill>
              <a:latin typeface="Arial"/>
            </a:endParaRPr>
          </a:p>
        </p:txBody>
      </p:sp>
    </p:spTree>
    <p:extLst>
      <p:ext uri="{BB962C8B-B14F-4D97-AF65-F5344CB8AC3E}">
        <p14:creationId xmlns:p14="http://schemas.microsoft.com/office/powerpoint/2010/main" val="28583945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49</a:t>
            </a:fld>
            <a:endParaRPr lang="de-DE"/>
          </a:p>
        </p:txBody>
      </p:sp>
    </p:spTree>
    <p:extLst>
      <p:ext uri="{BB962C8B-B14F-4D97-AF65-F5344CB8AC3E}">
        <p14:creationId xmlns:p14="http://schemas.microsoft.com/office/powerpoint/2010/main" val="39799780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50</a:t>
            </a:fld>
            <a:endParaRPr lang="de-DE"/>
          </a:p>
        </p:txBody>
      </p:sp>
    </p:spTree>
    <p:extLst>
      <p:ext uri="{BB962C8B-B14F-4D97-AF65-F5344CB8AC3E}">
        <p14:creationId xmlns:p14="http://schemas.microsoft.com/office/powerpoint/2010/main" val="4289932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51</a:t>
            </a:fld>
            <a:endParaRPr lang="de-DE"/>
          </a:p>
        </p:txBody>
      </p:sp>
    </p:spTree>
    <p:extLst>
      <p:ext uri="{BB962C8B-B14F-4D97-AF65-F5344CB8AC3E}">
        <p14:creationId xmlns:p14="http://schemas.microsoft.com/office/powerpoint/2010/main" val="10965910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52</a:t>
            </a:fld>
            <a:endParaRPr lang="de-DE"/>
          </a:p>
        </p:txBody>
      </p:sp>
    </p:spTree>
    <p:extLst>
      <p:ext uri="{BB962C8B-B14F-4D97-AF65-F5344CB8AC3E}">
        <p14:creationId xmlns:p14="http://schemas.microsoft.com/office/powerpoint/2010/main" val="39062704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53</a:t>
            </a:fld>
            <a:endParaRPr lang="de-DE"/>
          </a:p>
        </p:txBody>
      </p:sp>
    </p:spTree>
    <p:extLst>
      <p:ext uri="{BB962C8B-B14F-4D97-AF65-F5344CB8AC3E}">
        <p14:creationId xmlns:p14="http://schemas.microsoft.com/office/powerpoint/2010/main" val="3164650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6775" y="514350"/>
            <a:ext cx="5881688" cy="4411663"/>
          </a:xfrm>
        </p:spPr>
      </p:sp>
      <p:sp>
        <p:nvSpPr>
          <p:cNvPr id="3" name="Notizenplatzhalter 2"/>
          <p:cNvSpPr>
            <a:spLocks noGrp="1"/>
          </p:cNvSpPr>
          <p:nvPr>
            <p:ph type="body" idx="1"/>
          </p:nvPr>
        </p:nvSpPr>
        <p:spPr/>
        <p:txBody>
          <a:bodyPr/>
          <a:lstStyle/>
          <a:p>
            <a:r>
              <a:rPr lang="de-DE" sz="1500" b="1" dirty="0"/>
              <a:t>Teaser</a:t>
            </a:r>
            <a:r>
              <a:rPr lang="de-DE" sz="1500" dirty="0"/>
              <a:t>: </a:t>
            </a:r>
          </a:p>
          <a:p>
            <a:r>
              <a:rPr lang="de-DE" sz="1500" dirty="0"/>
              <a:t>Wien als Erfolg, aber „Das beste Angebot ist nicht der Preis“ </a:t>
            </a:r>
          </a:p>
          <a:p>
            <a:endParaRPr lang="de-DE" sz="1500" dirty="0"/>
          </a:p>
          <a:p>
            <a:endParaRPr lang="de-DE" sz="1500" dirty="0"/>
          </a:p>
          <a:p>
            <a:r>
              <a:rPr lang="de-DE" sz="1500" dirty="0"/>
              <a:t>(Evtl. Modal Split erklären) (Verteilung des Verkehrsaufkommens ( Wege, Tonne( oder Verkehrsleistung (</a:t>
            </a:r>
            <a:r>
              <a:rPr lang="de-DE" sz="1500" dirty="0" err="1"/>
              <a:t>pkm</a:t>
            </a:r>
            <a:r>
              <a:rPr lang="de-DE" sz="1500" dirty="0"/>
              <a:t>, tkm) nach Verkehrsmitteln. Die Karte hier sind Das hier ist nach Verkehrsaufkommen nach Wegen</a:t>
            </a:r>
          </a:p>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5</a:t>
            </a:fld>
            <a:endParaRPr lang="de-DE"/>
          </a:p>
        </p:txBody>
      </p:sp>
    </p:spTree>
    <p:extLst>
      <p:ext uri="{BB962C8B-B14F-4D97-AF65-F5344CB8AC3E}">
        <p14:creationId xmlns:p14="http://schemas.microsoft.com/office/powerpoint/2010/main" val="23591383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55</a:t>
            </a:fld>
            <a:endParaRPr lang="de-DE"/>
          </a:p>
        </p:txBody>
      </p:sp>
    </p:spTree>
    <p:extLst>
      <p:ext uri="{BB962C8B-B14F-4D97-AF65-F5344CB8AC3E}">
        <p14:creationId xmlns:p14="http://schemas.microsoft.com/office/powerpoint/2010/main" val="416114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56</a:t>
            </a:fld>
            <a:endParaRPr lang="de-DE"/>
          </a:p>
        </p:txBody>
      </p:sp>
    </p:spTree>
    <p:extLst>
      <p:ext uri="{BB962C8B-B14F-4D97-AF65-F5344CB8AC3E}">
        <p14:creationId xmlns:p14="http://schemas.microsoft.com/office/powerpoint/2010/main" val="37774356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57</a:t>
            </a:fld>
            <a:endParaRPr lang="de-DE"/>
          </a:p>
        </p:txBody>
      </p:sp>
    </p:spTree>
    <p:extLst>
      <p:ext uri="{BB962C8B-B14F-4D97-AF65-F5344CB8AC3E}">
        <p14:creationId xmlns:p14="http://schemas.microsoft.com/office/powerpoint/2010/main" val="13917849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58</a:t>
            </a:fld>
            <a:endParaRPr lang="de-DE"/>
          </a:p>
        </p:txBody>
      </p:sp>
    </p:spTree>
    <p:extLst>
      <p:ext uri="{BB962C8B-B14F-4D97-AF65-F5344CB8AC3E}">
        <p14:creationId xmlns:p14="http://schemas.microsoft.com/office/powerpoint/2010/main" val="20430251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59</a:t>
            </a:fld>
            <a:endParaRPr lang="de-DE"/>
          </a:p>
        </p:txBody>
      </p:sp>
    </p:spTree>
    <p:extLst>
      <p:ext uri="{BB962C8B-B14F-4D97-AF65-F5344CB8AC3E}">
        <p14:creationId xmlns:p14="http://schemas.microsoft.com/office/powerpoint/2010/main" val="4652920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60</a:t>
            </a:fld>
            <a:endParaRPr lang="de-DE"/>
          </a:p>
        </p:txBody>
      </p:sp>
    </p:spTree>
    <p:extLst>
      <p:ext uri="{BB962C8B-B14F-4D97-AF65-F5344CB8AC3E}">
        <p14:creationId xmlns:p14="http://schemas.microsoft.com/office/powerpoint/2010/main" val="35412858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61</a:t>
            </a:fld>
            <a:endParaRPr lang="de-DE"/>
          </a:p>
        </p:txBody>
      </p:sp>
    </p:spTree>
    <p:extLst>
      <p:ext uri="{BB962C8B-B14F-4D97-AF65-F5344CB8AC3E}">
        <p14:creationId xmlns:p14="http://schemas.microsoft.com/office/powerpoint/2010/main" val="5563979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62</a:t>
            </a:fld>
            <a:endParaRPr lang="de-DE"/>
          </a:p>
        </p:txBody>
      </p:sp>
    </p:spTree>
    <p:extLst>
      <p:ext uri="{BB962C8B-B14F-4D97-AF65-F5344CB8AC3E}">
        <p14:creationId xmlns:p14="http://schemas.microsoft.com/office/powerpoint/2010/main" val="177383505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63</a:t>
            </a:fld>
            <a:endParaRPr lang="de-DE"/>
          </a:p>
        </p:txBody>
      </p:sp>
    </p:spTree>
    <p:extLst>
      <p:ext uri="{BB962C8B-B14F-4D97-AF65-F5344CB8AC3E}">
        <p14:creationId xmlns:p14="http://schemas.microsoft.com/office/powerpoint/2010/main" val="217073883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64</a:t>
            </a:fld>
            <a:endParaRPr lang="de-DE"/>
          </a:p>
        </p:txBody>
      </p:sp>
    </p:spTree>
    <p:extLst>
      <p:ext uri="{BB962C8B-B14F-4D97-AF65-F5344CB8AC3E}">
        <p14:creationId xmlns:p14="http://schemas.microsoft.com/office/powerpoint/2010/main" val="4225612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Teaser 2</a:t>
            </a:r>
          </a:p>
          <a:p>
            <a:r>
              <a:rPr lang="de-DE" dirty="0"/>
              <a:t>Das klassische Bild, allerdings wird gleich klar, warum das Bild täuscht und was wir daraus gelernt haben (bzw. vorher für Wien prognostiziert haben)</a:t>
            </a:r>
          </a:p>
          <a:p>
            <a:endParaRPr lang="de-DE" dirty="0"/>
          </a:p>
        </p:txBody>
      </p:sp>
      <p:sp>
        <p:nvSpPr>
          <p:cNvPr id="4" name="Foliennummernplatzhalter 3"/>
          <p:cNvSpPr>
            <a:spLocks noGrp="1"/>
          </p:cNvSpPr>
          <p:nvPr>
            <p:ph type="sldNum" sz="quarter" idx="5"/>
          </p:nvPr>
        </p:nvSpPr>
        <p:spPr/>
        <p:txBody>
          <a:bodyPr/>
          <a:lstStyle/>
          <a:p>
            <a:fld id="{6799E72A-FD89-4596-A8F8-76FC5CB6A101}" type="slidenum">
              <a:rPr lang="de-DE" smtClean="0"/>
              <a:pPr/>
              <a:t>6</a:t>
            </a:fld>
            <a:endParaRPr lang="de-DE" dirty="0"/>
          </a:p>
        </p:txBody>
      </p:sp>
    </p:spTree>
    <p:extLst>
      <p:ext uri="{BB962C8B-B14F-4D97-AF65-F5344CB8AC3E}">
        <p14:creationId xmlns:p14="http://schemas.microsoft.com/office/powerpoint/2010/main" val="24787936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65</a:t>
            </a:fld>
            <a:endParaRPr lang="de-DE"/>
          </a:p>
        </p:txBody>
      </p:sp>
    </p:spTree>
    <p:extLst>
      <p:ext uri="{BB962C8B-B14F-4D97-AF65-F5344CB8AC3E}">
        <p14:creationId xmlns:p14="http://schemas.microsoft.com/office/powerpoint/2010/main" val="31610683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66</a:t>
            </a:fld>
            <a:endParaRPr lang="de-DE"/>
          </a:p>
        </p:txBody>
      </p:sp>
    </p:spTree>
    <p:extLst>
      <p:ext uri="{BB962C8B-B14F-4D97-AF65-F5344CB8AC3E}">
        <p14:creationId xmlns:p14="http://schemas.microsoft.com/office/powerpoint/2010/main" val="14893407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67</a:t>
            </a:fld>
            <a:endParaRPr lang="de-DE"/>
          </a:p>
        </p:txBody>
      </p:sp>
    </p:spTree>
    <p:extLst>
      <p:ext uri="{BB962C8B-B14F-4D97-AF65-F5344CB8AC3E}">
        <p14:creationId xmlns:p14="http://schemas.microsoft.com/office/powerpoint/2010/main" val="2211915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1888" y="473075"/>
            <a:ext cx="5419725" cy="40655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799E72A-FD89-4596-A8F8-76FC5CB6A101}" type="slidenum">
              <a:rPr lang="de-DE" smtClean="0"/>
              <a:pPr/>
              <a:t>7</a:t>
            </a:fld>
            <a:endParaRPr lang="de-DE"/>
          </a:p>
        </p:txBody>
      </p:sp>
    </p:spTree>
    <p:extLst>
      <p:ext uri="{BB962C8B-B14F-4D97-AF65-F5344CB8AC3E}">
        <p14:creationId xmlns:p14="http://schemas.microsoft.com/office/powerpoint/2010/main" val="39379803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6775" y="514350"/>
            <a:ext cx="5881688" cy="4411663"/>
          </a:xfrm>
        </p:spPr>
      </p:sp>
      <p:sp>
        <p:nvSpPr>
          <p:cNvPr id="3" name="Notizenplatzhalter 2"/>
          <p:cNvSpPr>
            <a:spLocks noGrp="1"/>
          </p:cNvSpPr>
          <p:nvPr>
            <p:ph type="body" idx="1"/>
          </p:nvPr>
        </p:nvSpPr>
        <p:spPr/>
        <p:txBody>
          <a:bodyPr/>
          <a:lstStyle/>
          <a:p>
            <a:pPr defTabSz="947867">
              <a:defRPr/>
            </a:pPr>
            <a:r>
              <a:rPr lang="de-DE" dirty="0"/>
              <a:t>Skizze Ausgangslage</a:t>
            </a:r>
          </a:p>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pPr/>
              <a:t>8</a:t>
            </a:fld>
            <a:endParaRPr lang="de-DE" dirty="0"/>
          </a:p>
        </p:txBody>
      </p:sp>
    </p:spTree>
    <p:extLst>
      <p:ext uri="{BB962C8B-B14F-4D97-AF65-F5344CB8AC3E}">
        <p14:creationId xmlns:p14="http://schemas.microsoft.com/office/powerpoint/2010/main" val="19590690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30300" y="473075"/>
            <a:ext cx="5421313" cy="4065588"/>
          </a:xfrm>
        </p:spPr>
      </p:sp>
      <p:sp>
        <p:nvSpPr>
          <p:cNvPr id="3" name="Notizenplatzhalter 2"/>
          <p:cNvSpPr>
            <a:spLocks noGrp="1"/>
          </p:cNvSpPr>
          <p:nvPr>
            <p:ph type="body" idx="1"/>
          </p:nvPr>
        </p:nvSpPr>
        <p:spPr/>
        <p:txBody>
          <a:bodyPr/>
          <a:lstStyle/>
          <a:p>
            <a:pPr defTabSz="947867">
              <a:defRPr/>
            </a:pPr>
            <a:r>
              <a:rPr lang="de-DE" dirty="0"/>
              <a:t>Was ist genau passiert?</a:t>
            </a:r>
          </a:p>
          <a:p>
            <a:endParaRPr lang="de-DE" dirty="0"/>
          </a:p>
        </p:txBody>
      </p:sp>
      <p:sp>
        <p:nvSpPr>
          <p:cNvPr id="4" name="Foliennummernplatzhalter 3"/>
          <p:cNvSpPr>
            <a:spLocks noGrp="1"/>
          </p:cNvSpPr>
          <p:nvPr>
            <p:ph type="sldNum" sz="quarter" idx="10"/>
          </p:nvPr>
        </p:nvSpPr>
        <p:spPr/>
        <p:txBody>
          <a:bodyPr/>
          <a:lstStyle/>
          <a:p>
            <a:fld id="{6799E72A-FD89-4596-A8F8-76FC5CB6A101}" type="slidenum">
              <a:rPr lang="de-DE" smtClean="0">
                <a:solidFill>
                  <a:prstClr val="black"/>
                </a:solidFill>
              </a:rPr>
              <a:pPr/>
              <a:t>9</a:t>
            </a:fld>
            <a:endParaRPr lang="de-DE">
              <a:solidFill>
                <a:prstClr val="black"/>
              </a:solidFill>
            </a:endParaRPr>
          </a:p>
        </p:txBody>
      </p:sp>
    </p:spTree>
    <p:extLst>
      <p:ext uri="{BB962C8B-B14F-4D97-AF65-F5344CB8AC3E}">
        <p14:creationId xmlns:p14="http://schemas.microsoft.com/office/powerpoint/2010/main" val="31040085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2.png"/><Relationship Id="rId1" Type="http://schemas.openxmlformats.org/officeDocument/2006/relationships/vmlDrawing" Target="../drawings/vmlDrawing2.vml"/><Relationship Id="rId2"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1.emf"/><Relationship Id="rId1" Type="http://schemas.openxmlformats.org/officeDocument/2006/relationships/vmlDrawing" Target="../drawings/vmlDrawing3.vml"/><Relationship Id="rId2"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slideMaster" Target="../slideMasters/slideMaster1.xml"/><Relationship Id="rId5" Type="http://schemas.openxmlformats.org/officeDocument/2006/relationships/oleObject" Target="../embeddings/oleObject4.bin"/><Relationship Id="rId6" Type="http://schemas.openxmlformats.org/officeDocument/2006/relationships/image" Target="../media/image3.emf"/><Relationship Id="rId1" Type="http://schemas.openxmlformats.org/officeDocument/2006/relationships/vmlDrawing" Target="../drawings/vmlDrawing4.vml"/><Relationship Id="rId2"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slideMaster" Target="../slideMasters/slideMaster1.xml"/><Relationship Id="rId5" Type="http://schemas.openxmlformats.org/officeDocument/2006/relationships/oleObject" Target="../embeddings/oleObject5.bin"/><Relationship Id="rId6"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slideMaster" Target="../slideMasters/slideMaster1.xml"/><Relationship Id="rId5" Type="http://schemas.openxmlformats.org/officeDocument/2006/relationships/oleObject" Target="../embeddings/oleObject6.bin"/><Relationship Id="rId6" Type="http://schemas.openxmlformats.org/officeDocument/2006/relationships/image" Target="../media/image1.emf"/><Relationship Id="rId1" Type="http://schemas.openxmlformats.org/officeDocument/2006/relationships/vmlDrawing" Target="../drawings/vmlDrawing6.vml"/><Relationship Id="rId2"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7.bin"/><Relationship Id="rId5" Type="http://schemas.openxmlformats.org/officeDocument/2006/relationships/image" Target="../media/image1.emf"/><Relationship Id="rId6" Type="http://schemas.openxmlformats.org/officeDocument/2006/relationships/image" Target="../media/image2.png"/><Relationship Id="rId1" Type="http://schemas.openxmlformats.org/officeDocument/2006/relationships/vmlDrawing" Target="../drawings/vmlDrawing7.vml"/><Relationship Id="rId2"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slideMaster" Target="../slideMasters/slideMaster1.xml"/><Relationship Id="rId5" Type="http://schemas.openxmlformats.org/officeDocument/2006/relationships/oleObject" Target="../embeddings/oleObject8.bin"/><Relationship Id="rId6" Type="http://schemas.openxmlformats.org/officeDocument/2006/relationships/image" Target="../media/image1.emf"/><Relationship Id="rId7" Type="http://schemas.openxmlformats.org/officeDocument/2006/relationships/image" Target="../media/image2.png"/><Relationship Id="rId1" Type="http://schemas.openxmlformats.org/officeDocument/2006/relationships/vmlDrawing" Target="../drawings/vmlDrawing8.vml"/><Relationship Id="rId2"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7" name="Objekt 6" hidden="1"/>
          <p:cNvGraphicFramePr>
            <a:graphicFrameLocks/>
          </p:cNvGraphicFramePr>
          <p:nvPr>
            <p:custDataLst>
              <p:tags r:id="rId2"/>
            </p:custDataLst>
            <p:extLst>
              <p:ext uri="{D42A27DB-BD31-4B8C-83A1-F6EECF244321}">
                <p14:modId xmlns:p14="http://schemas.microsoft.com/office/powerpoint/2010/main" val="3254046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279" name="think-cell Folie" r:id="rId5" imgW="572" imgH="378" progId="TCLayout.ActiveDocument.1">
                  <p:embed/>
                </p:oleObj>
              </mc:Choice>
              <mc:Fallback>
                <p:oleObj name="think-cell Folie" r:id="rId5" imgW="572" imgH="378"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100000"/>
              </a:lnSpc>
              <a:spcBef>
                <a:spcPct val="0"/>
              </a:spcBef>
              <a:spcAft>
                <a:spcPct val="0"/>
              </a:spcAft>
            </a:pPr>
            <a:endParaRPr lang="de-DE" sz="2800" b="1" i="0" baseline="0" dirty="0">
              <a:solidFill>
                <a:schemeClr val="tx1"/>
              </a:solidFill>
              <a:latin typeface="Arial"/>
              <a:ea typeface="+mj-ea"/>
              <a:cs typeface="+mj-cs"/>
              <a:sym typeface="Arial"/>
            </a:endParaRPr>
          </a:p>
        </p:txBody>
      </p:sp>
      <p:sp>
        <p:nvSpPr>
          <p:cNvPr id="2" name="Titel 1"/>
          <p:cNvSpPr>
            <a:spLocks noGrp="1"/>
          </p:cNvSpPr>
          <p:nvPr>
            <p:ph type="ctrTitle" hasCustomPrompt="1"/>
          </p:nvPr>
        </p:nvSpPr>
        <p:spPr>
          <a:xfrm>
            <a:off x="1000041" y="1784047"/>
            <a:ext cx="7062791" cy="996881"/>
          </a:xfrm>
          <a:noFill/>
        </p:spPr>
        <p:txBody>
          <a:bodyPr/>
          <a:lstStyle>
            <a:lvl1pPr>
              <a:lnSpc>
                <a:spcPct val="100000"/>
              </a:lnSpc>
              <a:defRPr sz="2800" baseline="0">
                <a:solidFill>
                  <a:schemeClr val="accent1"/>
                </a:solidFill>
              </a:defRPr>
            </a:lvl1pPr>
          </a:lstStyle>
          <a:p>
            <a:r>
              <a:rPr lang="de-DE" dirty="0"/>
              <a:t>Das ist ein Vortragstitel in</a:t>
            </a:r>
            <a:br>
              <a:rPr lang="de-DE" dirty="0"/>
            </a:br>
            <a:r>
              <a:rPr lang="de-DE" dirty="0"/>
              <a:t>zwei Zeilen</a:t>
            </a:r>
          </a:p>
        </p:txBody>
      </p:sp>
      <p:sp>
        <p:nvSpPr>
          <p:cNvPr id="3" name="Untertitel 2"/>
          <p:cNvSpPr>
            <a:spLocks noGrp="1"/>
          </p:cNvSpPr>
          <p:nvPr>
            <p:ph type="subTitle" idx="1" hasCustomPrompt="1"/>
          </p:nvPr>
        </p:nvSpPr>
        <p:spPr>
          <a:xfrm>
            <a:off x="1005597" y="2996952"/>
            <a:ext cx="6400800" cy="432048"/>
          </a:xfrm>
        </p:spPr>
        <p:txBody>
          <a:bodyPr/>
          <a:lstStyle>
            <a:lvl1pPr marL="0" indent="0" algn="l">
              <a:buNone/>
              <a:defRPr sz="200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Das ist eine Zeile für die Typisierung</a:t>
            </a:r>
          </a:p>
        </p:txBody>
      </p:sp>
      <p:sp>
        <p:nvSpPr>
          <p:cNvPr id="14" name="Inhaltsplatzhalter 13"/>
          <p:cNvSpPr>
            <a:spLocks noGrp="1"/>
          </p:cNvSpPr>
          <p:nvPr>
            <p:ph sz="quarter" idx="10" hasCustomPrompt="1"/>
          </p:nvPr>
        </p:nvSpPr>
        <p:spPr>
          <a:xfrm>
            <a:off x="1002422" y="4190266"/>
            <a:ext cx="5441786" cy="606886"/>
          </a:xfrm>
        </p:spPr>
        <p:txBody>
          <a:bodyPr/>
          <a:lstStyle>
            <a:lvl2pPr>
              <a:defRPr baseline="0"/>
            </a:lvl2pPr>
          </a:lstStyle>
          <a:p>
            <a:pPr lvl="1"/>
            <a:r>
              <a:rPr lang="de-DE" dirty="0"/>
              <a:t>Name des Kunden</a:t>
            </a:r>
            <a:br>
              <a:rPr lang="de-DE" dirty="0"/>
            </a:br>
            <a:r>
              <a:rPr lang="de-DE" dirty="0"/>
              <a:t>in zwei Zeilen</a:t>
            </a:r>
          </a:p>
        </p:txBody>
      </p:sp>
      <p:sp>
        <p:nvSpPr>
          <p:cNvPr id="16" name="Inhaltsplatzhalter 13"/>
          <p:cNvSpPr>
            <a:spLocks noGrp="1"/>
          </p:cNvSpPr>
          <p:nvPr>
            <p:ph sz="quarter" idx="11" hasCustomPrompt="1"/>
          </p:nvPr>
        </p:nvSpPr>
        <p:spPr>
          <a:xfrm>
            <a:off x="1002422" y="4972080"/>
            <a:ext cx="5441786" cy="329128"/>
          </a:xfrm>
        </p:spPr>
        <p:txBody>
          <a:bodyPr/>
          <a:lstStyle>
            <a:lvl2pPr>
              <a:defRPr baseline="0"/>
            </a:lvl2pPr>
          </a:lstStyle>
          <a:p>
            <a:pPr lvl="1"/>
            <a:r>
              <a:rPr lang="de-DE" dirty="0"/>
              <a:t>Ort, xx. Monat 2016</a:t>
            </a:r>
          </a:p>
        </p:txBody>
      </p:sp>
      <p:pic>
        <p:nvPicPr>
          <p:cNvPr id="8" name="Grafik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76975" y="6085346"/>
            <a:ext cx="2397100" cy="560361"/>
          </a:xfrm>
          <a:prstGeom prst="rect">
            <a:avLst/>
          </a:prstGeom>
        </p:spPr>
      </p:pic>
    </p:spTree>
    <p:extLst>
      <p:ext uri="{BB962C8B-B14F-4D97-AF65-F5344CB8AC3E}">
        <p14:creationId xmlns:p14="http://schemas.microsoft.com/office/powerpoint/2010/main" val="780509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Folie">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2"/>
            </p:custDataLst>
            <p:extLst>
              <p:ext uri="{D42A27DB-BD31-4B8C-83A1-F6EECF244321}">
                <p14:modId xmlns:p14="http://schemas.microsoft.com/office/powerpoint/2010/main" val="29636740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303" name="think-cell Folie" r:id="rId4" imgW="572" imgH="378" progId="TCLayout.ActiveDocument.1">
                  <p:embed/>
                </p:oleObj>
              </mc:Choice>
              <mc:Fallback>
                <p:oleObj name="think-cell Folie" r:id="rId4" imgW="572" imgH="378"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cxnSp>
        <p:nvCxnSpPr>
          <p:cNvPr id="15" name="Gerade Verbindung 14"/>
          <p:cNvCxnSpPr/>
          <p:nvPr/>
        </p:nvCxnSpPr>
        <p:spPr>
          <a:xfrm>
            <a:off x="1059180" y="1600290"/>
            <a:ext cx="704121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platzhalter 19"/>
          <p:cNvSpPr>
            <a:spLocks noGrp="1"/>
          </p:cNvSpPr>
          <p:nvPr>
            <p:ph type="body" sz="quarter" idx="13" hasCustomPrompt="1"/>
          </p:nvPr>
        </p:nvSpPr>
        <p:spPr>
          <a:xfrm>
            <a:off x="992724" y="1174397"/>
            <a:ext cx="7488237" cy="330935"/>
          </a:xfrm>
        </p:spPr>
        <p:txBody>
          <a:bodyPr/>
          <a:lstStyle>
            <a:lvl1pPr>
              <a:defRPr/>
            </a:lvl1pPr>
          </a:lstStyle>
          <a:p>
            <a:pPr lvl="0"/>
            <a:r>
              <a:rPr lang="de-DE" dirty="0"/>
              <a:t>Agenda</a:t>
            </a:r>
          </a:p>
        </p:txBody>
      </p:sp>
      <p:sp>
        <p:nvSpPr>
          <p:cNvPr id="23" name="Textplatzhalter 22"/>
          <p:cNvSpPr>
            <a:spLocks noGrp="1"/>
          </p:cNvSpPr>
          <p:nvPr>
            <p:ph type="body" sz="quarter" idx="14" hasCustomPrompt="1"/>
          </p:nvPr>
        </p:nvSpPr>
        <p:spPr>
          <a:xfrm>
            <a:off x="992724" y="1690444"/>
            <a:ext cx="7107667" cy="4043606"/>
          </a:xfrm>
        </p:spPr>
        <p:txBody>
          <a:bodyPr/>
          <a:lstStyle>
            <a:lvl4pPr>
              <a:spcBef>
                <a:spcPts val="400"/>
              </a:spcBef>
              <a:defRPr/>
            </a:lvl4pPr>
            <a:lvl5pPr>
              <a:defRPr/>
            </a:lvl5pPr>
            <a:lvl6pPr>
              <a:defRPr/>
            </a:lvl6pPr>
            <a:lvl9pPr>
              <a:defRPr/>
            </a:lvl9pPr>
          </a:lstStyle>
          <a:p>
            <a:pPr lvl="2"/>
            <a:r>
              <a:rPr lang="de-DE" dirty="0"/>
              <a:t>Dritte Ebene</a:t>
            </a:r>
          </a:p>
          <a:p>
            <a:pPr lvl="3"/>
            <a:r>
              <a:rPr lang="de-DE" dirty="0"/>
              <a:t>Vierte Ebene</a:t>
            </a:r>
          </a:p>
          <a:p>
            <a:pPr lvl="4"/>
            <a:r>
              <a:rPr lang="de-DE" dirty="0"/>
              <a:t>Fünfte Ebene</a:t>
            </a:r>
          </a:p>
        </p:txBody>
      </p:sp>
      <p:sp>
        <p:nvSpPr>
          <p:cNvPr id="10" name="Foliennummernplatzhalter 9"/>
          <p:cNvSpPr>
            <a:spLocks noGrp="1"/>
          </p:cNvSpPr>
          <p:nvPr>
            <p:ph type="sldNum" sz="quarter" idx="16"/>
          </p:nvPr>
        </p:nvSpPr>
        <p:spPr/>
        <p:txBody>
          <a:bodyPr/>
          <a:lstStyle/>
          <a:p>
            <a:fld id="{CD21EFEB-933F-4F46-A5AD-B6372944D9E5}" type="slidenum">
              <a:rPr lang="de-DE" smtClean="0"/>
              <a:pPr/>
              <a:t>‹Nr.›</a:t>
            </a:fld>
            <a:endParaRPr lang="de-DE" dirty="0"/>
          </a:p>
        </p:txBody>
      </p:sp>
      <p:cxnSp>
        <p:nvCxnSpPr>
          <p:cNvPr id="7" name="Gerade Verbindung 6"/>
          <p:cNvCxnSpPr/>
          <p:nvPr userDrawn="1"/>
        </p:nvCxnSpPr>
        <p:spPr>
          <a:xfrm>
            <a:off x="1059180" y="1600290"/>
            <a:ext cx="754328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93374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Haupt-Folie le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CEC2321B-EE8F-4BC6-9DFC-CB78180CDC17}"/>
              </a:ext>
            </a:extLst>
          </p:cNvPr>
          <p:cNvGraphicFramePr>
            <a:graphicFrameLocks noChangeAspect="1"/>
          </p:cNvGraphicFramePr>
          <p:nvPr userDrawn="1">
            <p:custDataLst>
              <p:tags r:id="rId2"/>
            </p:custDataLst>
            <p:extLst>
              <p:ext uri="{D42A27DB-BD31-4B8C-83A1-F6EECF244321}">
                <p14:modId xmlns:p14="http://schemas.microsoft.com/office/powerpoint/2010/main" val="3273803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758" name="think-cell Folie" r:id="rId5" imgW="530" imgH="531" progId="TCLayout.ActiveDocument.1">
                  <p:embed/>
                </p:oleObj>
              </mc:Choice>
              <mc:Fallback>
                <p:oleObj name="think-cell Folie" r:id="rId5" imgW="530" imgH="53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100000"/>
              </a:lnSpc>
              <a:spcBef>
                <a:spcPct val="0"/>
              </a:spcBef>
              <a:spcAft>
                <a:spcPct val="0"/>
              </a:spcAft>
            </a:pPr>
            <a:endParaRPr lang="de-DE" sz="2200" b="1" i="0" baseline="0" dirty="0">
              <a:solidFill>
                <a:schemeClr val="tx1"/>
              </a:solidFill>
              <a:latin typeface="Arial"/>
              <a:ea typeface="+mj-ea"/>
              <a:cs typeface="+mj-cs"/>
              <a:sym typeface="Arial"/>
            </a:endParaRPr>
          </a:p>
        </p:txBody>
      </p:sp>
      <p:sp>
        <p:nvSpPr>
          <p:cNvPr id="2" name="Titel 1"/>
          <p:cNvSpPr>
            <a:spLocks noGrp="1"/>
          </p:cNvSpPr>
          <p:nvPr>
            <p:ph type="title" hasCustomPrompt="1"/>
          </p:nvPr>
        </p:nvSpPr>
        <p:spPr/>
        <p:txBody>
          <a:bodyPr/>
          <a:lstStyle>
            <a:lvl1pPr>
              <a:defRPr baseline="0"/>
            </a:lvl1pPr>
          </a:lstStyle>
          <a:p>
            <a:r>
              <a:rPr lang="de-DE" dirty="0"/>
              <a:t>Schaubildüberschrift durch Klicken bearbeiten</a:t>
            </a:r>
          </a:p>
        </p:txBody>
      </p:sp>
      <p:sp>
        <p:nvSpPr>
          <p:cNvPr id="3" name="Inhaltsplatzhalter 2"/>
          <p:cNvSpPr>
            <a:spLocks noGrp="1"/>
          </p:cNvSpPr>
          <p:nvPr>
            <p:ph idx="1" hasCustomPrompt="1"/>
          </p:nvPr>
        </p:nvSpPr>
        <p:spPr/>
        <p:txBody>
          <a:bodyPr/>
          <a:lstStyle>
            <a:lvl1pPr>
              <a:defRPr/>
            </a:lvl1pPr>
            <a:lvl5pPr>
              <a:spcBef>
                <a:spcPts val="200"/>
              </a:spcBef>
              <a:defRPr/>
            </a:lvl5pPr>
          </a:lstStyle>
          <a:p>
            <a:pPr lvl="0"/>
            <a:r>
              <a:rPr lang="de-DE" dirty="0"/>
              <a:t>Zwischen-Überschrift durch Klicken bearbeiten</a:t>
            </a:r>
          </a:p>
        </p:txBody>
      </p:sp>
      <p:sp>
        <p:nvSpPr>
          <p:cNvPr id="12" name="Foliennummernplatzhalter 11"/>
          <p:cNvSpPr>
            <a:spLocks noGrp="1"/>
          </p:cNvSpPr>
          <p:nvPr>
            <p:ph type="sldNum" sz="quarter" idx="11"/>
          </p:nvPr>
        </p:nvSpPr>
        <p:spPr/>
        <p:txBody>
          <a:bodyPr/>
          <a:lstStyle/>
          <a:p>
            <a:fld id="{CD21EFEB-933F-4F46-A5AD-B6372944D9E5}" type="slidenum">
              <a:rPr lang="de-DE" smtClean="0"/>
              <a:pPr/>
              <a:t>‹Nr.›</a:t>
            </a:fld>
            <a:endParaRPr lang="de-DE" dirty="0"/>
          </a:p>
        </p:txBody>
      </p:sp>
    </p:spTree>
    <p:extLst>
      <p:ext uri="{BB962C8B-B14F-4D97-AF65-F5344CB8AC3E}">
        <p14:creationId xmlns:p14="http://schemas.microsoft.com/office/powerpoint/2010/main" val="1004668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aupt-Folie 1 Textbox">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798185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404" name="think-cell Folie" r:id="rId5" imgW="572" imgH="378" progId="TCLayout.ActiveDocument.1">
                  <p:embed/>
                </p:oleObj>
              </mc:Choice>
              <mc:Fallback>
                <p:oleObj name="think-cell Folie" r:id="rId5" imgW="572" imgH="378"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100000"/>
              </a:lnSpc>
              <a:spcBef>
                <a:spcPct val="0"/>
              </a:spcBef>
              <a:spcAft>
                <a:spcPct val="0"/>
              </a:spcAft>
            </a:pPr>
            <a:endParaRPr lang="de-DE" sz="2200" b="1" i="0" baseline="0" dirty="0">
              <a:solidFill>
                <a:schemeClr val="tx1"/>
              </a:solidFill>
              <a:latin typeface="Arial"/>
              <a:ea typeface="+mj-ea"/>
              <a:cs typeface="+mj-cs"/>
              <a:sym typeface="Arial"/>
            </a:endParaRPr>
          </a:p>
        </p:txBody>
      </p:sp>
      <p:sp>
        <p:nvSpPr>
          <p:cNvPr id="2" name="Titel 1"/>
          <p:cNvSpPr>
            <a:spLocks noGrp="1"/>
          </p:cNvSpPr>
          <p:nvPr>
            <p:ph type="title" hasCustomPrompt="1"/>
          </p:nvPr>
        </p:nvSpPr>
        <p:spPr/>
        <p:txBody>
          <a:bodyPr/>
          <a:lstStyle>
            <a:lvl1pPr>
              <a:defRPr baseline="0"/>
            </a:lvl1pPr>
          </a:lstStyle>
          <a:p>
            <a:r>
              <a:rPr lang="de-DE" dirty="0"/>
              <a:t>Schaubildüberschrift durch Klicken bearbeiten</a:t>
            </a:r>
          </a:p>
        </p:txBody>
      </p:sp>
      <p:sp>
        <p:nvSpPr>
          <p:cNvPr id="3" name="Inhaltsplatzhalter 2"/>
          <p:cNvSpPr>
            <a:spLocks noGrp="1"/>
          </p:cNvSpPr>
          <p:nvPr>
            <p:ph idx="1" hasCustomPrompt="1"/>
          </p:nvPr>
        </p:nvSpPr>
        <p:spPr/>
        <p:txBody>
          <a:bodyPr/>
          <a:lstStyle>
            <a:lvl1pPr>
              <a:defRPr/>
            </a:lvl1pPr>
            <a:lvl5pPr>
              <a:spcBef>
                <a:spcPts val="200"/>
              </a:spcBef>
              <a:defRPr/>
            </a:lvl5pPr>
          </a:lstStyle>
          <a:p>
            <a:pPr lvl="0"/>
            <a:r>
              <a:rPr lang="de-DE" dirty="0"/>
              <a:t>Zwischen-Überschrift durch Klicken bearbeiten</a:t>
            </a:r>
          </a:p>
        </p:txBody>
      </p:sp>
      <p:sp>
        <p:nvSpPr>
          <p:cNvPr id="9" name="Textplatzhalter 8"/>
          <p:cNvSpPr>
            <a:spLocks noGrp="1"/>
          </p:cNvSpPr>
          <p:nvPr>
            <p:ph type="body" sz="quarter" idx="13" hasCustomPrompt="1"/>
          </p:nvPr>
        </p:nvSpPr>
        <p:spPr>
          <a:xfrm>
            <a:off x="446996" y="1546518"/>
            <a:ext cx="8131925" cy="4217284"/>
          </a:xfrm>
        </p:spPr>
        <p:txBody>
          <a:bodyPr/>
          <a:lstStyle/>
          <a:p>
            <a:pPr lvl="1"/>
            <a:r>
              <a:rPr lang="de-DE" dirty="0"/>
              <a:t>Zweite Ebene</a:t>
            </a:r>
          </a:p>
          <a:p>
            <a:pPr lvl="2"/>
            <a:r>
              <a:rPr lang="de-DE" dirty="0"/>
              <a:t>Dritte Ebene</a:t>
            </a:r>
          </a:p>
          <a:p>
            <a:pPr lvl="3"/>
            <a:r>
              <a:rPr lang="de-DE" dirty="0"/>
              <a:t>Vierte Ebene</a:t>
            </a:r>
          </a:p>
          <a:p>
            <a:pPr lvl="4"/>
            <a:r>
              <a:rPr lang="de-DE" dirty="0"/>
              <a:t>Fünfte Ebene</a:t>
            </a:r>
          </a:p>
        </p:txBody>
      </p:sp>
      <p:sp>
        <p:nvSpPr>
          <p:cNvPr id="17" name="Foliennummernplatzhalter 16"/>
          <p:cNvSpPr>
            <a:spLocks noGrp="1"/>
          </p:cNvSpPr>
          <p:nvPr>
            <p:ph type="sldNum" sz="quarter" idx="15"/>
          </p:nvPr>
        </p:nvSpPr>
        <p:spPr/>
        <p:txBody>
          <a:bodyPr/>
          <a:lstStyle/>
          <a:p>
            <a:fld id="{CD21EFEB-933F-4F46-A5AD-B6372944D9E5}" type="slidenum">
              <a:rPr lang="de-DE" smtClean="0"/>
              <a:pPr/>
              <a:t>‹Nr.›</a:t>
            </a:fld>
            <a:endParaRPr lang="de-DE" dirty="0"/>
          </a:p>
        </p:txBody>
      </p:sp>
    </p:spTree>
    <p:extLst>
      <p:ext uri="{BB962C8B-B14F-4D97-AF65-F5344CB8AC3E}">
        <p14:creationId xmlns:p14="http://schemas.microsoft.com/office/powerpoint/2010/main" val="138264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228612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448" name="think-cell Folie" r:id="rId5" imgW="572" imgH="378" progId="TCLayout.ActiveDocument.1">
                  <p:embed/>
                </p:oleObj>
              </mc:Choice>
              <mc:Fallback>
                <p:oleObj name="think-cell Folie" r:id="rId5" imgW="572" imgH="378"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100000"/>
              </a:lnSpc>
              <a:spcBef>
                <a:spcPct val="0"/>
              </a:spcBef>
              <a:spcAft>
                <a:spcPct val="0"/>
              </a:spcAft>
            </a:pPr>
            <a:endParaRPr lang="de-DE" sz="2200" b="1" i="0" baseline="0" dirty="0">
              <a:solidFill>
                <a:schemeClr val="tx1"/>
              </a:solidFill>
              <a:latin typeface="Arial"/>
              <a:ea typeface="+mj-ea"/>
              <a:cs typeface="+mj-cs"/>
              <a:sym typeface="Arial"/>
            </a:endParaRPr>
          </a:p>
        </p:txBody>
      </p:sp>
      <p:sp>
        <p:nvSpPr>
          <p:cNvPr id="4" name="Titel 3"/>
          <p:cNvSpPr>
            <a:spLocks noGrp="1"/>
          </p:cNvSpPr>
          <p:nvPr>
            <p:ph type="title" hasCustomPrompt="1"/>
          </p:nvPr>
        </p:nvSpPr>
        <p:spPr/>
        <p:txBody>
          <a:bodyPr/>
          <a:lstStyle>
            <a:lvl1pPr>
              <a:defRPr/>
            </a:lvl1pPr>
          </a:lstStyle>
          <a:p>
            <a:r>
              <a:rPr lang="de-DE" dirty="0"/>
              <a:t>Vielen Dank für Ihre Aufmerksamkeit! </a:t>
            </a:r>
          </a:p>
        </p:txBody>
      </p:sp>
      <p:sp>
        <p:nvSpPr>
          <p:cNvPr id="12" name="Foliennummernplatzhalter 11"/>
          <p:cNvSpPr>
            <a:spLocks noGrp="1"/>
          </p:cNvSpPr>
          <p:nvPr>
            <p:ph type="sldNum" sz="quarter" idx="12"/>
          </p:nvPr>
        </p:nvSpPr>
        <p:spPr/>
        <p:txBody>
          <a:bodyPr/>
          <a:lstStyle/>
          <a:p>
            <a:fld id="{CD21EFEB-933F-4F46-A5AD-B6372944D9E5}" type="slidenum">
              <a:rPr lang="de-DE" smtClean="0"/>
              <a:pPr/>
              <a:t>‹Nr.›</a:t>
            </a:fld>
            <a:endParaRPr lang="de-DE" dirty="0"/>
          </a:p>
        </p:txBody>
      </p:sp>
    </p:spTree>
    <p:extLst>
      <p:ext uri="{BB962C8B-B14F-4D97-AF65-F5344CB8AC3E}">
        <p14:creationId xmlns:p14="http://schemas.microsoft.com/office/powerpoint/2010/main" val="780509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ACK-UP">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9650626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471" name="think-cell Folie" r:id="rId4" imgW="572" imgH="378" progId="TCLayout.ActiveDocument.1">
                  <p:embed/>
                </p:oleObj>
              </mc:Choice>
              <mc:Fallback>
                <p:oleObj name="think-cell Folie" r:id="rId4" imgW="572" imgH="378"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4" name="Titel 3"/>
          <p:cNvSpPr>
            <a:spLocks noGrp="1"/>
          </p:cNvSpPr>
          <p:nvPr>
            <p:ph type="title" hasCustomPrompt="1"/>
          </p:nvPr>
        </p:nvSpPr>
        <p:spPr>
          <a:xfrm>
            <a:off x="3621184" y="3164107"/>
            <a:ext cx="1901631" cy="617734"/>
          </a:xfrm>
        </p:spPr>
        <p:txBody>
          <a:bodyPr wrap="none">
            <a:spAutoFit/>
          </a:bodyPr>
          <a:lstStyle>
            <a:lvl1pPr algn="ctr">
              <a:defRPr sz="3400"/>
            </a:lvl1pPr>
          </a:lstStyle>
          <a:p>
            <a:r>
              <a:rPr lang="de-DE" dirty="0"/>
              <a:t>Back-up</a:t>
            </a:r>
          </a:p>
        </p:txBody>
      </p:sp>
      <p:sp>
        <p:nvSpPr>
          <p:cNvPr id="12" name="Foliennummernplatzhalter 11"/>
          <p:cNvSpPr>
            <a:spLocks noGrp="1"/>
          </p:cNvSpPr>
          <p:nvPr>
            <p:ph type="sldNum" sz="quarter" idx="12"/>
          </p:nvPr>
        </p:nvSpPr>
        <p:spPr/>
        <p:txBody>
          <a:bodyPr/>
          <a:lstStyle/>
          <a:p>
            <a:fld id="{CD21EFEB-933F-4F46-A5AD-B6372944D9E5}" type="slidenum">
              <a:rPr lang="de-DE" smtClean="0"/>
              <a:pPr/>
              <a:t>‹Nr.›</a:t>
            </a:fld>
            <a:endParaRPr lang="de-DE" dirty="0"/>
          </a:p>
        </p:txBody>
      </p:sp>
      <p:pic>
        <p:nvPicPr>
          <p:cNvPr id="6" name="Grafik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76975" y="6085346"/>
            <a:ext cx="2397100" cy="560361"/>
          </a:xfrm>
          <a:prstGeom prst="rect">
            <a:avLst/>
          </a:prstGeom>
        </p:spPr>
      </p:pic>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276975" y="6085346"/>
            <a:ext cx="2397100" cy="560361"/>
          </a:xfrm>
          <a:prstGeom prst="rect">
            <a:avLst/>
          </a:prstGeom>
        </p:spPr>
      </p:pic>
    </p:spTree>
    <p:extLst>
      <p:ext uri="{BB962C8B-B14F-4D97-AF65-F5344CB8AC3E}">
        <p14:creationId xmlns:p14="http://schemas.microsoft.com/office/powerpoint/2010/main" val="361280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582883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495" name="think-cell Folie" r:id="rId5" imgW="572" imgH="378" progId="TCLayout.ActiveDocument.1">
                  <p:embed/>
                </p:oleObj>
              </mc:Choice>
              <mc:Fallback>
                <p:oleObj name="think-cell Folie" r:id="rId5" imgW="572" imgH="378"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el 3"/>
          <p:cNvSpPr>
            <a:spLocks noGrp="1"/>
          </p:cNvSpPr>
          <p:nvPr>
            <p:ph type="title" hasCustomPrompt="1"/>
            <p:custDataLst>
              <p:tags r:id="rId3"/>
            </p:custDataLst>
          </p:nvPr>
        </p:nvSpPr>
        <p:spPr>
          <a:xfrm>
            <a:off x="4104490" y="3164107"/>
            <a:ext cx="935021" cy="617734"/>
          </a:xfrm>
        </p:spPr>
        <p:txBody>
          <a:bodyPr wrap="none">
            <a:spAutoFit/>
          </a:bodyPr>
          <a:lstStyle>
            <a:lvl1pPr algn="ctr">
              <a:defRPr sz="3400"/>
            </a:lvl1pPr>
          </a:lstStyle>
          <a:p>
            <a:r>
              <a:rPr lang="de-DE" dirty="0"/>
              <a:t>Out</a:t>
            </a:r>
          </a:p>
        </p:txBody>
      </p:sp>
      <p:sp>
        <p:nvSpPr>
          <p:cNvPr id="12" name="Foliennummernplatzhalter 11"/>
          <p:cNvSpPr>
            <a:spLocks noGrp="1"/>
          </p:cNvSpPr>
          <p:nvPr>
            <p:ph type="sldNum" sz="quarter" idx="12"/>
          </p:nvPr>
        </p:nvSpPr>
        <p:spPr/>
        <p:txBody>
          <a:bodyPr/>
          <a:lstStyle/>
          <a:p>
            <a:fld id="{CD21EFEB-933F-4F46-A5AD-B6372944D9E5}" type="slidenum">
              <a:rPr lang="de-DE" smtClean="0"/>
              <a:pPr/>
              <a:t>‹Nr.›</a:t>
            </a:fld>
            <a:endParaRPr lang="de-DE" dirty="0"/>
          </a:p>
        </p:txBody>
      </p:sp>
      <p:pic>
        <p:nvPicPr>
          <p:cNvPr id="6" name="Grafik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76975" y="6085346"/>
            <a:ext cx="2397100" cy="560361"/>
          </a:xfrm>
          <a:prstGeom prst="rect">
            <a:avLst/>
          </a:prstGeom>
        </p:spPr>
      </p:pic>
      <p:pic>
        <p:nvPicPr>
          <p:cNvPr id="8" name="Grafik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276975" y="6085346"/>
            <a:ext cx="2397100" cy="560361"/>
          </a:xfrm>
          <a:prstGeom prst="rect">
            <a:avLst/>
          </a:prstGeom>
        </p:spPr>
      </p:pic>
    </p:spTree>
    <p:extLst>
      <p:ext uri="{BB962C8B-B14F-4D97-AF65-F5344CB8AC3E}">
        <p14:creationId xmlns:p14="http://schemas.microsoft.com/office/powerpoint/2010/main" val="475824468"/>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tags" Target="../tags/tag3.xml"/><Relationship Id="rId12" Type="http://schemas.openxmlformats.org/officeDocument/2006/relationships/oleObject" Target="../embeddings/oleObject1.bin"/><Relationship Id="rId13" Type="http://schemas.openxmlformats.org/officeDocument/2006/relationships/image" Target="../media/image1.emf"/><Relationship Id="rId1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9" Type="http://schemas.openxmlformats.org/officeDocument/2006/relationships/vmlDrawing" Target="../drawings/vmlDrawing1.vml"/><Relationship Id="rId1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p:cNvGraphicFramePr>
          <p:nvPr>
            <p:custDataLst>
              <p:tags r:id="rId10"/>
            </p:custDataLst>
            <p:extLst>
              <p:ext uri="{D42A27DB-BD31-4B8C-83A1-F6EECF244321}">
                <p14:modId xmlns:p14="http://schemas.microsoft.com/office/powerpoint/2010/main" val="2587338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303" name="think-cell Folie" r:id="rId12" imgW="572" imgH="378" progId="TCLayout.ActiveDocument.1">
                  <p:embed/>
                </p:oleObj>
              </mc:Choice>
              <mc:Fallback>
                <p:oleObj name="think-cell Folie" r:id="rId12" imgW="572" imgH="378"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4" name="Rechteck 3" hidden="1"/>
          <p:cNvSpPr/>
          <p:nvPr userDrawn="1">
            <p:custDataLst>
              <p:tags r:id="rId11"/>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100000"/>
              </a:lnSpc>
              <a:spcBef>
                <a:spcPct val="0"/>
              </a:spcBef>
              <a:spcAft>
                <a:spcPct val="0"/>
              </a:spcAft>
            </a:pPr>
            <a:endParaRPr lang="de-DE" sz="2200" b="1"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10" name="Grafik 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276975" y="6085346"/>
            <a:ext cx="2397100" cy="560361"/>
          </a:xfrm>
          <a:prstGeom prst="rect">
            <a:avLst/>
          </a:prstGeom>
        </p:spPr>
      </p:pic>
      <p:sp>
        <p:nvSpPr>
          <p:cNvPr id="2" name="Titelplatzhalter 1"/>
          <p:cNvSpPr>
            <a:spLocks noGrp="1"/>
          </p:cNvSpPr>
          <p:nvPr>
            <p:ph type="title"/>
          </p:nvPr>
        </p:nvSpPr>
        <p:spPr>
          <a:xfrm>
            <a:off x="446996" y="281196"/>
            <a:ext cx="8157254" cy="648072"/>
          </a:xfrm>
          <a:prstGeom prst="rect">
            <a:avLst/>
          </a:prstGeom>
        </p:spPr>
        <p:txBody>
          <a:bodyPr vert="horz" lIns="90000" tIns="46800" rIns="91440" bIns="46800" rtlCol="0" anchor="t" anchorCtr="0">
            <a:noAutofit/>
          </a:bodyPr>
          <a:lstStyle/>
          <a:p>
            <a:r>
              <a:rPr lang="de-DE" dirty="0"/>
              <a:t>Das ist eine Überschrift in zwei Zeilen</a:t>
            </a:r>
          </a:p>
        </p:txBody>
      </p:sp>
      <p:sp>
        <p:nvSpPr>
          <p:cNvPr id="3" name="Textplatzhalter 2"/>
          <p:cNvSpPr>
            <a:spLocks noGrp="1"/>
          </p:cNvSpPr>
          <p:nvPr>
            <p:ph type="body" idx="1"/>
          </p:nvPr>
        </p:nvSpPr>
        <p:spPr>
          <a:xfrm>
            <a:off x="451758" y="1083558"/>
            <a:ext cx="6635010" cy="292316"/>
          </a:xfrm>
          <a:prstGeom prst="rect">
            <a:avLst/>
          </a:prstGeom>
        </p:spPr>
        <p:txBody>
          <a:bodyPr vert="horz" lIns="90000" tIns="46800" rIns="91440" bIns="46800" rtlCol="0">
            <a:noAutofit/>
          </a:bodyPr>
          <a:lstStyle/>
          <a:p>
            <a:pPr lvl="0"/>
            <a:r>
              <a:rPr lang="de-DE" dirty="0"/>
              <a:t>Das ist eine Zwischen-Überschrift in einer Zeil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Fünfte Ebene</a:t>
            </a:r>
          </a:p>
          <a:p>
            <a:pPr lvl="5"/>
            <a:r>
              <a:rPr lang="de-DE" dirty="0"/>
              <a:t>Fünfte Ebene</a:t>
            </a:r>
          </a:p>
          <a:p>
            <a:pPr lvl="4"/>
            <a:r>
              <a:rPr lang="de-DE" dirty="0"/>
              <a:t>Fünfte Ebene</a:t>
            </a:r>
          </a:p>
          <a:p>
            <a:pPr lvl="8"/>
            <a:r>
              <a:rPr lang="de-DE" dirty="0"/>
              <a:t>Fünfte Ebene</a:t>
            </a:r>
          </a:p>
        </p:txBody>
      </p:sp>
      <p:sp>
        <p:nvSpPr>
          <p:cNvPr id="9" name="Foliennummernplatzhalter 8"/>
          <p:cNvSpPr>
            <a:spLocks noGrp="1"/>
          </p:cNvSpPr>
          <p:nvPr>
            <p:ph type="sldNum" sz="quarter" idx="4"/>
          </p:nvPr>
        </p:nvSpPr>
        <p:spPr>
          <a:xfrm>
            <a:off x="519428" y="6295779"/>
            <a:ext cx="400622" cy="246221"/>
          </a:xfrm>
          <a:prstGeom prst="rect">
            <a:avLst/>
          </a:prstGeom>
        </p:spPr>
        <p:txBody>
          <a:bodyPr vert="horz" wrap="none" lIns="0" tIns="0" rIns="0" bIns="0" rtlCol="0" anchor="ctr">
            <a:spAutoFit/>
          </a:bodyPr>
          <a:lstStyle>
            <a:lvl1pPr algn="l">
              <a:defRPr sz="1600">
                <a:solidFill>
                  <a:schemeClr val="accent1"/>
                </a:solidFill>
              </a:defRPr>
            </a:lvl1pPr>
          </a:lstStyle>
          <a:p>
            <a:fld id="{CD21EFEB-933F-4F46-A5AD-B6372944D9E5}" type="slidenum">
              <a:rPr lang="de-DE" smtClean="0"/>
              <a:pPr/>
              <a:t>‹Nr.›</a:t>
            </a:fld>
            <a:endParaRPr lang="de-DE" dirty="0"/>
          </a:p>
        </p:txBody>
      </p:sp>
      <p:sp>
        <p:nvSpPr>
          <p:cNvPr id="8" name="Textfeld 7" descr="casecode"/>
          <p:cNvSpPr txBox="1"/>
          <p:nvPr/>
        </p:nvSpPr>
        <p:spPr>
          <a:xfrm rot="16200000">
            <a:off x="-1690378" y="3338552"/>
            <a:ext cx="3643154" cy="92333"/>
          </a:xfrm>
          <a:prstGeom prst="rect">
            <a:avLst/>
          </a:prstGeom>
          <a:noFill/>
        </p:spPr>
        <p:txBody>
          <a:bodyPr wrap="square" lIns="0" tIns="0" rIns="0" bIns="0" rtlCol="0">
            <a:noAutofit/>
          </a:bodyPr>
          <a:lstStyle/>
          <a:p>
            <a:pPr algn="l"/>
            <a:r>
              <a:rPr lang="de-DE" sz="600">
                <a:solidFill>
                  <a:schemeClr val="accent1"/>
                </a:solidFill>
              </a:rPr>
              <a:t>02000207_civity_Wiener_Modell_BAG_20191102_JUZ_ver3.pptx</a:t>
            </a:r>
            <a:endParaRPr lang="de-DE" sz="600" dirty="0">
              <a:solidFill>
                <a:schemeClr val="accent1"/>
              </a:solidFill>
            </a:endParaRPr>
          </a:p>
        </p:txBody>
      </p:sp>
      <p:sp>
        <p:nvSpPr>
          <p:cNvPr id="19" name="Textfeld 18"/>
          <p:cNvSpPr txBox="1"/>
          <p:nvPr/>
        </p:nvSpPr>
        <p:spPr>
          <a:xfrm rot="16200000">
            <a:off x="-164640" y="5482315"/>
            <a:ext cx="591665" cy="92333"/>
          </a:xfrm>
          <a:prstGeom prst="rect">
            <a:avLst/>
          </a:prstGeom>
          <a:noFill/>
        </p:spPr>
        <p:txBody>
          <a:bodyPr wrap="square" lIns="0" tIns="0" rIns="0" bIns="0" rtlCol="0">
            <a:spAutoFit/>
          </a:bodyPr>
          <a:lstStyle/>
          <a:p>
            <a:pPr algn="r"/>
            <a:r>
              <a:rPr lang="de-DE" sz="600" dirty="0">
                <a:solidFill>
                  <a:schemeClr val="accent1"/>
                </a:solidFill>
              </a:rPr>
              <a:t>© </a:t>
            </a:r>
            <a:r>
              <a:rPr lang="de-DE" sz="600" dirty="0" err="1">
                <a:solidFill>
                  <a:schemeClr val="accent1"/>
                </a:solidFill>
              </a:rPr>
              <a:t>civity</a:t>
            </a:r>
            <a:r>
              <a:rPr lang="de-DE" sz="600" dirty="0">
                <a:solidFill>
                  <a:schemeClr val="accent1"/>
                </a:solidFill>
              </a:rPr>
              <a:t> 2019</a:t>
            </a:r>
            <a:r>
              <a:rPr lang="de-DE" sz="600" b="1" dirty="0">
                <a:solidFill>
                  <a:schemeClr val="accent1"/>
                </a:solidFill>
              </a:rPr>
              <a:t> ///</a:t>
            </a:r>
          </a:p>
        </p:txBody>
      </p:sp>
    </p:spTree>
    <p:extLst>
      <p:ext uri="{BB962C8B-B14F-4D97-AF65-F5344CB8AC3E}">
        <p14:creationId xmlns:p14="http://schemas.microsoft.com/office/powerpoint/2010/main" val="215072313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7" r:id="rId5"/>
    <p:sldLayoutId id="2147483718" r:id="rId6"/>
    <p:sldLayoutId id="2147483719" r:id="rId7"/>
  </p:sldLayoutIdLst>
  <p:hf hdr="0" ftr="0" dt="0"/>
  <p:txStyles>
    <p:titleStyle>
      <a:lvl1pPr algn="l" defTabSz="914400" rtl="0" eaLnBrk="1" latinLnBrk="0" hangingPunct="1">
        <a:lnSpc>
          <a:spcPct val="100000"/>
        </a:lnSpc>
        <a:spcBef>
          <a:spcPct val="0"/>
        </a:spcBef>
        <a:buNone/>
        <a:defRPr sz="2200" b="1" kern="1200" baseline="0">
          <a:solidFill>
            <a:schemeClr val="accent1"/>
          </a:solidFill>
          <a:latin typeface="+mj-lt"/>
          <a:ea typeface="+mj-ea"/>
          <a:cs typeface="+mj-cs"/>
        </a:defRPr>
      </a:lvl1pPr>
    </p:titleStyle>
    <p:body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slideLayout" Target="../slideLayouts/slideLayout1.xml"/><Relationship Id="rId6" Type="http://schemas.openxmlformats.org/officeDocument/2006/relationships/notesSlide" Target="../notesSlides/notesSlide1.xml"/><Relationship Id="rId7" Type="http://schemas.openxmlformats.org/officeDocument/2006/relationships/image" Target="../media/image5.jpeg"/><Relationship Id="rId8" Type="http://schemas.openxmlformats.org/officeDocument/2006/relationships/oleObject" Target="../embeddings/oleObject9.bin"/><Relationship Id="rId9" Type="http://schemas.openxmlformats.org/officeDocument/2006/relationships/image" Target="../media/image1.emf"/><Relationship Id="rId10" Type="http://schemas.openxmlformats.org/officeDocument/2006/relationships/image" Target="../media/image6.jpeg"/><Relationship Id="rId1" Type="http://schemas.openxmlformats.org/officeDocument/2006/relationships/vmlDrawing" Target="../drawings/vmlDrawing9.vml"/><Relationship Id="rId2" Type="http://schemas.openxmlformats.org/officeDocument/2006/relationships/tags" Target="../tags/tag22.xml"/></Relationships>
</file>

<file path=ppt/slides/_rels/slide10.xml.rels><?xml version="1.0" encoding="UTF-8" standalone="yes"?>
<Relationships xmlns="http://schemas.openxmlformats.org/package/2006/relationships"><Relationship Id="rId11" Type="http://schemas.openxmlformats.org/officeDocument/2006/relationships/image" Target="../media/image42.png"/><Relationship Id="rId12" Type="http://schemas.microsoft.com/office/2007/relationships/hdphoto" Target="../media/hdphoto6.wdp"/><Relationship Id="rId13" Type="http://schemas.openxmlformats.org/officeDocument/2006/relationships/image" Target="../media/image43.png"/><Relationship Id="rId14" Type="http://schemas.microsoft.com/office/2007/relationships/hdphoto" Target="../media/hdphoto7.wdp"/><Relationship Id="rId15" Type="http://schemas.openxmlformats.org/officeDocument/2006/relationships/image" Target="../media/image44.png"/><Relationship Id="rId16" Type="http://schemas.microsoft.com/office/2007/relationships/hdphoto" Target="../media/hdphoto8.wdp"/><Relationship Id="rId17" Type="http://schemas.openxmlformats.org/officeDocument/2006/relationships/image" Target="../media/image63.png"/><Relationship Id="rId18" Type="http://schemas.microsoft.com/office/2007/relationships/hdphoto" Target="../media/hdphoto16.wdp"/><Relationship Id="rId19" Type="http://schemas.openxmlformats.org/officeDocument/2006/relationships/image" Target="../media/image64.png"/><Relationship Id="rId1" Type="http://schemas.openxmlformats.org/officeDocument/2006/relationships/vmlDrawing" Target="../drawings/vmlDrawing17.vml"/><Relationship Id="rId2" Type="http://schemas.openxmlformats.org/officeDocument/2006/relationships/tags" Target="../tags/tag94.xml"/><Relationship Id="rId3" Type="http://schemas.openxmlformats.org/officeDocument/2006/relationships/tags" Target="../tags/tag95.xml"/><Relationship Id="rId4" Type="http://schemas.openxmlformats.org/officeDocument/2006/relationships/tags" Target="../tags/tag96.xml"/><Relationship Id="rId5" Type="http://schemas.openxmlformats.org/officeDocument/2006/relationships/slideLayout" Target="../slideLayouts/slideLayout3.xml"/><Relationship Id="rId6" Type="http://schemas.openxmlformats.org/officeDocument/2006/relationships/notesSlide" Target="../notesSlides/notesSlide10.xml"/><Relationship Id="rId7" Type="http://schemas.openxmlformats.org/officeDocument/2006/relationships/oleObject" Target="../embeddings/oleObject17.bin"/><Relationship Id="rId8" Type="http://schemas.openxmlformats.org/officeDocument/2006/relationships/image" Target="../media/image52.emf"/><Relationship Id="rId9" Type="http://schemas.openxmlformats.org/officeDocument/2006/relationships/image" Target="../media/image45.png"/><Relationship Id="rId10" Type="http://schemas.microsoft.com/office/2007/relationships/hdphoto" Target="../media/hdphoto9.wdp"/></Relationships>
</file>

<file path=ppt/slides/_rels/slide11.xml.rels><?xml version="1.0" encoding="UTF-8" standalone="yes"?>
<Relationships xmlns="http://schemas.openxmlformats.org/package/2006/relationships"><Relationship Id="rId20" Type="http://schemas.openxmlformats.org/officeDocument/2006/relationships/tags" Target="../tags/tag115.xml"/><Relationship Id="rId21" Type="http://schemas.openxmlformats.org/officeDocument/2006/relationships/tags" Target="../tags/tag116.xml"/><Relationship Id="rId22" Type="http://schemas.openxmlformats.org/officeDocument/2006/relationships/tags" Target="../tags/tag117.xml"/><Relationship Id="rId23" Type="http://schemas.openxmlformats.org/officeDocument/2006/relationships/tags" Target="../tags/tag118.xml"/><Relationship Id="rId24" Type="http://schemas.openxmlformats.org/officeDocument/2006/relationships/tags" Target="../tags/tag119.xml"/><Relationship Id="rId25" Type="http://schemas.openxmlformats.org/officeDocument/2006/relationships/tags" Target="../tags/tag120.xml"/><Relationship Id="rId26" Type="http://schemas.openxmlformats.org/officeDocument/2006/relationships/tags" Target="../tags/tag121.xml"/><Relationship Id="rId27" Type="http://schemas.openxmlformats.org/officeDocument/2006/relationships/tags" Target="../tags/tag122.xml"/><Relationship Id="rId28" Type="http://schemas.openxmlformats.org/officeDocument/2006/relationships/tags" Target="../tags/tag123.xml"/><Relationship Id="rId29" Type="http://schemas.openxmlformats.org/officeDocument/2006/relationships/tags" Target="../tags/tag124.xml"/><Relationship Id="rId1" Type="http://schemas.openxmlformats.org/officeDocument/2006/relationships/vmlDrawing" Target="../drawings/vmlDrawing18.vml"/><Relationship Id="rId2" Type="http://schemas.openxmlformats.org/officeDocument/2006/relationships/tags" Target="../tags/tag97.xml"/><Relationship Id="rId3" Type="http://schemas.openxmlformats.org/officeDocument/2006/relationships/tags" Target="../tags/tag98.xml"/><Relationship Id="rId4" Type="http://schemas.openxmlformats.org/officeDocument/2006/relationships/tags" Target="../tags/tag99.xml"/><Relationship Id="rId5" Type="http://schemas.openxmlformats.org/officeDocument/2006/relationships/tags" Target="../tags/tag100.xml"/><Relationship Id="rId30" Type="http://schemas.openxmlformats.org/officeDocument/2006/relationships/tags" Target="../tags/tag125.xml"/><Relationship Id="rId31" Type="http://schemas.openxmlformats.org/officeDocument/2006/relationships/tags" Target="../tags/tag126.xml"/><Relationship Id="rId32" Type="http://schemas.openxmlformats.org/officeDocument/2006/relationships/tags" Target="../tags/tag127.xml"/><Relationship Id="rId9" Type="http://schemas.openxmlformats.org/officeDocument/2006/relationships/tags" Target="../tags/tag104.xml"/><Relationship Id="rId6" Type="http://schemas.openxmlformats.org/officeDocument/2006/relationships/tags" Target="../tags/tag101.xml"/><Relationship Id="rId7" Type="http://schemas.openxmlformats.org/officeDocument/2006/relationships/tags" Target="../tags/tag102.xml"/><Relationship Id="rId8" Type="http://schemas.openxmlformats.org/officeDocument/2006/relationships/tags" Target="../tags/tag103.xml"/><Relationship Id="rId33" Type="http://schemas.openxmlformats.org/officeDocument/2006/relationships/tags" Target="../tags/tag128.xml"/><Relationship Id="rId34" Type="http://schemas.openxmlformats.org/officeDocument/2006/relationships/tags" Target="../tags/tag129.xml"/><Relationship Id="rId35" Type="http://schemas.openxmlformats.org/officeDocument/2006/relationships/tags" Target="../tags/tag130.xml"/><Relationship Id="rId36" Type="http://schemas.openxmlformats.org/officeDocument/2006/relationships/tags" Target="../tags/tag131.xml"/><Relationship Id="rId10" Type="http://schemas.openxmlformats.org/officeDocument/2006/relationships/tags" Target="../tags/tag105.xml"/><Relationship Id="rId11" Type="http://schemas.openxmlformats.org/officeDocument/2006/relationships/tags" Target="../tags/tag106.xml"/><Relationship Id="rId12" Type="http://schemas.openxmlformats.org/officeDocument/2006/relationships/tags" Target="../tags/tag107.xml"/><Relationship Id="rId13" Type="http://schemas.openxmlformats.org/officeDocument/2006/relationships/tags" Target="../tags/tag108.xml"/><Relationship Id="rId14" Type="http://schemas.openxmlformats.org/officeDocument/2006/relationships/tags" Target="../tags/tag109.xml"/><Relationship Id="rId15" Type="http://schemas.openxmlformats.org/officeDocument/2006/relationships/tags" Target="../tags/tag110.xml"/><Relationship Id="rId16" Type="http://schemas.openxmlformats.org/officeDocument/2006/relationships/tags" Target="../tags/tag111.xml"/><Relationship Id="rId17" Type="http://schemas.openxmlformats.org/officeDocument/2006/relationships/tags" Target="../tags/tag112.xml"/><Relationship Id="rId18" Type="http://schemas.openxmlformats.org/officeDocument/2006/relationships/tags" Target="../tags/tag113.xml"/><Relationship Id="rId19" Type="http://schemas.openxmlformats.org/officeDocument/2006/relationships/tags" Target="../tags/tag114.xml"/><Relationship Id="rId37" Type="http://schemas.openxmlformats.org/officeDocument/2006/relationships/slideLayout" Target="../slideLayouts/slideLayout3.xml"/><Relationship Id="rId38" Type="http://schemas.openxmlformats.org/officeDocument/2006/relationships/notesSlide" Target="../notesSlides/notesSlide11.xml"/><Relationship Id="rId39" Type="http://schemas.openxmlformats.org/officeDocument/2006/relationships/oleObject" Target="../embeddings/oleObject18.bin"/><Relationship Id="rId40" Type="http://schemas.openxmlformats.org/officeDocument/2006/relationships/image" Target="../media/image52.emf"/><Relationship Id="rId41" Type="http://schemas.openxmlformats.org/officeDocument/2006/relationships/chart" Target="../charts/chart2.xml"/></Relationships>
</file>

<file path=ppt/slides/_rels/slide12.xml.rels><?xml version="1.0" encoding="UTF-8" standalone="yes"?>
<Relationships xmlns="http://schemas.openxmlformats.org/package/2006/relationships"><Relationship Id="rId20" Type="http://schemas.openxmlformats.org/officeDocument/2006/relationships/tags" Target="../tags/tag150.xml"/><Relationship Id="rId21" Type="http://schemas.openxmlformats.org/officeDocument/2006/relationships/tags" Target="../tags/tag151.xml"/><Relationship Id="rId22" Type="http://schemas.openxmlformats.org/officeDocument/2006/relationships/tags" Target="../tags/tag152.xml"/><Relationship Id="rId23" Type="http://schemas.openxmlformats.org/officeDocument/2006/relationships/tags" Target="../tags/tag153.xml"/><Relationship Id="rId24" Type="http://schemas.openxmlformats.org/officeDocument/2006/relationships/tags" Target="../tags/tag154.xml"/><Relationship Id="rId25" Type="http://schemas.openxmlformats.org/officeDocument/2006/relationships/tags" Target="../tags/tag155.xml"/><Relationship Id="rId26" Type="http://schemas.openxmlformats.org/officeDocument/2006/relationships/tags" Target="../tags/tag156.xml"/><Relationship Id="rId27" Type="http://schemas.openxmlformats.org/officeDocument/2006/relationships/slideLayout" Target="../slideLayouts/slideLayout3.xml"/><Relationship Id="rId28" Type="http://schemas.openxmlformats.org/officeDocument/2006/relationships/notesSlide" Target="../notesSlides/notesSlide12.xml"/><Relationship Id="rId29" Type="http://schemas.openxmlformats.org/officeDocument/2006/relationships/oleObject" Target="../embeddings/oleObject19.bin"/><Relationship Id="rId1" Type="http://schemas.openxmlformats.org/officeDocument/2006/relationships/vmlDrawing" Target="../drawings/vmlDrawing19.vml"/><Relationship Id="rId2" Type="http://schemas.openxmlformats.org/officeDocument/2006/relationships/tags" Target="../tags/tag132.xml"/><Relationship Id="rId3" Type="http://schemas.openxmlformats.org/officeDocument/2006/relationships/tags" Target="../tags/tag133.xml"/><Relationship Id="rId4" Type="http://schemas.openxmlformats.org/officeDocument/2006/relationships/tags" Target="../tags/tag134.xml"/><Relationship Id="rId5" Type="http://schemas.openxmlformats.org/officeDocument/2006/relationships/tags" Target="../tags/tag135.xml"/><Relationship Id="rId30" Type="http://schemas.openxmlformats.org/officeDocument/2006/relationships/image" Target="../media/image52.emf"/><Relationship Id="rId31" Type="http://schemas.openxmlformats.org/officeDocument/2006/relationships/chart" Target="../charts/chart3.xml"/><Relationship Id="rId32" Type="http://schemas.openxmlformats.org/officeDocument/2006/relationships/image" Target="../media/image65.png"/><Relationship Id="rId9" Type="http://schemas.openxmlformats.org/officeDocument/2006/relationships/tags" Target="../tags/tag139.xml"/><Relationship Id="rId6" Type="http://schemas.openxmlformats.org/officeDocument/2006/relationships/tags" Target="../tags/tag136.xml"/><Relationship Id="rId7" Type="http://schemas.openxmlformats.org/officeDocument/2006/relationships/tags" Target="../tags/tag137.xml"/><Relationship Id="rId8" Type="http://schemas.openxmlformats.org/officeDocument/2006/relationships/tags" Target="../tags/tag138.xml"/><Relationship Id="rId33" Type="http://schemas.microsoft.com/office/2007/relationships/hdphoto" Target="../media/hdphoto17.wdp"/><Relationship Id="rId34" Type="http://schemas.openxmlformats.org/officeDocument/2006/relationships/hyperlink" Target="https://wien.orf.at/news/stories/2876526/" TargetMode="External"/><Relationship Id="rId10" Type="http://schemas.openxmlformats.org/officeDocument/2006/relationships/tags" Target="../tags/tag140.xml"/><Relationship Id="rId11" Type="http://schemas.openxmlformats.org/officeDocument/2006/relationships/tags" Target="../tags/tag141.xml"/><Relationship Id="rId12" Type="http://schemas.openxmlformats.org/officeDocument/2006/relationships/tags" Target="../tags/tag142.xml"/><Relationship Id="rId13" Type="http://schemas.openxmlformats.org/officeDocument/2006/relationships/tags" Target="../tags/tag143.xml"/><Relationship Id="rId14" Type="http://schemas.openxmlformats.org/officeDocument/2006/relationships/tags" Target="../tags/tag144.xml"/><Relationship Id="rId15" Type="http://schemas.openxmlformats.org/officeDocument/2006/relationships/tags" Target="../tags/tag145.xml"/><Relationship Id="rId16" Type="http://schemas.openxmlformats.org/officeDocument/2006/relationships/tags" Target="../tags/tag146.xml"/><Relationship Id="rId17" Type="http://schemas.openxmlformats.org/officeDocument/2006/relationships/tags" Target="../tags/tag147.xml"/><Relationship Id="rId18" Type="http://schemas.openxmlformats.org/officeDocument/2006/relationships/tags" Target="../tags/tag148.xml"/><Relationship Id="rId19" Type="http://schemas.openxmlformats.org/officeDocument/2006/relationships/tags" Target="../tags/tag149.xml"/></Relationships>
</file>

<file path=ppt/slides/_rels/slide13.xml.rels><?xml version="1.0" encoding="UTF-8" standalone="yes"?>
<Relationships xmlns="http://schemas.openxmlformats.org/package/2006/relationships"><Relationship Id="rId11" Type="http://schemas.openxmlformats.org/officeDocument/2006/relationships/tags" Target="../tags/tag166.xml"/><Relationship Id="rId12" Type="http://schemas.openxmlformats.org/officeDocument/2006/relationships/tags" Target="../tags/tag167.xml"/><Relationship Id="rId13" Type="http://schemas.openxmlformats.org/officeDocument/2006/relationships/tags" Target="../tags/tag168.xml"/><Relationship Id="rId14" Type="http://schemas.openxmlformats.org/officeDocument/2006/relationships/slideLayout" Target="../slideLayouts/slideLayout3.xml"/><Relationship Id="rId15" Type="http://schemas.openxmlformats.org/officeDocument/2006/relationships/notesSlide" Target="../notesSlides/notesSlide13.xml"/><Relationship Id="rId16" Type="http://schemas.openxmlformats.org/officeDocument/2006/relationships/oleObject" Target="../embeddings/oleObject20.bin"/><Relationship Id="rId17" Type="http://schemas.openxmlformats.org/officeDocument/2006/relationships/image" Target="../media/image3.emf"/><Relationship Id="rId18" Type="http://schemas.openxmlformats.org/officeDocument/2006/relationships/chart" Target="../charts/chart4.xml"/><Relationship Id="rId1" Type="http://schemas.openxmlformats.org/officeDocument/2006/relationships/vmlDrawing" Target="../drawings/vmlDrawing20.vml"/><Relationship Id="rId2" Type="http://schemas.openxmlformats.org/officeDocument/2006/relationships/tags" Target="../tags/tag157.xml"/><Relationship Id="rId3" Type="http://schemas.openxmlformats.org/officeDocument/2006/relationships/tags" Target="../tags/tag158.xml"/><Relationship Id="rId4" Type="http://schemas.openxmlformats.org/officeDocument/2006/relationships/tags" Target="../tags/tag159.xml"/><Relationship Id="rId5" Type="http://schemas.openxmlformats.org/officeDocument/2006/relationships/tags" Target="../tags/tag160.xml"/><Relationship Id="rId6" Type="http://schemas.openxmlformats.org/officeDocument/2006/relationships/tags" Target="../tags/tag161.xml"/><Relationship Id="rId7" Type="http://schemas.openxmlformats.org/officeDocument/2006/relationships/tags" Target="../tags/tag162.xml"/><Relationship Id="rId8" Type="http://schemas.openxmlformats.org/officeDocument/2006/relationships/tags" Target="../tags/tag163.xml"/><Relationship Id="rId9" Type="http://schemas.openxmlformats.org/officeDocument/2006/relationships/tags" Target="../tags/tag164.xml"/><Relationship Id="rId10" Type="http://schemas.openxmlformats.org/officeDocument/2006/relationships/tags" Target="../tags/tag165.xml"/></Relationships>
</file>

<file path=ppt/slides/_rels/slide14.xml.rels><?xml version="1.0" encoding="UTF-8" standalone="yes"?>
<Relationships xmlns="http://schemas.openxmlformats.org/package/2006/relationships"><Relationship Id="rId11" Type="http://schemas.openxmlformats.org/officeDocument/2006/relationships/image" Target="../media/image68.png"/><Relationship Id="rId12" Type="http://schemas.openxmlformats.org/officeDocument/2006/relationships/image" Target="../media/image69.png"/><Relationship Id="rId13" Type="http://schemas.openxmlformats.org/officeDocument/2006/relationships/image" Target="../media/image70.png"/><Relationship Id="rId14" Type="http://schemas.openxmlformats.org/officeDocument/2006/relationships/image" Target="../media/image71.png"/><Relationship Id="rId15" Type="http://schemas.openxmlformats.org/officeDocument/2006/relationships/image" Target="../media/image46.png"/><Relationship Id="rId16" Type="http://schemas.openxmlformats.org/officeDocument/2006/relationships/image" Target="../media/image47.png"/><Relationship Id="rId17" Type="http://schemas.openxmlformats.org/officeDocument/2006/relationships/image" Target="../media/image48.png"/><Relationship Id="rId18" Type="http://schemas.openxmlformats.org/officeDocument/2006/relationships/image" Target="../media/image49.png"/><Relationship Id="rId19" Type="http://schemas.openxmlformats.org/officeDocument/2006/relationships/image" Target="../media/image72.png"/><Relationship Id="rId1" Type="http://schemas.openxmlformats.org/officeDocument/2006/relationships/vmlDrawing" Target="../drawings/vmlDrawing21.vml"/><Relationship Id="rId2" Type="http://schemas.openxmlformats.org/officeDocument/2006/relationships/tags" Target="../tags/tag169.xml"/><Relationship Id="rId3" Type="http://schemas.openxmlformats.org/officeDocument/2006/relationships/tags" Target="../tags/tag170.xml"/><Relationship Id="rId4" Type="http://schemas.openxmlformats.org/officeDocument/2006/relationships/tags" Target="../tags/tag171.xml"/><Relationship Id="rId5" Type="http://schemas.openxmlformats.org/officeDocument/2006/relationships/tags" Target="../tags/tag172.xml"/><Relationship Id="rId6" Type="http://schemas.openxmlformats.org/officeDocument/2006/relationships/slideLayout" Target="../slideLayouts/slideLayout3.xml"/><Relationship Id="rId7" Type="http://schemas.openxmlformats.org/officeDocument/2006/relationships/notesSlide" Target="../notesSlides/notesSlide14.xml"/><Relationship Id="rId8" Type="http://schemas.openxmlformats.org/officeDocument/2006/relationships/oleObject" Target="../embeddings/oleObject21.bin"/><Relationship Id="rId9" Type="http://schemas.openxmlformats.org/officeDocument/2006/relationships/image" Target="../media/image66.emf"/><Relationship Id="rId10" Type="http://schemas.openxmlformats.org/officeDocument/2006/relationships/image" Target="../media/image67.png"/></Relationships>
</file>

<file path=ppt/slides/_rels/slide15.xml.rels><?xml version="1.0" encoding="UTF-8" standalone="yes"?>
<Relationships xmlns="http://schemas.openxmlformats.org/package/2006/relationships"><Relationship Id="rId20" Type="http://schemas.openxmlformats.org/officeDocument/2006/relationships/tags" Target="../tags/tag191.xml"/><Relationship Id="rId21" Type="http://schemas.openxmlformats.org/officeDocument/2006/relationships/tags" Target="../tags/tag192.xml"/><Relationship Id="rId22" Type="http://schemas.openxmlformats.org/officeDocument/2006/relationships/tags" Target="../tags/tag193.xml"/><Relationship Id="rId23" Type="http://schemas.openxmlformats.org/officeDocument/2006/relationships/tags" Target="../tags/tag194.xml"/><Relationship Id="rId24" Type="http://schemas.openxmlformats.org/officeDocument/2006/relationships/tags" Target="../tags/tag195.xml"/><Relationship Id="rId25" Type="http://schemas.openxmlformats.org/officeDocument/2006/relationships/tags" Target="../tags/tag196.xml"/><Relationship Id="rId26" Type="http://schemas.openxmlformats.org/officeDocument/2006/relationships/tags" Target="../tags/tag197.xml"/><Relationship Id="rId27" Type="http://schemas.openxmlformats.org/officeDocument/2006/relationships/tags" Target="../tags/tag198.xml"/><Relationship Id="rId28" Type="http://schemas.openxmlformats.org/officeDocument/2006/relationships/tags" Target="../tags/tag199.xml"/><Relationship Id="rId29" Type="http://schemas.openxmlformats.org/officeDocument/2006/relationships/tags" Target="../tags/tag200.xml"/><Relationship Id="rId1" Type="http://schemas.openxmlformats.org/officeDocument/2006/relationships/vmlDrawing" Target="../drawings/vmlDrawing22.vml"/><Relationship Id="rId2" Type="http://schemas.openxmlformats.org/officeDocument/2006/relationships/tags" Target="../tags/tag173.xml"/><Relationship Id="rId3" Type="http://schemas.openxmlformats.org/officeDocument/2006/relationships/tags" Target="../tags/tag174.xml"/><Relationship Id="rId4" Type="http://schemas.openxmlformats.org/officeDocument/2006/relationships/tags" Target="../tags/tag175.xml"/><Relationship Id="rId5" Type="http://schemas.openxmlformats.org/officeDocument/2006/relationships/tags" Target="../tags/tag176.xml"/><Relationship Id="rId30" Type="http://schemas.openxmlformats.org/officeDocument/2006/relationships/tags" Target="../tags/tag201.xml"/><Relationship Id="rId31" Type="http://schemas.openxmlformats.org/officeDocument/2006/relationships/tags" Target="../tags/tag202.xml"/><Relationship Id="rId32" Type="http://schemas.openxmlformats.org/officeDocument/2006/relationships/slideLayout" Target="../slideLayouts/slideLayout3.xml"/><Relationship Id="rId9" Type="http://schemas.openxmlformats.org/officeDocument/2006/relationships/tags" Target="../tags/tag180.xml"/><Relationship Id="rId6" Type="http://schemas.openxmlformats.org/officeDocument/2006/relationships/tags" Target="../tags/tag177.xml"/><Relationship Id="rId7" Type="http://schemas.openxmlformats.org/officeDocument/2006/relationships/tags" Target="../tags/tag178.xml"/><Relationship Id="rId8" Type="http://schemas.openxmlformats.org/officeDocument/2006/relationships/tags" Target="../tags/tag179.xml"/><Relationship Id="rId33" Type="http://schemas.openxmlformats.org/officeDocument/2006/relationships/notesSlide" Target="../notesSlides/notesSlide15.xml"/><Relationship Id="rId34" Type="http://schemas.openxmlformats.org/officeDocument/2006/relationships/oleObject" Target="../embeddings/oleObject22.bin"/><Relationship Id="rId35" Type="http://schemas.openxmlformats.org/officeDocument/2006/relationships/image" Target="../media/image73.emf"/><Relationship Id="rId36" Type="http://schemas.openxmlformats.org/officeDocument/2006/relationships/chart" Target="../charts/chart5.xml"/><Relationship Id="rId10" Type="http://schemas.openxmlformats.org/officeDocument/2006/relationships/tags" Target="../tags/tag181.xml"/><Relationship Id="rId11" Type="http://schemas.openxmlformats.org/officeDocument/2006/relationships/tags" Target="../tags/tag182.xml"/><Relationship Id="rId12" Type="http://schemas.openxmlformats.org/officeDocument/2006/relationships/tags" Target="../tags/tag183.xml"/><Relationship Id="rId13" Type="http://schemas.openxmlformats.org/officeDocument/2006/relationships/tags" Target="../tags/tag184.xml"/><Relationship Id="rId14" Type="http://schemas.openxmlformats.org/officeDocument/2006/relationships/tags" Target="../tags/tag185.xml"/><Relationship Id="rId15" Type="http://schemas.openxmlformats.org/officeDocument/2006/relationships/tags" Target="../tags/tag186.xml"/><Relationship Id="rId16" Type="http://schemas.openxmlformats.org/officeDocument/2006/relationships/tags" Target="../tags/tag187.xml"/><Relationship Id="rId17" Type="http://schemas.openxmlformats.org/officeDocument/2006/relationships/tags" Target="../tags/tag188.xml"/><Relationship Id="rId18" Type="http://schemas.openxmlformats.org/officeDocument/2006/relationships/tags" Target="../tags/tag189.xml"/><Relationship Id="rId19" Type="http://schemas.openxmlformats.org/officeDocument/2006/relationships/tags" Target="../tags/tag190.xml"/><Relationship Id="rId37" Type="http://schemas.openxmlformats.org/officeDocument/2006/relationships/chart" Target="../charts/chart6.xml"/></Relationships>
</file>

<file path=ppt/slides/_rels/slide16.xml.rels><?xml version="1.0" encoding="UTF-8" standalone="yes"?>
<Relationships xmlns="http://schemas.openxmlformats.org/package/2006/relationships"><Relationship Id="rId3" Type="http://schemas.openxmlformats.org/officeDocument/2006/relationships/tags" Target="../tags/tag204.xml"/><Relationship Id="rId4" Type="http://schemas.openxmlformats.org/officeDocument/2006/relationships/tags" Target="../tags/tag205.xml"/><Relationship Id="rId5" Type="http://schemas.openxmlformats.org/officeDocument/2006/relationships/tags" Target="../tags/tag206.xml"/><Relationship Id="rId6" Type="http://schemas.openxmlformats.org/officeDocument/2006/relationships/slideLayout" Target="../slideLayouts/slideLayout3.xml"/><Relationship Id="rId7" Type="http://schemas.openxmlformats.org/officeDocument/2006/relationships/oleObject" Target="../embeddings/oleObject23.bin"/><Relationship Id="rId8" Type="http://schemas.openxmlformats.org/officeDocument/2006/relationships/image" Target="../media/image3.emf"/><Relationship Id="rId9" Type="http://schemas.openxmlformats.org/officeDocument/2006/relationships/image" Target="../media/image74.png"/><Relationship Id="rId10" Type="http://schemas.openxmlformats.org/officeDocument/2006/relationships/image" Target="../media/image75.png"/><Relationship Id="rId1" Type="http://schemas.openxmlformats.org/officeDocument/2006/relationships/vmlDrawing" Target="../drawings/vmlDrawing23.vml"/><Relationship Id="rId2" Type="http://schemas.openxmlformats.org/officeDocument/2006/relationships/tags" Target="../tags/tag203.xml"/></Relationships>
</file>

<file path=ppt/slides/_rels/slide17.xml.rels><?xml version="1.0" encoding="UTF-8" standalone="yes"?>
<Relationships xmlns="http://schemas.openxmlformats.org/package/2006/relationships"><Relationship Id="rId9" Type="http://schemas.openxmlformats.org/officeDocument/2006/relationships/image" Target="../media/image66.emf"/><Relationship Id="rId20" Type="http://schemas.openxmlformats.org/officeDocument/2006/relationships/image" Target="../media/image81.png"/><Relationship Id="rId21" Type="http://schemas.openxmlformats.org/officeDocument/2006/relationships/image" Target="../media/image83.svg"/><Relationship Id="rId10" Type="http://schemas.openxmlformats.org/officeDocument/2006/relationships/image" Target="../media/image76.png"/><Relationship Id="rId11" Type="http://schemas.openxmlformats.org/officeDocument/2006/relationships/image" Target="../media/image46.png"/><Relationship Id="rId12" Type="http://schemas.openxmlformats.org/officeDocument/2006/relationships/image" Target="../media/image47.png"/><Relationship Id="rId13" Type="http://schemas.openxmlformats.org/officeDocument/2006/relationships/image" Target="../media/image48.png"/><Relationship Id="rId14" Type="http://schemas.openxmlformats.org/officeDocument/2006/relationships/image" Target="../media/image49.png"/><Relationship Id="rId15" Type="http://schemas.openxmlformats.org/officeDocument/2006/relationships/image" Target="../media/image72.png"/><Relationship Id="rId16" Type="http://schemas.openxmlformats.org/officeDocument/2006/relationships/image" Target="../media/image77.png"/><Relationship Id="rId17" Type="http://schemas.openxmlformats.org/officeDocument/2006/relationships/image" Target="../media/image78.png"/><Relationship Id="rId18" Type="http://schemas.openxmlformats.org/officeDocument/2006/relationships/image" Target="../media/image79.png"/><Relationship Id="rId19" Type="http://schemas.openxmlformats.org/officeDocument/2006/relationships/image" Target="../media/image80.png"/><Relationship Id="rId1" Type="http://schemas.openxmlformats.org/officeDocument/2006/relationships/vmlDrawing" Target="../drawings/vmlDrawing24.vml"/><Relationship Id="rId2" Type="http://schemas.openxmlformats.org/officeDocument/2006/relationships/tags" Target="../tags/tag207.xml"/><Relationship Id="rId3" Type="http://schemas.openxmlformats.org/officeDocument/2006/relationships/tags" Target="../tags/tag208.xml"/><Relationship Id="rId4" Type="http://schemas.openxmlformats.org/officeDocument/2006/relationships/tags" Target="../tags/tag209.xml"/><Relationship Id="rId5" Type="http://schemas.openxmlformats.org/officeDocument/2006/relationships/tags" Target="../tags/tag210.xml"/><Relationship Id="rId6" Type="http://schemas.openxmlformats.org/officeDocument/2006/relationships/slideLayout" Target="../slideLayouts/slideLayout3.xml"/><Relationship Id="rId7" Type="http://schemas.openxmlformats.org/officeDocument/2006/relationships/notesSlide" Target="../notesSlides/notesSlide16.xml"/><Relationship Id="rId8" Type="http://schemas.openxmlformats.org/officeDocument/2006/relationships/oleObject" Target="../embeddings/oleObject24.bin"/></Relationships>
</file>

<file path=ppt/slides/_rels/slide18.xml.rels><?xml version="1.0" encoding="UTF-8" standalone="yes"?>
<Relationships xmlns="http://schemas.openxmlformats.org/package/2006/relationships"><Relationship Id="rId46" Type="http://schemas.openxmlformats.org/officeDocument/2006/relationships/slideLayout" Target="../slideLayouts/slideLayout3.xml"/><Relationship Id="rId47" Type="http://schemas.openxmlformats.org/officeDocument/2006/relationships/notesSlide" Target="../notesSlides/notesSlide17.xml"/><Relationship Id="rId48" Type="http://schemas.openxmlformats.org/officeDocument/2006/relationships/oleObject" Target="../embeddings/oleObject25.bin"/><Relationship Id="rId49" Type="http://schemas.openxmlformats.org/officeDocument/2006/relationships/image" Target="../media/image52.emf"/><Relationship Id="rId20" Type="http://schemas.openxmlformats.org/officeDocument/2006/relationships/tags" Target="../tags/tag229.xml"/><Relationship Id="rId21" Type="http://schemas.openxmlformats.org/officeDocument/2006/relationships/tags" Target="../tags/tag230.xml"/><Relationship Id="rId22" Type="http://schemas.openxmlformats.org/officeDocument/2006/relationships/tags" Target="../tags/tag231.xml"/><Relationship Id="rId23" Type="http://schemas.openxmlformats.org/officeDocument/2006/relationships/tags" Target="../tags/tag232.xml"/><Relationship Id="rId24" Type="http://schemas.openxmlformats.org/officeDocument/2006/relationships/tags" Target="../tags/tag233.xml"/><Relationship Id="rId25" Type="http://schemas.openxmlformats.org/officeDocument/2006/relationships/tags" Target="../tags/tag234.xml"/><Relationship Id="rId26" Type="http://schemas.openxmlformats.org/officeDocument/2006/relationships/tags" Target="../tags/tag235.xml"/><Relationship Id="rId27" Type="http://schemas.openxmlformats.org/officeDocument/2006/relationships/tags" Target="../tags/tag236.xml"/><Relationship Id="rId28" Type="http://schemas.openxmlformats.org/officeDocument/2006/relationships/tags" Target="../tags/tag237.xml"/><Relationship Id="rId29" Type="http://schemas.openxmlformats.org/officeDocument/2006/relationships/tags" Target="../tags/tag238.xml"/><Relationship Id="rId50" Type="http://schemas.openxmlformats.org/officeDocument/2006/relationships/chart" Target="../charts/chart7.xml"/><Relationship Id="rId51" Type="http://schemas.openxmlformats.org/officeDocument/2006/relationships/image" Target="../media/image82.png"/><Relationship Id="rId52" Type="http://schemas.microsoft.com/office/2007/relationships/hdphoto" Target="../media/hdphoto18.wdp"/><Relationship Id="rId1" Type="http://schemas.openxmlformats.org/officeDocument/2006/relationships/vmlDrawing" Target="../drawings/vmlDrawing25.vml"/><Relationship Id="rId2" Type="http://schemas.openxmlformats.org/officeDocument/2006/relationships/tags" Target="../tags/tag211.xml"/><Relationship Id="rId3" Type="http://schemas.openxmlformats.org/officeDocument/2006/relationships/tags" Target="../tags/tag212.xml"/><Relationship Id="rId4" Type="http://schemas.openxmlformats.org/officeDocument/2006/relationships/tags" Target="../tags/tag213.xml"/><Relationship Id="rId5" Type="http://schemas.openxmlformats.org/officeDocument/2006/relationships/tags" Target="../tags/tag214.xml"/><Relationship Id="rId30" Type="http://schemas.openxmlformats.org/officeDocument/2006/relationships/tags" Target="../tags/tag239.xml"/><Relationship Id="rId31" Type="http://schemas.openxmlformats.org/officeDocument/2006/relationships/tags" Target="../tags/tag240.xml"/><Relationship Id="rId32" Type="http://schemas.openxmlformats.org/officeDocument/2006/relationships/tags" Target="../tags/tag241.xml"/><Relationship Id="rId9" Type="http://schemas.openxmlformats.org/officeDocument/2006/relationships/tags" Target="../tags/tag218.xml"/><Relationship Id="rId6" Type="http://schemas.openxmlformats.org/officeDocument/2006/relationships/tags" Target="../tags/tag215.xml"/><Relationship Id="rId7" Type="http://schemas.openxmlformats.org/officeDocument/2006/relationships/tags" Target="../tags/tag216.xml"/><Relationship Id="rId8" Type="http://schemas.openxmlformats.org/officeDocument/2006/relationships/tags" Target="../tags/tag217.xml"/><Relationship Id="rId33" Type="http://schemas.openxmlformats.org/officeDocument/2006/relationships/tags" Target="../tags/tag242.xml"/><Relationship Id="rId34" Type="http://schemas.openxmlformats.org/officeDocument/2006/relationships/tags" Target="../tags/tag243.xml"/><Relationship Id="rId35" Type="http://schemas.openxmlformats.org/officeDocument/2006/relationships/tags" Target="../tags/tag244.xml"/><Relationship Id="rId36" Type="http://schemas.openxmlformats.org/officeDocument/2006/relationships/tags" Target="../tags/tag245.xml"/><Relationship Id="rId10" Type="http://schemas.openxmlformats.org/officeDocument/2006/relationships/tags" Target="../tags/tag219.xml"/><Relationship Id="rId11" Type="http://schemas.openxmlformats.org/officeDocument/2006/relationships/tags" Target="../tags/tag220.xml"/><Relationship Id="rId12" Type="http://schemas.openxmlformats.org/officeDocument/2006/relationships/tags" Target="../tags/tag221.xml"/><Relationship Id="rId13" Type="http://schemas.openxmlformats.org/officeDocument/2006/relationships/tags" Target="../tags/tag222.xml"/><Relationship Id="rId14" Type="http://schemas.openxmlformats.org/officeDocument/2006/relationships/tags" Target="../tags/tag223.xml"/><Relationship Id="rId15" Type="http://schemas.openxmlformats.org/officeDocument/2006/relationships/tags" Target="../tags/tag224.xml"/><Relationship Id="rId16" Type="http://schemas.openxmlformats.org/officeDocument/2006/relationships/tags" Target="../tags/tag225.xml"/><Relationship Id="rId17" Type="http://schemas.openxmlformats.org/officeDocument/2006/relationships/tags" Target="../tags/tag226.xml"/><Relationship Id="rId18" Type="http://schemas.openxmlformats.org/officeDocument/2006/relationships/tags" Target="../tags/tag227.xml"/><Relationship Id="rId19" Type="http://schemas.openxmlformats.org/officeDocument/2006/relationships/tags" Target="../tags/tag228.xml"/><Relationship Id="rId37" Type="http://schemas.openxmlformats.org/officeDocument/2006/relationships/tags" Target="../tags/tag246.xml"/><Relationship Id="rId38" Type="http://schemas.openxmlformats.org/officeDocument/2006/relationships/tags" Target="../tags/tag247.xml"/><Relationship Id="rId39" Type="http://schemas.openxmlformats.org/officeDocument/2006/relationships/tags" Target="../tags/tag248.xml"/><Relationship Id="rId40" Type="http://schemas.openxmlformats.org/officeDocument/2006/relationships/tags" Target="../tags/tag249.xml"/><Relationship Id="rId41" Type="http://schemas.openxmlformats.org/officeDocument/2006/relationships/tags" Target="../tags/tag250.xml"/><Relationship Id="rId42" Type="http://schemas.openxmlformats.org/officeDocument/2006/relationships/tags" Target="../tags/tag251.xml"/><Relationship Id="rId43" Type="http://schemas.openxmlformats.org/officeDocument/2006/relationships/tags" Target="../tags/tag252.xml"/><Relationship Id="rId44" Type="http://schemas.openxmlformats.org/officeDocument/2006/relationships/tags" Target="../tags/tag253.xml"/><Relationship Id="rId45" Type="http://schemas.openxmlformats.org/officeDocument/2006/relationships/tags" Target="../tags/tag254.xml"/></Relationships>
</file>

<file path=ppt/slides/_rels/slide19.xml.rels><?xml version="1.0" encoding="UTF-8" standalone="yes"?>
<Relationships xmlns="http://schemas.openxmlformats.org/package/2006/relationships"><Relationship Id="rId20" Type="http://schemas.openxmlformats.org/officeDocument/2006/relationships/tags" Target="../tags/tag273.xml"/><Relationship Id="rId21" Type="http://schemas.openxmlformats.org/officeDocument/2006/relationships/tags" Target="../tags/tag274.xml"/><Relationship Id="rId22" Type="http://schemas.openxmlformats.org/officeDocument/2006/relationships/tags" Target="../tags/tag275.xml"/><Relationship Id="rId23" Type="http://schemas.openxmlformats.org/officeDocument/2006/relationships/tags" Target="../tags/tag276.xml"/><Relationship Id="rId24" Type="http://schemas.openxmlformats.org/officeDocument/2006/relationships/tags" Target="../tags/tag277.xml"/><Relationship Id="rId25" Type="http://schemas.openxmlformats.org/officeDocument/2006/relationships/tags" Target="../tags/tag278.xml"/><Relationship Id="rId26" Type="http://schemas.openxmlformats.org/officeDocument/2006/relationships/tags" Target="../tags/tag279.xml"/><Relationship Id="rId27" Type="http://schemas.openxmlformats.org/officeDocument/2006/relationships/tags" Target="../tags/tag280.xml"/><Relationship Id="rId28" Type="http://schemas.openxmlformats.org/officeDocument/2006/relationships/tags" Target="../tags/tag281.xml"/><Relationship Id="rId29" Type="http://schemas.openxmlformats.org/officeDocument/2006/relationships/tags" Target="../tags/tag282.xml"/><Relationship Id="rId1" Type="http://schemas.openxmlformats.org/officeDocument/2006/relationships/vmlDrawing" Target="../drawings/vmlDrawing26.vml"/><Relationship Id="rId2" Type="http://schemas.openxmlformats.org/officeDocument/2006/relationships/tags" Target="../tags/tag255.xml"/><Relationship Id="rId3" Type="http://schemas.openxmlformats.org/officeDocument/2006/relationships/tags" Target="../tags/tag256.xml"/><Relationship Id="rId4" Type="http://schemas.openxmlformats.org/officeDocument/2006/relationships/tags" Target="../tags/tag257.xml"/><Relationship Id="rId5" Type="http://schemas.openxmlformats.org/officeDocument/2006/relationships/tags" Target="../tags/tag258.xml"/><Relationship Id="rId30" Type="http://schemas.openxmlformats.org/officeDocument/2006/relationships/tags" Target="../tags/tag283.xml"/><Relationship Id="rId31" Type="http://schemas.openxmlformats.org/officeDocument/2006/relationships/tags" Target="../tags/tag284.xml"/><Relationship Id="rId32" Type="http://schemas.openxmlformats.org/officeDocument/2006/relationships/tags" Target="../tags/tag285.xml"/><Relationship Id="rId9" Type="http://schemas.openxmlformats.org/officeDocument/2006/relationships/tags" Target="../tags/tag262.xml"/><Relationship Id="rId6" Type="http://schemas.openxmlformats.org/officeDocument/2006/relationships/tags" Target="../tags/tag259.xml"/><Relationship Id="rId7" Type="http://schemas.openxmlformats.org/officeDocument/2006/relationships/tags" Target="../tags/tag260.xml"/><Relationship Id="rId8" Type="http://schemas.openxmlformats.org/officeDocument/2006/relationships/tags" Target="../tags/tag261.xml"/><Relationship Id="rId33" Type="http://schemas.openxmlformats.org/officeDocument/2006/relationships/tags" Target="../tags/tag286.xml"/><Relationship Id="rId34" Type="http://schemas.openxmlformats.org/officeDocument/2006/relationships/slideLayout" Target="../slideLayouts/slideLayout3.xml"/><Relationship Id="rId35" Type="http://schemas.openxmlformats.org/officeDocument/2006/relationships/notesSlide" Target="../notesSlides/notesSlide18.xml"/><Relationship Id="rId36" Type="http://schemas.openxmlformats.org/officeDocument/2006/relationships/oleObject" Target="../embeddings/oleObject26.bin"/><Relationship Id="rId10" Type="http://schemas.openxmlformats.org/officeDocument/2006/relationships/tags" Target="../tags/tag263.xml"/><Relationship Id="rId11" Type="http://schemas.openxmlformats.org/officeDocument/2006/relationships/tags" Target="../tags/tag264.xml"/><Relationship Id="rId12" Type="http://schemas.openxmlformats.org/officeDocument/2006/relationships/tags" Target="../tags/tag265.xml"/><Relationship Id="rId13" Type="http://schemas.openxmlformats.org/officeDocument/2006/relationships/tags" Target="../tags/tag266.xml"/><Relationship Id="rId14" Type="http://schemas.openxmlformats.org/officeDocument/2006/relationships/tags" Target="../tags/tag267.xml"/><Relationship Id="rId15" Type="http://schemas.openxmlformats.org/officeDocument/2006/relationships/tags" Target="../tags/tag268.xml"/><Relationship Id="rId16" Type="http://schemas.openxmlformats.org/officeDocument/2006/relationships/tags" Target="../tags/tag269.xml"/><Relationship Id="rId17" Type="http://schemas.openxmlformats.org/officeDocument/2006/relationships/tags" Target="../tags/tag270.xml"/><Relationship Id="rId18" Type="http://schemas.openxmlformats.org/officeDocument/2006/relationships/tags" Target="../tags/tag271.xml"/><Relationship Id="rId19" Type="http://schemas.openxmlformats.org/officeDocument/2006/relationships/tags" Target="../tags/tag272.xml"/><Relationship Id="rId37" Type="http://schemas.openxmlformats.org/officeDocument/2006/relationships/image" Target="../media/image52.emf"/><Relationship Id="rId38" Type="http://schemas.openxmlformats.org/officeDocument/2006/relationships/chart" Target="../charts/chart8.xml"/><Relationship Id="rId39" Type="http://schemas.openxmlformats.org/officeDocument/2006/relationships/image" Target="../media/image83.png"/><Relationship Id="rId40" Type="http://schemas.microsoft.com/office/2007/relationships/hdphoto" Target="../media/hdphoto19.wdp"/></Relationships>
</file>

<file path=ppt/slides/_rels/slide2.xml.rels><?xml version="1.0" encoding="UTF-8" standalone="yes"?>
<Relationships xmlns="http://schemas.openxmlformats.org/package/2006/relationships"><Relationship Id="rId3" Type="http://schemas.openxmlformats.org/officeDocument/2006/relationships/tags" Target="../tags/tag26.xml"/><Relationship Id="rId4" Type="http://schemas.openxmlformats.org/officeDocument/2006/relationships/slideLayout" Target="../slideLayouts/slideLayout3.xml"/><Relationship Id="rId5" Type="http://schemas.openxmlformats.org/officeDocument/2006/relationships/notesSlide" Target="../notesSlides/notesSlide2.xml"/><Relationship Id="rId6" Type="http://schemas.openxmlformats.org/officeDocument/2006/relationships/oleObject" Target="../embeddings/oleObject10.bin"/><Relationship Id="rId7" Type="http://schemas.openxmlformats.org/officeDocument/2006/relationships/image" Target="../media/image7.jpeg"/><Relationship Id="rId8" Type="http://schemas.openxmlformats.org/officeDocument/2006/relationships/image" Target="../media/image8.jpeg"/><Relationship Id="rId9" Type="http://schemas.openxmlformats.org/officeDocument/2006/relationships/image" Target="../media/image9.jpeg"/><Relationship Id="rId10" Type="http://schemas.openxmlformats.org/officeDocument/2006/relationships/image" Target="../media/image10.jpeg"/><Relationship Id="rId11" Type="http://schemas.openxmlformats.org/officeDocument/2006/relationships/image" Target="../media/image11.jpeg"/><Relationship Id="rId1" Type="http://schemas.openxmlformats.org/officeDocument/2006/relationships/vmlDrawing" Target="../drawings/vmlDrawing10.vml"/><Relationship Id="rId2" Type="http://schemas.openxmlformats.org/officeDocument/2006/relationships/tags" Target="../tags/tag25.xml"/></Relationships>
</file>

<file path=ppt/slides/_rels/slide20.xml.rels><?xml version="1.0" encoding="UTF-8" standalone="yes"?>
<Relationships xmlns="http://schemas.openxmlformats.org/package/2006/relationships"><Relationship Id="rId9" Type="http://schemas.openxmlformats.org/officeDocument/2006/relationships/tags" Target="../tags/tag294.xml"/><Relationship Id="rId20" Type="http://schemas.openxmlformats.org/officeDocument/2006/relationships/image" Target="../media/image83.png"/><Relationship Id="rId21" Type="http://schemas.microsoft.com/office/2007/relationships/hdphoto" Target="../media/hdphoto19.wdp"/><Relationship Id="rId10" Type="http://schemas.openxmlformats.org/officeDocument/2006/relationships/slideLayout" Target="../slideLayouts/slideLayout3.xml"/><Relationship Id="rId11" Type="http://schemas.openxmlformats.org/officeDocument/2006/relationships/notesSlide" Target="../notesSlides/notesSlide19.xml"/><Relationship Id="rId12" Type="http://schemas.openxmlformats.org/officeDocument/2006/relationships/oleObject" Target="../embeddings/oleObject27.bin"/><Relationship Id="rId13" Type="http://schemas.openxmlformats.org/officeDocument/2006/relationships/image" Target="../media/image84.emf"/><Relationship Id="rId14" Type="http://schemas.openxmlformats.org/officeDocument/2006/relationships/chart" Target="../charts/chart9.xml"/><Relationship Id="rId15" Type="http://schemas.openxmlformats.org/officeDocument/2006/relationships/image" Target="../media/image46.png"/><Relationship Id="rId16" Type="http://schemas.openxmlformats.org/officeDocument/2006/relationships/image" Target="../media/image47.png"/><Relationship Id="rId17" Type="http://schemas.openxmlformats.org/officeDocument/2006/relationships/image" Target="../media/image48.png"/><Relationship Id="rId18" Type="http://schemas.openxmlformats.org/officeDocument/2006/relationships/image" Target="../media/image49.png"/><Relationship Id="rId19" Type="http://schemas.openxmlformats.org/officeDocument/2006/relationships/image" Target="../media/image72.png"/><Relationship Id="rId1" Type="http://schemas.openxmlformats.org/officeDocument/2006/relationships/vmlDrawing" Target="../drawings/vmlDrawing27.vml"/><Relationship Id="rId2" Type="http://schemas.openxmlformats.org/officeDocument/2006/relationships/tags" Target="../tags/tag287.xml"/><Relationship Id="rId3" Type="http://schemas.openxmlformats.org/officeDocument/2006/relationships/tags" Target="../tags/tag288.xml"/><Relationship Id="rId4" Type="http://schemas.openxmlformats.org/officeDocument/2006/relationships/tags" Target="../tags/tag289.xml"/><Relationship Id="rId5" Type="http://schemas.openxmlformats.org/officeDocument/2006/relationships/tags" Target="../tags/tag290.xml"/><Relationship Id="rId6" Type="http://schemas.openxmlformats.org/officeDocument/2006/relationships/tags" Target="../tags/tag291.xml"/><Relationship Id="rId7" Type="http://schemas.openxmlformats.org/officeDocument/2006/relationships/tags" Target="../tags/tag292.xml"/><Relationship Id="rId8" Type="http://schemas.openxmlformats.org/officeDocument/2006/relationships/tags" Target="../tags/tag293.xml"/></Relationships>
</file>

<file path=ppt/slides/_rels/slide21.xml.rels><?xml version="1.0" encoding="UTF-8" standalone="yes"?>
<Relationships xmlns="http://schemas.openxmlformats.org/package/2006/relationships"><Relationship Id="rId9" Type="http://schemas.openxmlformats.org/officeDocument/2006/relationships/tags" Target="../tags/tag302.xml"/><Relationship Id="rId20" Type="http://schemas.openxmlformats.org/officeDocument/2006/relationships/tags" Target="../tags/tag313.xml"/><Relationship Id="rId21" Type="http://schemas.openxmlformats.org/officeDocument/2006/relationships/tags" Target="../tags/tag314.xml"/><Relationship Id="rId22" Type="http://schemas.openxmlformats.org/officeDocument/2006/relationships/tags" Target="../tags/tag315.xml"/><Relationship Id="rId23" Type="http://schemas.openxmlformats.org/officeDocument/2006/relationships/slideLayout" Target="../slideLayouts/slideLayout3.xml"/><Relationship Id="rId24" Type="http://schemas.openxmlformats.org/officeDocument/2006/relationships/notesSlide" Target="../notesSlides/notesSlide20.xml"/><Relationship Id="rId25" Type="http://schemas.openxmlformats.org/officeDocument/2006/relationships/oleObject" Target="../embeddings/oleObject28.bin"/><Relationship Id="rId26" Type="http://schemas.openxmlformats.org/officeDocument/2006/relationships/image" Target="../media/image3.emf"/><Relationship Id="rId27" Type="http://schemas.openxmlformats.org/officeDocument/2006/relationships/chart" Target="../charts/chart10.xml"/><Relationship Id="rId28" Type="http://schemas.openxmlformats.org/officeDocument/2006/relationships/image" Target="../media/image85.png"/><Relationship Id="rId29" Type="http://schemas.microsoft.com/office/2007/relationships/hdphoto" Target="../media/hdphoto20.wdp"/><Relationship Id="rId10" Type="http://schemas.openxmlformats.org/officeDocument/2006/relationships/tags" Target="../tags/tag303.xml"/><Relationship Id="rId11" Type="http://schemas.openxmlformats.org/officeDocument/2006/relationships/tags" Target="../tags/tag304.xml"/><Relationship Id="rId12" Type="http://schemas.openxmlformats.org/officeDocument/2006/relationships/tags" Target="../tags/tag305.xml"/><Relationship Id="rId13" Type="http://schemas.openxmlformats.org/officeDocument/2006/relationships/tags" Target="../tags/tag306.xml"/><Relationship Id="rId14" Type="http://schemas.openxmlformats.org/officeDocument/2006/relationships/tags" Target="../tags/tag307.xml"/><Relationship Id="rId15" Type="http://schemas.openxmlformats.org/officeDocument/2006/relationships/tags" Target="../tags/tag308.xml"/><Relationship Id="rId16" Type="http://schemas.openxmlformats.org/officeDocument/2006/relationships/tags" Target="../tags/tag309.xml"/><Relationship Id="rId17" Type="http://schemas.openxmlformats.org/officeDocument/2006/relationships/tags" Target="../tags/tag310.xml"/><Relationship Id="rId18" Type="http://schemas.openxmlformats.org/officeDocument/2006/relationships/tags" Target="../tags/tag311.xml"/><Relationship Id="rId19" Type="http://schemas.openxmlformats.org/officeDocument/2006/relationships/tags" Target="../tags/tag312.xml"/><Relationship Id="rId1" Type="http://schemas.openxmlformats.org/officeDocument/2006/relationships/vmlDrawing" Target="../drawings/vmlDrawing28.vml"/><Relationship Id="rId2" Type="http://schemas.openxmlformats.org/officeDocument/2006/relationships/tags" Target="../tags/tag295.xml"/><Relationship Id="rId3" Type="http://schemas.openxmlformats.org/officeDocument/2006/relationships/tags" Target="../tags/tag296.xml"/><Relationship Id="rId4" Type="http://schemas.openxmlformats.org/officeDocument/2006/relationships/tags" Target="../tags/tag297.xml"/><Relationship Id="rId5" Type="http://schemas.openxmlformats.org/officeDocument/2006/relationships/tags" Target="../tags/tag298.xml"/><Relationship Id="rId6" Type="http://schemas.openxmlformats.org/officeDocument/2006/relationships/tags" Target="../tags/tag299.xml"/><Relationship Id="rId7" Type="http://schemas.openxmlformats.org/officeDocument/2006/relationships/tags" Target="../tags/tag300.xml"/><Relationship Id="rId8" Type="http://schemas.openxmlformats.org/officeDocument/2006/relationships/tags" Target="../tags/tag30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notesSlide" Target="../notesSlides/notesSlide21.xml"/><Relationship Id="rId5" Type="http://schemas.openxmlformats.org/officeDocument/2006/relationships/oleObject" Target="../embeddings/oleObject29.bin"/><Relationship Id="rId6" Type="http://schemas.openxmlformats.org/officeDocument/2006/relationships/image" Target="../media/image66.emf"/><Relationship Id="rId1" Type="http://schemas.openxmlformats.org/officeDocument/2006/relationships/vmlDrawing" Target="../drawings/vmlDrawing29.vml"/><Relationship Id="rId2" Type="http://schemas.openxmlformats.org/officeDocument/2006/relationships/tags" Target="../tags/tag3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20" Type="http://schemas.openxmlformats.org/officeDocument/2006/relationships/tags" Target="../tags/tag335.xml"/><Relationship Id="rId21" Type="http://schemas.openxmlformats.org/officeDocument/2006/relationships/slideLayout" Target="../slideLayouts/slideLayout3.xml"/><Relationship Id="rId22" Type="http://schemas.openxmlformats.org/officeDocument/2006/relationships/notesSlide" Target="../notesSlides/notesSlide23.xml"/><Relationship Id="rId23" Type="http://schemas.openxmlformats.org/officeDocument/2006/relationships/oleObject" Target="../embeddings/oleObject30.bin"/><Relationship Id="rId24" Type="http://schemas.openxmlformats.org/officeDocument/2006/relationships/image" Target="../media/image86.emf"/><Relationship Id="rId25" Type="http://schemas.openxmlformats.org/officeDocument/2006/relationships/image" Target="../media/image87.png"/><Relationship Id="rId26" Type="http://schemas.openxmlformats.org/officeDocument/2006/relationships/image" Target="../media/image90.svg"/><Relationship Id="rId27" Type="http://schemas.openxmlformats.org/officeDocument/2006/relationships/image" Target="../media/image88.png"/><Relationship Id="rId28" Type="http://schemas.openxmlformats.org/officeDocument/2006/relationships/image" Target="../media/image92.svg"/><Relationship Id="rId29" Type="http://schemas.openxmlformats.org/officeDocument/2006/relationships/image" Target="../media/image89.png"/><Relationship Id="rId1" Type="http://schemas.openxmlformats.org/officeDocument/2006/relationships/vmlDrawing" Target="../drawings/vmlDrawing30.vml"/><Relationship Id="rId2" Type="http://schemas.openxmlformats.org/officeDocument/2006/relationships/tags" Target="../tags/tag317.xml"/><Relationship Id="rId3" Type="http://schemas.openxmlformats.org/officeDocument/2006/relationships/tags" Target="../tags/tag318.xml"/><Relationship Id="rId4" Type="http://schemas.openxmlformats.org/officeDocument/2006/relationships/tags" Target="../tags/tag319.xml"/><Relationship Id="rId5" Type="http://schemas.openxmlformats.org/officeDocument/2006/relationships/tags" Target="../tags/tag320.xml"/><Relationship Id="rId30" Type="http://schemas.openxmlformats.org/officeDocument/2006/relationships/image" Target="../media/image94.svg"/><Relationship Id="rId31" Type="http://schemas.openxmlformats.org/officeDocument/2006/relationships/image" Target="../media/image90.png"/><Relationship Id="rId32" Type="http://schemas.openxmlformats.org/officeDocument/2006/relationships/image" Target="../media/image96.svg"/><Relationship Id="rId9" Type="http://schemas.openxmlformats.org/officeDocument/2006/relationships/tags" Target="../tags/tag324.xml"/><Relationship Id="rId6" Type="http://schemas.openxmlformats.org/officeDocument/2006/relationships/tags" Target="../tags/tag321.xml"/><Relationship Id="rId7" Type="http://schemas.openxmlformats.org/officeDocument/2006/relationships/tags" Target="../tags/tag322.xml"/><Relationship Id="rId8" Type="http://schemas.openxmlformats.org/officeDocument/2006/relationships/tags" Target="../tags/tag323.xml"/><Relationship Id="rId33" Type="http://schemas.openxmlformats.org/officeDocument/2006/relationships/image" Target="../media/image91.png"/><Relationship Id="rId34" Type="http://schemas.openxmlformats.org/officeDocument/2006/relationships/image" Target="../media/image98.svg"/><Relationship Id="rId35" Type="http://schemas.openxmlformats.org/officeDocument/2006/relationships/image" Target="../media/image92.png"/><Relationship Id="rId36" Type="http://schemas.openxmlformats.org/officeDocument/2006/relationships/image" Target="../media/image100.svg"/><Relationship Id="rId10" Type="http://schemas.openxmlformats.org/officeDocument/2006/relationships/tags" Target="../tags/tag325.xml"/><Relationship Id="rId11" Type="http://schemas.openxmlformats.org/officeDocument/2006/relationships/tags" Target="../tags/tag326.xml"/><Relationship Id="rId12" Type="http://schemas.openxmlformats.org/officeDocument/2006/relationships/tags" Target="../tags/tag327.xml"/><Relationship Id="rId13" Type="http://schemas.openxmlformats.org/officeDocument/2006/relationships/tags" Target="../tags/tag328.xml"/><Relationship Id="rId14" Type="http://schemas.openxmlformats.org/officeDocument/2006/relationships/tags" Target="../tags/tag329.xml"/><Relationship Id="rId15" Type="http://schemas.openxmlformats.org/officeDocument/2006/relationships/tags" Target="../tags/tag330.xml"/><Relationship Id="rId16" Type="http://schemas.openxmlformats.org/officeDocument/2006/relationships/tags" Target="../tags/tag331.xml"/><Relationship Id="rId17" Type="http://schemas.openxmlformats.org/officeDocument/2006/relationships/tags" Target="../tags/tag332.xml"/><Relationship Id="rId18" Type="http://schemas.openxmlformats.org/officeDocument/2006/relationships/tags" Target="../tags/tag333.xml"/><Relationship Id="rId19" Type="http://schemas.openxmlformats.org/officeDocument/2006/relationships/tags" Target="../tags/tag334.xml"/><Relationship Id="rId37" Type="http://schemas.openxmlformats.org/officeDocument/2006/relationships/image" Target="../media/image93.png"/><Relationship Id="rId38" Type="http://schemas.openxmlformats.org/officeDocument/2006/relationships/image" Target="../media/image102.svg"/><Relationship Id="rId39" Type="http://schemas.openxmlformats.org/officeDocument/2006/relationships/image" Target="../media/image94.png"/><Relationship Id="rId40" Type="http://schemas.openxmlformats.org/officeDocument/2006/relationships/image" Target="../media/image104.svg"/></Relationships>
</file>

<file path=ppt/slides/_rels/slide25.xml.rels><?xml version="1.0" encoding="UTF-8" standalone="yes"?>
<Relationships xmlns="http://schemas.openxmlformats.org/package/2006/relationships"><Relationship Id="rId9" Type="http://schemas.openxmlformats.org/officeDocument/2006/relationships/tags" Target="../tags/tag343.xml"/><Relationship Id="rId20" Type="http://schemas.openxmlformats.org/officeDocument/2006/relationships/image" Target="../media/image88.png"/><Relationship Id="rId21" Type="http://schemas.openxmlformats.org/officeDocument/2006/relationships/image" Target="../media/image92.svg"/><Relationship Id="rId22" Type="http://schemas.openxmlformats.org/officeDocument/2006/relationships/image" Target="../media/image89.png"/><Relationship Id="rId23" Type="http://schemas.openxmlformats.org/officeDocument/2006/relationships/image" Target="../media/image94.svg"/><Relationship Id="rId24" Type="http://schemas.openxmlformats.org/officeDocument/2006/relationships/image" Target="../media/image95.png"/><Relationship Id="rId25" Type="http://schemas.openxmlformats.org/officeDocument/2006/relationships/image" Target="../media/image106.svg"/><Relationship Id="rId26" Type="http://schemas.openxmlformats.org/officeDocument/2006/relationships/image" Target="../media/image87.png"/><Relationship Id="rId27" Type="http://schemas.openxmlformats.org/officeDocument/2006/relationships/image" Target="../media/image90.svg"/><Relationship Id="rId10" Type="http://schemas.openxmlformats.org/officeDocument/2006/relationships/tags" Target="../tags/tag344.xml"/><Relationship Id="rId11" Type="http://schemas.openxmlformats.org/officeDocument/2006/relationships/tags" Target="../tags/tag345.xml"/><Relationship Id="rId12" Type="http://schemas.openxmlformats.org/officeDocument/2006/relationships/tags" Target="../tags/tag346.xml"/><Relationship Id="rId13" Type="http://schemas.openxmlformats.org/officeDocument/2006/relationships/tags" Target="../tags/tag347.xml"/><Relationship Id="rId14" Type="http://schemas.openxmlformats.org/officeDocument/2006/relationships/tags" Target="../tags/tag348.xml"/><Relationship Id="rId15" Type="http://schemas.openxmlformats.org/officeDocument/2006/relationships/tags" Target="../tags/tag349.xml"/><Relationship Id="rId16" Type="http://schemas.openxmlformats.org/officeDocument/2006/relationships/slideLayout" Target="../slideLayouts/slideLayout3.xml"/><Relationship Id="rId17" Type="http://schemas.openxmlformats.org/officeDocument/2006/relationships/notesSlide" Target="../notesSlides/notesSlide24.xml"/><Relationship Id="rId18" Type="http://schemas.openxmlformats.org/officeDocument/2006/relationships/oleObject" Target="../embeddings/oleObject31.bin"/><Relationship Id="rId19" Type="http://schemas.openxmlformats.org/officeDocument/2006/relationships/image" Target="../media/image73.emf"/><Relationship Id="rId1" Type="http://schemas.openxmlformats.org/officeDocument/2006/relationships/vmlDrawing" Target="../drawings/vmlDrawing31.vml"/><Relationship Id="rId2" Type="http://schemas.openxmlformats.org/officeDocument/2006/relationships/tags" Target="../tags/tag336.xml"/><Relationship Id="rId3" Type="http://schemas.openxmlformats.org/officeDocument/2006/relationships/tags" Target="../tags/tag337.xml"/><Relationship Id="rId4" Type="http://schemas.openxmlformats.org/officeDocument/2006/relationships/tags" Target="../tags/tag338.xml"/><Relationship Id="rId5" Type="http://schemas.openxmlformats.org/officeDocument/2006/relationships/tags" Target="../tags/tag339.xml"/><Relationship Id="rId6" Type="http://schemas.openxmlformats.org/officeDocument/2006/relationships/tags" Target="../tags/tag340.xml"/><Relationship Id="rId7" Type="http://schemas.openxmlformats.org/officeDocument/2006/relationships/tags" Target="../tags/tag341.xml"/><Relationship Id="rId8" Type="http://schemas.openxmlformats.org/officeDocument/2006/relationships/tags" Target="../tags/tag342.xml"/></Relationships>
</file>

<file path=ppt/slides/_rels/slide26.xml.rels><?xml version="1.0" encoding="UTF-8" standalone="yes"?>
<Relationships xmlns="http://schemas.openxmlformats.org/package/2006/relationships"><Relationship Id="rId9" Type="http://schemas.openxmlformats.org/officeDocument/2006/relationships/tags" Target="../tags/tag357.xml"/><Relationship Id="rId20" Type="http://schemas.openxmlformats.org/officeDocument/2006/relationships/chart" Target="../charts/chart11.xml"/><Relationship Id="rId10" Type="http://schemas.openxmlformats.org/officeDocument/2006/relationships/tags" Target="../tags/tag358.xml"/><Relationship Id="rId11" Type="http://schemas.openxmlformats.org/officeDocument/2006/relationships/tags" Target="../tags/tag359.xml"/><Relationship Id="rId12" Type="http://schemas.openxmlformats.org/officeDocument/2006/relationships/tags" Target="../tags/tag360.xml"/><Relationship Id="rId13" Type="http://schemas.openxmlformats.org/officeDocument/2006/relationships/tags" Target="../tags/tag361.xml"/><Relationship Id="rId14" Type="http://schemas.openxmlformats.org/officeDocument/2006/relationships/tags" Target="../tags/tag362.xml"/><Relationship Id="rId15" Type="http://schemas.openxmlformats.org/officeDocument/2006/relationships/tags" Target="../tags/tag363.xml"/><Relationship Id="rId16" Type="http://schemas.openxmlformats.org/officeDocument/2006/relationships/slideLayout" Target="../slideLayouts/slideLayout3.xml"/><Relationship Id="rId17" Type="http://schemas.openxmlformats.org/officeDocument/2006/relationships/notesSlide" Target="../notesSlides/notesSlide25.xml"/><Relationship Id="rId18" Type="http://schemas.openxmlformats.org/officeDocument/2006/relationships/oleObject" Target="../embeddings/oleObject32.bin"/><Relationship Id="rId19" Type="http://schemas.openxmlformats.org/officeDocument/2006/relationships/image" Target="../media/image3.emf"/><Relationship Id="rId1" Type="http://schemas.openxmlformats.org/officeDocument/2006/relationships/vmlDrawing" Target="../drawings/vmlDrawing32.vml"/><Relationship Id="rId2" Type="http://schemas.openxmlformats.org/officeDocument/2006/relationships/tags" Target="../tags/tag350.xml"/><Relationship Id="rId3" Type="http://schemas.openxmlformats.org/officeDocument/2006/relationships/tags" Target="../tags/tag351.xml"/><Relationship Id="rId4" Type="http://schemas.openxmlformats.org/officeDocument/2006/relationships/tags" Target="../tags/tag352.xml"/><Relationship Id="rId5" Type="http://schemas.openxmlformats.org/officeDocument/2006/relationships/tags" Target="../tags/tag353.xml"/><Relationship Id="rId6" Type="http://schemas.openxmlformats.org/officeDocument/2006/relationships/tags" Target="../tags/tag354.xml"/><Relationship Id="rId7" Type="http://schemas.openxmlformats.org/officeDocument/2006/relationships/tags" Target="../tags/tag355.xml"/><Relationship Id="rId8" Type="http://schemas.openxmlformats.org/officeDocument/2006/relationships/tags" Target="../tags/tag356.xml"/></Relationships>
</file>

<file path=ppt/slides/_rels/slide27.xml.rels><?xml version="1.0" encoding="UTF-8" standalone="yes"?>
<Relationships xmlns="http://schemas.openxmlformats.org/package/2006/relationships"><Relationship Id="rId3" Type="http://schemas.openxmlformats.org/officeDocument/2006/relationships/tags" Target="../tags/tag365.xml"/><Relationship Id="rId4" Type="http://schemas.openxmlformats.org/officeDocument/2006/relationships/slideLayout" Target="../slideLayouts/slideLayout3.xml"/><Relationship Id="rId5" Type="http://schemas.openxmlformats.org/officeDocument/2006/relationships/oleObject" Target="../embeddings/oleObject33.bin"/><Relationship Id="rId6" Type="http://schemas.openxmlformats.org/officeDocument/2006/relationships/image" Target="../media/image3.emf"/><Relationship Id="rId7" Type="http://schemas.openxmlformats.org/officeDocument/2006/relationships/image" Target="../media/image96.png"/><Relationship Id="rId8" Type="http://schemas.openxmlformats.org/officeDocument/2006/relationships/hyperlink" Target="https://civity.de/de/matters/das-beste-angebot-ist-nicht-der-preis/" TargetMode="External"/><Relationship Id="rId1" Type="http://schemas.openxmlformats.org/officeDocument/2006/relationships/vmlDrawing" Target="../drawings/vmlDrawing33.vml"/><Relationship Id="rId2" Type="http://schemas.openxmlformats.org/officeDocument/2006/relationships/tags" Target="../tags/tag364.xml"/></Relationships>
</file>

<file path=ppt/slides/_rels/slide28.xml.rels><?xml version="1.0" encoding="UTF-8" standalone="yes"?>
<Relationships xmlns="http://schemas.openxmlformats.org/package/2006/relationships"><Relationship Id="rId11" Type="http://schemas.openxmlformats.org/officeDocument/2006/relationships/image" Target="../media/image97.emf"/><Relationship Id="rId12" Type="http://schemas.openxmlformats.org/officeDocument/2006/relationships/image" Target="../media/image98.jpg"/><Relationship Id="rId13" Type="http://schemas.openxmlformats.org/officeDocument/2006/relationships/image" Target="../media/image99.jpeg"/><Relationship Id="rId1" Type="http://schemas.openxmlformats.org/officeDocument/2006/relationships/vmlDrawing" Target="../drawings/vmlDrawing34.vml"/><Relationship Id="rId2" Type="http://schemas.openxmlformats.org/officeDocument/2006/relationships/tags" Target="../tags/tag366.xml"/><Relationship Id="rId3" Type="http://schemas.openxmlformats.org/officeDocument/2006/relationships/tags" Target="../tags/tag367.xml"/><Relationship Id="rId4" Type="http://schemas.openxmlformats.org/officeDocument/2006/relationships/tags" Target="../tags/tag368.xml"/><Relationship Id="rId5" Type="http://schemas.openxmlformats.org/officeDocument/2006/relationships/tags" Target="../tags/tag369.xml"/><Relationship Id="rId6" Type="http://schemas.openxmlformats.org/officeDocument/2006/relationships/tags" Target="../tags/tag370.xml"/><Relationship Id="rId7" Type="http://schemas.openxmlformats.org/officeDocument/2006/relationships/tags" Target="../tags/tag371.xml"/><Relationship Id="rId8" Type="http://schemas.openxmlformats.org/officeDocument/2006/relationships/slideLayout" Target="../slideLayouts/slideLayout5.xml"/><Relationship Id="rId9" Type="http://schemas.openxmlformats.org/officeDocument/2006/relationships/notesSlide" Target="../notesSlides/notesSlide26.xml"/><Relationship Id="rId10" Type="http://schemas.openxmlformats.org/officeDocument/2006/relationships/oleObject" Target="../embeddings/oleObject34.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7.xml"/><Relationship Id="rId3" Type="http://schemas.openxmlformats.org/officeDocument/2006/relationships/image" Target="../media/image100.jpeg"/></Relationships>
</file>

<file path=ppt/slides/_rels/slide3.xml.rels><?xml version="1.0" encoding="UTF-8" standalone="yes"?>
<Relationships xmlns="http://schemas.openxmlformats.org/package/2006/relationships"><Relationship Id="rId20" Type="http://schemas.openxmlformats.org/officeDocument/2006/relationships/image" Target="../media/image24.jpeg"/><Relationship Id="rId21" Type="http://schemas.openxmlformats.org/officeDocument/2006/relationships/image" Target="../media/image25.emf"/><Relationship Id="rId22" Type="http://schemas.openxmlformats.org/officeDocument/2006/relationships/image" Target="../media/image26.png"/><Relationship Id="rId23" Type="http://schemas.openxmlformats.org/officeDocument/2006/relationships/image" Target="../media/image27.png"/><Relationship Id="rId24" Type="http://schemas.openxmlformats.org/officeDocument/2006/relationships/image" Target="../media/image28.png"/><Relationship Id="rId25" Type="http://schemas.openxmlformats.org/officeDocument/2006/relationships/image" Target="../media/image29.png"/><Relationship Id="rId26" Type="http://schemas.microsoft.com/office/2007/relationships/hdphoto" Target="../media/hdphoto1.wdp"/><Relationship Id="rId27" Type="http://schemas.openxmlformats.org/officeDocument/2006/relationships/image" Target="../media/image30.png"/><Relationship Id="rId28" Type="http://schemas.microsoft.com/office/2007/relationships/hdphoto" Target="../media/hdphoto2.wdp"/><Relationship Id="rId29" Type="http://schemas.openxmlformats.org/officeDocument/2006/relationships/image" Target="../media/image31.png"/><Relationship Id="rId1" Type="http://schemas.openxmlformats.org/officeDocument/2006/relationships/vmlDrawing" Target="../drawings/vmlDrawing11.vml"/><Relationship Id="rId2" Type="http://schemas.openxmlformats.org/officeDocument/2006/relationships/tags" Target="../tags/tag27.xml"/><Relationship Id="rId3" Type="http://schemas.openxmlformats.org/officeDocument/2006/relationships/tags" Target="../tags/tag28.xml"/><Relationship Id="rId4" Type="http://schemas.openxmlformats.org/officeDocument/2006/relationships/tags" Target="../tags/tag29.xml"/><Relationship Id="rId5" Type="http://schemas.openxmlformats.org/officeDocument/2006/relationships/slideLayout" Target="../slideLayouts/slideLayout3.xml"/><Relationship Id="rId30" Type="http://schemas.microsoft.com/office/2007/relationships/hdphoto" Target="../media/hdphoto3.wdp"/><Relationship Id="rId31" Type="http://schemas.openxmlformats.org/officeDocument/2006/relationships/image" Target="../media/image32.png"/><Relationship Id="rId32" Type="http://schemas.microsoft.com/office/2007/relationships/hdphoto" Target="../media/hdphoto4.wdp"/><Relationship Id="rId9" Type="http://schemas.openxmlformats.org/officeDocument/2006/relationships/image" Target="../media/image13.emf"/><Relationship Id="rId6" Type="http://schemas.openxmlformats.org/officeDocument/2006/relationships/notesSlide" Target="../notesSlides/notesSlide3.xml"/><Relationship Id="rId7" Type="http://schemas.openxmlformats.org/officeDocument/2006/relationships/oleObject" Target="../embeddings/oleObject11.bin"/><Relationship Id="rId8" Type="http://schemas.openxmlformats.org/officeDocument/2006/relationships/image" Target="../media/image12.emf"/><Relationship Id="rId33" Type="http://schemas.openxmlformats.org/officeDocument/2006/relationships/image" Target="../media/image33.png"/><Relationship Id="rId34" Type="http://schemas.openxmlformats.org/officeDocument/2006/relationships/image" Target="../media/image34.png"/><Relationship Id="rId35" Type="http://schemas.openxmlformats.org/officeDocument/2006/relationships/image" Target="../media/image35.png"/><Relationship Id="rId36" Type="http://schemas.openxmlformats.org/officeDocument/2006/relationships/image" Target="../media/image36.png"/><Relationship Id="rId10" Type="http://schemas.openxmlformats.org/officeDocument/2006/relationships/image" Target="../media/image14.png"/><Relationship Id="rId11" Type="http://schemas.openxmlformats.org/officeDocument/2006/relationships/image" Target="../media/image15.png"/><Relationship Id="rId12" Type="http://schemas.openxmlformats.org/officeDocument/2006/relationships/image" Target="../media/image16.gif"/><Relationship Id="rId13" Type="http://schemas.openxmlformats.org/officeDocument/2006/relationships/image" Target="../media/image17.png"/><Relationship Id="rId14" Type="http://schemas.openxmlformats.org/officeDocument/2006/relationships/image" Target="../media/image18.jpeg"/><Relationship Id="rId15" Type="http://schemas.openxmlformats.org/officeDocument/2006/relationships/image" Target="../media/image19.png"/><Relationship Id="rId16" Type="http://schemas.openxmlformats.org/officeDocument/2006/relationships/image" Target="../media/image20.jpeg"/><Relationship Id="rId17" Type="http://schemas.openxmlformats.org/officeDocument/2006/relationships/image" Target="../media/image21.gif"/><Relationship Id="rId18" Type="http://schemas.openxmlformats.org/officeDocument/2006/relationships/image" Target="../media/image22.png"/><Relationship Id="rId19" Type="http://schemas.openxmlformats.org/officeDocument/2006/relationships/image" Target="../media/image23.jpeg"/><Relationship Id="rId37" Type="http://schemas.openxmlformats.org/officeDocument/2006/relationships/image" Target="../media/image37.svg"/><Relationship Id="rId38" Type="http://schemas.openxmlformats.org/officeDocument/2006/relationships/image" Target="../media/image37.png"/><Relationship Id="rId39" Type="http://schemas.openxmlformats.org/officeDocument/2006/relationships/image" Target="../media/image38.png"/><Relationship Id="rId40" Type="http://schemas.openxmlformats.org/officeDocument/2006/relationships/image" Target="../media/image39.png"/><Relationship Id="rId41" Type="http://schemas.microsoft.com/office/2007/relationships/hdphoto" Target="../media/hdphoto5.wdp"/></Relationships>
</file>

<file path=ppt/slides/_rels/slide30.xml.rels><?xml version="1.0" encoding="UTF-8" standalone="yes"?>
<Relationships xmlns="http://schemas.openxmlformats.org/package/2006/relationships"><Relationship Id="rId3" Type="http://schemas.openxmlformats.org/officeDocument/2006/relationships/tags" Target="../tags/tag373.xml"/><Relationship Id="rId4" Type="http://schemas.openxmlformats.org/officeDocument/2006/relationships/slideLayout" Target="../slideLayouts/slideLayout3.xml"/><Relationship Id="rId5" Type="http://schemas.openxmlformats.org/officeDocument/2006/relationships/notesSlide" Target="../notesSlides/notesSlide28.xml"/><Relationship Id="rId6" Type="http://schemas.openxmlformats.org/officeDocument/2006/relationships/oleObject" Target="../embeddings/oleObject35.bin"/><Relationship Id="rId7" Type="http://schemas.openxmlformats.org/officeDocument/2006/relationships/image" Target="../media/image101.emf"/><Relationship Id="rId8" Type="http://schemas.openxmlformats.org/officeDocument/2006/relationships/image" Target="../media/image102.png"/><Relationship Id="rId1" Type="http://schemas.openxmlformats.org/officeDocument/2006/relationships/vmlDrawing" Target="../drawings/vmlDrawing35.vml"/><Relationship Id="rId2" Type="http://schemas.openxmlformats.org/officeDocument/2006/relationships/tags" Target="../tags/tag372.xml"/></Relationships>
</file>

<file path=ppt/slides/_rels/slide31.xml.rels><?xml version="1.0" encoding="UTF-8" standalone="yes"?>
<Relationships xmlns="http://schemas.openxmlformats.org/package/2006/relationships"><Relationship Id="rId11" Type="http://schemas.openxmlformats.org/officeDocument/2006/relationships/image" Target="../media/image105.png"/><Relationship Id="rId12" Type="http://schemas.openxmlformats.org/officeDocument/2006/relationships/image" Target="../media/image106.png"/><Relationship Id="rId13" Type="http://schemas.openxmlformats.org/officeDocument/2006/relationships/image" Target="../media/image107.png"/><Relationship Id="rId14" Type="http://schemas.openxmlformats.org/officeDocument/2006/relationships/image" Target="../media/image46.png"/><Relationship Id="rId15" Type="http://schemas.openxmlformats.org/officeDocument/2006/relationships/image" Target="../media/image47.png"/><Relationship Id="rId16" Type="http://schemas.openxmlformats.org/officeDocument/2006/relationships/image" Target="../media/image48.png"/><Relationship Id="rId17" Type="http://schemas.openxmlformats.org/officeDocument/2006/relationships/image" Target="../media/image49.png"/><Relationship Id="rId18" Type="http://schemas.openxmlformats.org/officeDocument/2006/relationships/image" Target="../media/image50.png"/><Relationship Id="rId1" Type="http://schemas.openxmlformats.org/officeDocument/2006/relationships/vmlDrawing" Target="../drawings/vmlDrawing36.vml"/><Relationship Id="rId2" Type="http://schemas.openxmlformats.org/officeDocument/2006/relationships/tags" Target="../tags/tag374.xml"/><Relationship Id="rId3" Type="http://schemas.openxmlformats.org/officeDocument/2006/relationships/tags" Target="../tags/tag375.xml"/><Relationship Id="rId4" Type="http://schemas.openxmlformats.org/officeDocument/2006/relationships/tags" Target="../tags/tag376.xml"/><Relationship Id="rId5" Type="http://schemas.openxmlformats.org/officeDocument/2006/relationships/slideLayout" Target="../slideLayouts/slideLayout3.xml"/><Relationship Id="rId6" Type="http://schemas.openxmlformats.org/officeDocument/2006/relationships/notesSlide" Target="../notesSlides/notesSlide29.xml"/><Relationship Id="rId7" Type="http://schemas.openxmlformats.org/officeDocument/2006/relationships/oleObject" Target="../embeddings/oleObject36.bin"/><Relationship Id="rId8" Type="http://schemas.openxmlformats.org/officeDocument/2006/relationships/image" Target="../media/image3.emf"/><Relationship Id="rId9" Type="http://schemas.openxmlformats.org/officeDocument/2006/relationships/image" Target="../media/image103.png"/><Relationship Id="rId10" Type="http://schemas.openxmlformats.org/officeDocument/2006/relationships/image" Target="../media/image104.png"/></Relationships>
</file>

<file path=ppt/slides/_rels/slide32.xml.rels><?xml version="1.0" encoding="UTF-8" standalone="yes"?>
<Relationships xmlns="http://schemas.openxmlformats.org/package/2006/relationships"><Relationship Id="rId13" Type="http://schemas.openxmlformats.org/officeDocument/2006/relationships/tags" Target="../tags/tag388.xml"/><Relationship Id="rId14" Type="http://schemas.openxmlformats.org/officeDocument/2006/relationships/tags" Target="../tags/tag389.xml"/><Relationship Id="rId15" Type="http://schemas.openxmlformats.org/officeDocument/2006/relationships/tags" Target="../tags/tag390.xml"/><Relationship Id="rId16" Type="http://schemas.openxmlformats.org/officeDocument/2006/relationships/tags" Target="../tags/tag391.xml"/><Relationship Id="rId17" Type="http://schemas.openxmlformats.org/officeDocument/2006/relationships/tags" Target="../tags/tag392.xml"/><Relationship Id="rId18" Type="http://schemas.openxmlformats.org/officeDocument/2006/relationships/tags" Target="../tags/tag393.xml"/><Relationship Id="rId19" Type="http://schemas.openxmlformats.org/officeDocument/2006/relationships/tags" Target="../tags/tag394.xml"/><Relationship Id="rId63" Type="http://schemas.openxmlformats.org/officeDocument/2006/relationships/tags" Target="../tags/tag438.xml"/><Relationship Id="rId64" Type="http://schemas.openxmlformats.org/officeDocument/2006/relationships/tags" Target="../tags/tag439.xml"/><Relationship Id="rId65" Type="http://schemas.openxmlformats.org/officeDocument/2006/relationships/tags" Target="../tags/tag440.xml"/><Relationship Id="rId66" Type="http://schemas.openxmlformats.org/officeDocument/2006/relationships/tags" Target="../tags/tag441.xml"/><Relationship Id="rId67" Type="http://schemas.openxmlformats.org/officeDocument/2006/relationships/tags" Target="../tags/tag442.xml"/><Relationship Id="rId68" Type="http://schemas.openxmlformats.org/officeDocument/2006/relationships/tags" Target="../tags/tag443.xml"/><Relationship Id="rId69" Type="http://schemas.openxmlformats.org/officeDocument/2006/relationships/slideLayout" Target="../slideLayouts/slideLayout3.xml"/><Relationship Id="rId50" Type="http://schemas.openxmlformats.org/officeDocument/2006/relationships/tags" Target="../tags/tag425.xml"/><Relationship Id="rId51" Type="http://schemas.openxmlformats.org/officeDocument/2006/relationships/tags" Target="../tags/tag426.xml"/><Relationship Id="rId52" Type="http://schemas.openxmlformats.org/officeDocument/2006/relationships/tags" Target="../tags/tag427.xml"/><Relationship Id="rId53" Type="http://schemas.openxmlformats.org/officeDocument/2006/relationships/tags" Target="../tags/tag428.xml"/><Relationship Id="rId54" Type="http://schemas.openxmlformats.org/officeDocument/2006/relationships/tags" Target="../tags/tag429.xml"/><Relationship Id="rId55" Type="http://schemas.openxmlformats.org/officeDocument/2006/relationships/tags" Target="../tags/tag430.xml"/><Relationship Id="rId56" Type="http://schemas.openxmlformats.org/officeDocument/2006/relationships/tags" Target="../tags/tag431.xml"/><Relationship Id="rId57" Type="http://schemas.openxmlformats.org/officeDocument/2006/relationships/tags" Target="../tags/tag432.xml"/><Relationship Id="rId58" Type="http://schemas.openxmlformats.org/officeDocument/2006/relationships/tags" Target="../tags/tag433.xml"/><Relationship Id="rId59" Type="http://schemas.openxmlformats.org/officeDocument/2006/relationships/tags" Target="../tags/tag434.xml"/><Relationship Id="rId40" Type="http://schemas.openxmlformats.org/officeDocument/2006/relationships/tags" Target="../tags/tag415.xml"/><Relationship Id="rId41" Type="http://schemas.openxmlformats.org/officeDocument/2006/relationships/tags" Target="../tags/tag416.xml"/><Relationship Id="rId42" Type="http://schemas.openxmlformats.org/officeDocument/2006/relationships/tags" Target="../tags/tag417.xml"/><Relationship Id="rId43" Type="http://schemas.openxmlformats.org/officeDocument/2006/relationships/tags" Target="../tags/tag418.xml"/><Relationship Id="rId44" Type="http://schemas.openxmlformats.org/officeDocument/2006/relationships/tags" Target="../tags/tag419.xml"/><Relationship Id="rId45" Type="http://schemas.openxmlformats.org/officeDocument/2006/relationships/tags" Target="../tags/tag420.xml"/><Relationship Id="rId46" Type="http://schemas.openxmlformats.org/officeDocument/2006/relationships/tags" Target="../tags/tag421.xml"/><Relationship Id="rId47" Type="http://schemas.openxmlformats.org/officeDocument/2006/relationships/tags" Target="../tags/tag422.xml"/><Relationship Id="rId48" Type="http://schemas.openxmlformats.org/officeDocument/2006/relationships/tags" Target="../tags/tag423.xml"/><Relationship Id="rId49" Type="http://schemas.openxmlformats.org/officeDocument/2006/relationships/tags" Target="../tags/tag424.xml"/><Relationship Id="rId1" Type="http://schemas.openxmlformats.org/officeDocument/2006/relationships/vmlDrawing" Target="../drawings/vmlDrawing37.vml"/><Relationship Id="rId2" Type="http://schemas.openxmlformats.org/officeDocument/2006/relationships/tags" Target="../tags/tag377.xml"/><Relationship Id="rId3" Type="http://schemas.openxmlformats.org/officeDocument/2006/relationships/tags" Target="../tags/tag378.xml"/><Relationship Id="rId4" Type="http://schemas.openxmlformats.org/officeDocument/2006/relationships/tags" Target="../tags/tag379.xml"/><Relationship Id="rId5" Type="http://schemas.openxmlformats.org/officeDocument/2006/relationships/tags" Target="../tags/tag380.xml"/><Relationship Id="rId6" Type="http://schemas.openxmlformats.org/officeDocument/2006/relationships/tags" Target="../tags/tag381.xml"/><Relationship Id="rId7" Type="http://schemas.openxmlformats.org/officeDocument/2006/relationships/tags" Target="../tags/tag382.xml"/><Relationship Id="rId8" Type="http://schemas.openxmlformats.org/officeDocument/2006/relationships/tags" Target="../tags/tag383.xml"/><Relationship Id="rId9" Type="http://schemas.openxmlformats.org/officeDocument/2006/relationships/tags" Target="../tags/tag384.xml"/><Relationship Id="rId30" Type="http://schemas.openxmlformats.org/officeDocument/2006/relationships/tags" Target="../tags/tag405.xml"/><Relationship Id="rId31" Type="http://schemas.openxmlformats.org/officeDocument/2006/relationships/tags" Target="../tags/tag406.xml"/><Relationship Id="rId32" Type="http://schemas.openxmlformats.org/officeDocument/2006/relationships/tags" Target="../tags/tag407.xml"/><Relationship Id="rId33" Type="http://schemas.openxmlformats.org/officeDocument/2006/relationships/tags" Target="../tags/tag408.xml"/><Relationship Id="rId34" Type="http://schemas.openxmlformats.org/officeDocument/2006/relationships/tags" Target="../tags/tag409.xml"/><Relationship Id="rId35" Type="http://schemas.openxmlformats.org/officeDocument/2006/relationships/tags" Target="../tags/tag410.xml"/><Relationship Id="rId36" Type="http://schemas.openxmlformats.org/officeDocument/2006/relationships/tags" Target="../tags/tag411.xml"/><Relationship Id="rId37" Type="http://schemas.openxmlformats.org/officeDocument/2006/relationships/tags" Target="../tags/tag412.xml"/><Relationship Id="rId38" Type="http://schemas.openxmlformats.org/officeDocument/2006/relationships/tags" Target="../tags/tag413.xml"/><Relationship Id="rId39" Type="http://schemas.openxmlformats.org/officeDocument/2006/relationships/tags" Target="../tags/tag414.xml"/><Relationship Id="rId70" Type="http://schemas.openxmlformats.org/officeDocument/2006/relationships/notesSlide" Target="../notesSlides/notesSlide30.xml"/><Relationship Id="rId71" Type="http://schemas.openxmlformats.org/officeDocument/2006/relationships/oleObject" Target="../embeddings/oleObject37.bin"/><Relationship Id="rId72" Type="http://schemas.openxmlformats.org/officeDocument/2006/relationships/image" Target="../media/image41.emf"/><Relationship Id="rId20" Type="http://schemas.openxmlformats.org/officeDocument/2006/relationships/tags" Target="../tags/tag395.xml"/><Relationship Id="rId21" Type="http://schemas.openxmlformats.org/officeDocument/2006/relationships/tags" Target="../tags/tag396.xml"/><Relationship Id="rId22" Type="http://schemas.openxmlformats.org/officeDocument/2006/relationships/tags" Target="../tags/tag397.xml"/><Relationship Id="rId23" Type="http://schemas.openxmlformats.org/officeDocument/2006/relationships/tags" Target="../tags/tag398.xml"/><Relationship Id="rId24" Type="http://schemas.openxmlformats.org/officeDocument/2006/relationships/tags" Target="../tags/tag399.xml"/><Relationship Id="rId25" Type="http://schemas.openxmlformats.org/officeDocument/2006/relationships/tags" Target="../tags/tag400.xml"/><Relationship Id="rId26" Type="http://schemas.openxmlformats.org/officeDocument/2006/relationships/tags" Target="../tags/tag401.xml"/><Relationship Id="rId27" Type="http://schemas.openxmlformats.org/officeDocument/2006/relationships/tags" Target="../tags/tag402.xml"/><Relationship Id="rId28" Type="http://schemas.openxmlformats.org/officeDocument/2006/relationships/tags" Target="../tags/tag403.xml"/><Relationship Id="rId29" Type="http://schemas.openxmlformats.org/officeDocument/2006/relationships/tags" Target="../tags/tag404.xml"/><Relationship Id="rId73" Type="http://schemas.openxmlformats.org/officeDocument/2006/relationships/chart" Target="../charts/chart12.xml"/><Relationship Id="rId60" Type="http://schemas.openxmlformats.org/officeDocument/2006/relationships/tags" Target="../tags/tag435.xml"/><Relationship Id="rId61" Type="http://schemas.openxmlformats.org/officeDocument/2006/relationships/tags" Target="../tags/tag436.xml"/><Relationship Id="rId62" Type="http://schemas.openxmlformats.org/officeDocument/2006/relationships/tags" Target="../tags/tag437.xml"/><Relationship Id="rId10" Type="http://schemas.openxmlformats.org/officeDocument/2006/relationships/tags" Target="../tags/tag385.xml"/><Relationship Id="rId11" Type="http://schemas.openxmlformats.org/officeDocument/2006/relationships/tags" Target="../tags/tag386.xml"/><Relationship Id="rId12" Type="http://schemas.openxmlformats.org/officeDocument/2006/relationships/tags" Target="../tags/tag387.xml"/></Relationships>
</file>

<file path=ppt/slides/_rels/slide33.xml.rels><?xml version="1.0" encoding="UTF-8" standalone="yes"?>
<Relationships xmlns="http://schemas.openxmlformats.org/package/2006/relationships"><Relationship Id="rId142" Type="http://schemas.openxmlformats.org/officeDocument/2006/relationships/tags" Target="../tags/tag584.xml"/><Relationship Id="rId143" Type="http://schemas.openxmlformats.org/officeDocument/2006/relationships/tags" Target="../tags/tag585.xml"/><Relationship Id="rId144" Type="http://schemas.openxmlformats.org/officeDocument/2006/relationships/tags" Target="../tags/tag586.xml"/><Relationship Id="rId145" Type="http://schemas.openxmlformats.org/officeDocument/2006/relationships/tags" Target="../tags/tag587.xml"/><Relationship Id="rId146" Type="http://schemas.openxmlformats.org/officeDocument/2006/relationships/tags" Target="../tags/tag588.xml"/><Relationship Id="rId147" Type="http://schemas.openxmlformats.org/officeDocument/2006/relationships/tags" Target="../tags/tag589.xml"/><Relationship Id="rId148" Type="http://schemas.openxmlformats.org/officeDocument/2006/relationships/tags" Target="../tags/tag590.xml"/><Relationship Id="rId149" Type="http://schemas.openxmlformats.org/officeDocument/2006/relationships/tags" Target="../tags/tag591.xml"/><Relationship Id="rId180" Type="http://schemas.openxmlformats.org/officeDocument/2006/relationships/slideLayout" Target="../slideLayouts/slideLayout3.xml"/><Relationship Id="rId181" Type="http://schemas.openxmlformats.org/officeDocument/2006/relationships/notesSlide" Target="../notesSlides/notesSlide31.xml"/><Relationship Id="rId182" Type="http://schemas.openxmlformats.org/officeDocument/2006/relationships/oleObject" Target="../embeddings/oleObject38.bin"/><Relationship Id="rId40" Type="http://schemas.openxmlformats.org/officeDocument/2006/relationships/tags" Target="../tags/tag482.xml"/><Relationship Id="rId41" Type="http://schemas.openxmlformats.org/officeDocument/2006/relationships/tags" Target="../tags/tag483.xml"/><Relationship Id="rId42" Type="http://schemas.openxmlformats.org/officeDocument/2006/relationships/tags" Target="../tags/tag484.xml"/><Relationship Id="rId43" Type="http://schemas.openxmlformats.org/officeDocument/2006/relationships/tags" Target="../tags/tag485.xml"/><Relationship Id="rId44" Type="http://schemas.openxmlformats.org/officeDocument/2006/relationships/tags" Target="../tags/tag486.xml"/><Relationship Id="rId45" Type="http://schemas.openxmlformats.org/officeDocument/2006/relationships/tags" Target="../tags/tag487.xml"/><Relationship Id="rId46" Type="http://schemas.openxmlformats.org/officeDocument/2006/relationships/tags" Target="../tags/tag488.xml"/><Relationship Id="rId47" Type="http://schemas.openxmlformats.org/officeDocument/2006/relationships/tags" Target="../tags/tag489.xml"/><Relationship Id="rId48" Type="http://schemas.openxmlformats.org/officeDocument/2006/relationships/tags" Target="../tags/tag490.xml"/><Relationship Id="rId49" Type="http://schemas.openxmlformats.org/officeDocument/2006/relationships/tags" Target="../tags/tag491.xml"/><Relationship Id="rId183" Type="http://schemas.openxmlformats.org/officeDocument/2006/relationships/image" Target="../media/image41.emf"/><Relationship Id="rId184" Type="http://schemas.openxmlformats.org/officeDocument/2006/relationships/chart" Target="../charts/chart13.xml"/><Relationship Id="rId185" Type="http://schemas.openxmlformats.org/officeDocument/2006/relationships/image" Target="../media/image108.emf"/><Relationship Id="rId80" Type="http://schemas.openxmlformats.org/officeDocument/2006/relationships/tags" Target="../tags/tag522.xml"/><Relationship Id="rId81" Type="http://schemas.openxmlformats.org/officeDocument/2006/relationships/tags" Target="../tags/tag523.xml"/><Relationship Id="rId82" Type="http://schemas.openxmlformats.org/officeDocument/2006/relationships/tags" Target="../tags/tag524.xml"/><Relationship Id="rId83" Type="http://schemas.openxmlformats.org/officeDocument/2006/relationships/tags" Target="../tags/tag525.xml"/><Relationship Id="rId84" Type="http://schemas.openxmlformats.org/officeDocument/2006/relationships/tags" Target="../tags/tag526.xml"/><Relationship Id="rId85" Type="http://schemas.openxmlformats.org/officeDocument/2006/relationships/tags" Target="../tags/tag527.xml"/><Relationship Id="rId86" Type="http://schemas.openxmlformats.org/officeDocument/2006/relationships/tags" Target="../tags/tag528.xml"/><Relationship Id="rId87" Type="http://schemas.openxmlformats.org/officeDocument/2006/relationships/tags" Target="../tags/tag529.xml"/><Relationship Id="rId88" Type="http://schemas.openxmlformats.org/officeDocument/2006/relationships/tags" Target="../tags/tag530.xml"/><Relationship Id="rId89" Type="http://schemas.openxmlformats.org/officeDocument/2006/relationships/tags" Target="../tags/tag531.xml"/><Relationship Id="rId110" Type="http://schemas.openxmlformats.org/officeDocument/2006/relationships/tags" Target="../tags/tag552.xml"/><Relationship Id="rId111" Type="http://schemas.openxmlformats.org/officeDocument/2006/relationships/tags" Target="../tags/tag553.xml"/><Relationship Id="rId112" Type="http://schemas.openxmlformats.org/officeDocument/2006/relationships/tags" Target="../tags/tag554.xml"/><Relationship Id="rId113" Type="http://schemas.openxmlformats.org/officeDocument/2006/relationships/tags" Target="../tags/tag555.xml"/><Relationship Id="rId114" Type="http://schemas.openxmlformats.org/officeDocument/2006/relationships/tags" Target="../tags/tag556.xml"/><Relationship Id="rId115" Type="http://schemas.openxmlformats.org/officeDocument/2006/relationships/tags" Target="../tags/tag557.xml"/><Relationship Id="rId116" Type="http://schemas.openxmlformats.org/officeDocument/2006/relationships/tags" Target="../tags/tag558.xml"/><Relationship Id="rId117" Type="http://schemas.openxmlformats.org/officeDocument/2006/relationships/tags" Target="../tags/tag559.xml"/><Relationship Id="rId118" Type="http://schemas.openxmlformats.org/officeDocument/2006/relationships/tags" Target="../tags/tag560.xml"/><Relationship Id="rId119" Type="http://schemas.openxmlformats.org/officeDocument/2006/relationships/tags" Target="../tags/tag561.xml"/><Relationship Id="rId150" Type="http://schemas.openxmlformats.org/officeDocument/2006/relationships/tags" Target="../tags/tag592.xml"/><Relationship Id="rId151" Type="http://schemas.openxmlformats.org/officeDocument/2006/relationships/tags" Target="../tags/tag593.xml"/><Relationship Id="rId152" Type="http://schemas.openxmlformats.org/officeDocument/2006/relationships/tags" Target="../tags/tag594.xml"/><Relationship Id="rId10" Type="http://schemas.openxmlformats.org/officeDocument/2006/relationships/tags" Target="../tags/tag452.xml"/><Relationship Id="rId11" Type="http://schemas.openxmlformats.org/officeDocument/2006/relationships/tags" Target="../tags/tag453.xml"/><Relationship Id="rId12" Type="http://schemas.openxmlformats.org/officeDocument/2006/relationships/tags" Target="../tags/tag454.xml"/><Relationship Id="rId13" Type="http://schemas.openxmlformats.org/officeDocument/2006/relationships/tags" Target="../tags/tag455.xml"/><Relationship Id="rId14" Type="http://schemas.openxmlformats.org/officeDocument/2006/relationships/tags" Target="../tags/tag456.xml"/><Relationship Id="rId15" Type="http://schemas.openxmlformats.org/officeDocument/2006/relationships/tags" Target="../tags/tag457.xml"/><Relationship Id="rId16" Type="http://schemas.openxmlformats.org/officeDocument/2006/relationships/tags" Target="../tags/tag458.xml"/><Relationship Id="rId17" Type="http://schemas.openxmlformats.org/officeDocument/2006/relationships/tags" Target="../tags/tag459.xml"/><Relationship Id="rId18" Type="http://schemas.openxmlformats.org/officeDocument/2006/relationships/tags" Target="../tags/tag460.xml"/><Relationship Id="rId19" Type="http://schemas.openxmlformats.org/officeDocument/2006/relationships/tags" Target="../tags/tag461.xml"/><Relationship Id="rId153" Type="http://schemas.openxmlformats.org/officeDocument/2006/relationships/tags" Target="../tags/tag595.xml"/><Relationship Id="rId154" Type="http://schemas.openxmlformats.org/officeDocument/2006/relationships/tags" Target="../tags/tag596.xml"/><Relationship Id="rId155" Type="http://schemas.openxmlformats.org/officeDocument/2006/relationships/tags" Target="../tags/tag597.xml"/><Relationship Id="rId156" Type="http://schemas.openxmlformats.org/officeDocument/2006/relationships/tags" Target="../tags/tag598.xml"/><Relationship Id="rId157" Type="http://schemas.openxmlformats.org/officeDocument/2006/relationships/tags" Target="../tags/tag599.xml"/><Relationship Id="rId158" Type="http://schemas.openxmlformats.org/officeDocument/2006/relationships/tags" Target="../tags/tag600.xml"/><Relationship Id="rId159" Type="http://schemas.openxmlformats.org/officeDocument/2006/relationships/tags" Target="../tags/tag601.xml"/><Relationship Id="rId50" Type="http://schemas.openxmlformats.org/officeDocument/2006/relationships/tags" Target="../tags/tag492.xml"/><Relationship Id="rId51" Type="http://schemas.openxmlformats.org/officeDocument/2006/relationships/tags" Target="../tags/tag493.xml"/><Relationship Id="rId52" Type="http://schemas.openxmlformats.org/officeDocument/2006/relationships/tags" Target="../tags/tag494.xml"/><Relationship Id="rId53" Type="http://schemas.openxmlformats.org/officeDocument/2006/relationships/tags" Target="../tags/tag495.xml"/><Relationship Id="rId54" Type="http://schemas.openxmlformats.org/officeDocument/2006/relationships/tags" Target="../tags/tag496.xml"/><Relationship Id="rId55" Type="http://schemas.openxmlformats.org/officeDocument/2006/relationships/tags" Target="../tags/tag497.xml"/><Relationship Id="rId56" Type="http://schemas.openxmlformats.org/officeDocument/2006/relationships/tags" Target="../tags/tag498.xml"/><Relationship Id="rId57" Type="http://schemas.openxmlformats.org/officeDocument/2006/relationships/tags" Target="../tags/tag499.xml"/><Relationship Id="rId58" Type="http://schemas.openxmlformats.org/officeDocument/2006/relationships/tags" Target="../tags/tag500.xml"/><Relationship Id="rId59" Type="http://schemas.openxmlformats.org/officeDocument/2006/relationships/tags" Target="../tags/tag501.xml"/><Relationship Id="rId90" Type="http://schemas.openxmlformats.org/officeDocument/2006/relationships/tags" Target="../tags/tag532.xml"/><Relationship Id="rId91" Type="http://schemas.openxmlformats.org/officeDocument/2006/relationships/tags" Target="../tags/tag533.xml"/><Relationship Id="rId92" Type="http://schemas.openxmlformats.org/officeDocument/2006/relationships/tags" Target="../tags/tag534.xml"/><Relationship Id="rId93" Type="http://schemas.openxmlformats.org/officeDocument/2006/relationships/tags" Target="../tags/tag535.xml"/><Relationship Id="rId94" Type="http://schemas.openxmlformats.org/officeDocument/2006/relationships/tags" Target="../tags/tag536.xml"/><Relationship Id="rId95" Type="http://schemas.openxmlformats.org/officeDocument/2006/relationships/tags" Target="../tags/tag537.xml"/><Relationship Id="rId96" Type="http://schemas.openxmlformats.org/officeDocument/2006/relationships/tags" Target="../tags/tag538.xml"/><Relationship Id="rId97" Type="http://schemas.openxmlformats.org/officeDocument/2006/relationships/tags" Target="../tags/tag539.xml"/><Relationship Id="rId98" Type="http://schemas.openxmlformats.org/officeDocument/2006/relationships/tags" Target="../tags/tag540.xml"/><Relationship Id="rId99" Type="http://schemas.openxmlformats.org/officeDocument/2006/relationships/tags" Target="../tags/tag541.xml"/><Relationship Id="rId120" Type="http://schemas.openxmlformats.org/officeDocument/2006/relationships/tags" Target="../tags/tag562.xml"/><Relationship Id="rId121" Type="http://schemas.openxmlformats.org/officeDocument/2006/relationships/tags" Target="../tags/tag563.xml"/><Relationship Id="rId122" Type="http://schemas.openxmlformats.org/officeDocument/2006/relationships/tags" Target="../tags/tag564.xml"/><Relationship Id="rId123" Type="http://schemas.openxmlformats.org/officeDocument/2006/relationships/tags" Target="../tags/tag565.xml"/><Relationship Id="rId124" Type="http://schemas.openxmlformats.org/officeDocument/2006/relationships/tags" Target="../tags/tag566.xml"/><Relationship Id="rId125" Type="http://schemas.openxmlformats.org/officeDocument/2006/relationships/tags" Target="../tags/tag567.xml"/><Relationship Id="rId126" Type="http://schemas.openxmlformats.org/officeDocument/2006/relationships/tags" Target="../tags/tag568.xml"/><Relationship Id="rId127" Type="http://schemas.openxmlformats.org/officeDocument/2006/relationships/tags" Target="../tags/tag569.xml"/><Relationship Id="rId128" Type="http://schemas.openxmlformats.org/officeDocument/2006/relationships/tags" Target="../tags/tag570.xml"/><Relationship Id="rId129" Type="http://schemas.openxmlformats.org/officeDocument/2006/relationships/tags" Target="../tags/tag571.xml"/><Relationship Id="rId160" Type="http://schemas.openxmlformats.org/officeDocument/2006/relationships/tags" Target="../tags/tag602.xml"/><Relationship Id="rId161" Type="http://schemas.openxmlformats.org/officeDocument/2006/relationships/tags" Target="../tags/tag603.xml"/><Relationship Id="rId162" Type="http://schemas.openxmlformats.org/officeDocument/2006/relationships/tags" Target="../tags/tag604.xml"/><Relationship Id="rId20" Type="http://schemas.openxmlformats.org/officeDocument/2006/relationships/tags" Target="../tags/tag462.xml"/><Relationship Id="rId21" Type="http://schemas.openxmlformats.org/officeDocument/2006/relationships/tags" Target="../tags/tag463.xml"/><Relationship Id="rId22" Type="http://schemas.openxmlformats.org/officeDocument/2006/relationships/tags" Target="../tags/tag464.xml"/><Relationship Id="rId23" Type="http://schemas.openxmlformats.org/officeDocument/2006/relationships/tags" Target="../tags/tag465.xml"/><Relationship Id="rId24" Type="http://schemas.openxmlformats.org/officeDocument/2006/relationships/tags" Target="../tags/tag466.xml"/><Relationship Id="rId25" Type="http://schemas.openxmlformats.org/officeDocument/2006/relationships/tags" Target="../tags/tag467.xml"/><Relationship Id="rId26" Type="http://schemas.openxmlformats.org/officeDocument/2006/relationships/tags" Target="../tags/tag468.xml"/><Relationship Id="rId27" Type="http://schemas.openxmlformats.org/officeDocument/2006/relationships/tags" Target="../tags/tag469.xml"/><Relationship Id="rId28" Type="http://schemas.openxmlformats.org/officeDocument/2006/relationships/tags" Target="../tags/tag470.xml"/><Relationship Id="rId29" Type="http://schemas.openxmlformats.org/officeDocument/2006/relationships/tags" Target="../tags/tag471.xml"/><Relationship Id="rId163" Type="http://schemas.openxmlformats.org/officeDocument/2006/relationships/tags" Target="../tags/tag605.xml"/><Relationship Id="rId164" Type="http://schemas.openxmlformats.org/officeDocument/2006/relationships/tags" Target="../tags/tag606.xml"/><Relationship Id="rId165" Type="http://schemas.openxmlformats.org/officeDocument/2006/relationships/tags" Target="../tags/tag607.xml"/><Relationship Id="rId166" Type="http://schemas.openxmlformats.org/officeDocument/2006/relationships/tags" Target="../tags/tag608.xml"/><Relationship Id="rId167" Type="http://schemas.openxmlformats.org/officeDocument/2006/relationships/tags" Target="../tags/tag609.xml"/><Relationship Id="rId168" Type="http://schemas.openxmlformats.org/officeDocument/2006/relationships/tags" Target="../tags/tag610.xml"/><Relationship Id="rId169" Type="http://schemas.openxmlformats.org/officeDocument/2006/relationships/tags" Target="../tags/tag611.xml"/><Relationship Id="rId60" Type="http://schemas.openxmlformats.org/officeDocument/2006/relationships/tags" Target="../tags/tag502.xml"/><Relationship Id="rId61" Type="http://schemas.openxmlformats.org/officeDocument/2006/relationships/tags" Target="../tags/tag503.xml"/><Relationship Id="rId62" Type="http://schemas.openxmlformats.org/officeDocument/2006/relationships/tags" Target="../tags/tag504.xml"/><Relationship Id="rId63" Type="http://schemas.openxmlformats.org/officeDocument/2006/relationships/tags" Target="../tags/tag505.xml"/><Relationship Id="rId64" Type="http://schemas.openxmlformats.org/officeDocument/2006/relationships/tags" Target="../tags/tag506.xml"/><Relationship Id="rId65" Type="http://schemas.openxmlformats.org/officeDocument/2006/relationships/tags" Target="../tags/tag507.xml"/><Relationship Id="rId66" Type="http://schemas.openxmlformats.org/officeDocument/2006/relationships/tags" Target="../tags/tag508.xml"/><Relationship Id="rId67" Type="http://schemas.openxmlformats.org/officeDocument/2006/relationships/tags" Target="../tags/tag509.xml"/><Relationship Id="rId68" Type="http://schemas.openxmlformats.org/officeDocument/2006/relationships/tags" Target="../tags/tag510.xml"/><Relationship Id="rId69" Type="http://schemas.openxmlformats.org/officeDocument/2006/relationships/tags" Target="../tags/tag511.xml"/><Relationship Id="rId130" Type="http://schemas.openxmlformats.org/officeDocument/2006/relationships/tags" Target="../tags/tag572.xml"/><Relationship Id="rId131" Type="http://schemas.openxmlformats.org/officeDocument/2006/relationships/tags" Target="../tags/tag573.xml"/><Relationship Id="rId132" Type="http://schemas.openxmlformats.org/officeDocument/2006/relationships/tags" Target="../tags/tag574.xml"/><Relationship Id="rId133" Type="http://schemas.openxmlformats.org/officeDocument/2006/relationships/tags" Target="../tags/tag575.xml"/><Relationship Id="rId134" Type="http://schemas.openxmlformats.org/officeDocument/2006/relationships/tags" Target="../tags/tag576.xml"/><Relationship Id="rId135" Type="http://schemas.openxmlformats.org/officeDocument/2006/relationships/tags" Target="../tags/tag577.xml"/><Relationship Id="rId136" Type="http://schemas.openxmlformats.org/officeDocument/2006/relationships/tags" Target="../tags/tag578.xml"/><Relationship Id="rId137" Type="http://schemas.openxmlformats.org/officeDocument/2006/relationships/tags" Target="../tags/tag579.xml"/><Relationship Id="rId138" Type="http://schemas.openxmlformats.org/officeDocument/2006/relationships/tags" Target="../tags/tag580.xml"/><Relationship Id="rId139" Type="http://schemas.openxmlformats.org/officeDocument/2006/relationships/tags" Target="../tags/tag581.xml"/><Relationship Id="rId170" Type="http://schemas.openxmlformats.org/officeDocument/2006/relationships/tags" Target="../tags/tag612.xml"/><Relationship Id="rId171" Type="http://schemas.openxmlformats.org/officeDocument/2006/relationships/tags" Target="../tags/tag613.xml"/><Relationship Id="rId172" Type="http://schemas.openxmlformats.org/officeDocument/2006/relationships/tags" Target="../tags/tag614.xml"/><Relationship Id="rId30" Type="http://schemas.openxmlformats.org/officeDocument/2006/relationships/tags" Target="../tags/tag472.xml"/><Relationship Id="rId31" Type="http://schemas.openxmlformats.org/officeDocument/2006/relationships/tags" Target="../tags/tag473.xml"/><Relationship Id="rId32" Type="http://schemas.openxmlformats.org/officeDocument/2006/relationships/tags" Target="../tags/tag474.xml"/><Relationship Id="rId33" Type="http://schemas.openxmlformats.org/officeDocument/2006/relationships/tags" Target="../tags/tag475.xml"/><Relationship Id="rId34" Type="http://schemas.openxmlformats.org/officeDocument/2006/relationships/tags" Target="../tags/tag476.xml"/><Relationship Id="rId35" Type="http://schemas.openxmlformats.org/officeDocument/2006/relationships/tags" Target="../tags/tag477.xml"/><Relationship Id="rId36" Type="http://schemas.openxmlformats.org/officeDocument/2006/relationships/tags" Target="../tags/tag478.xml"/><Relationship Id="rId37" Type="http://schemas.openxmlformats.org/officeDocument/2006/relationships/tags" Target="../tags/tag479.xml"/><Relationship Id="rId38" Type="http://schemas.openxmlformats.org/officeDocument/2006/relationships/tags" Target="../tags/tag480.xml"/><Relationship Id="rId39" Type="http://schemas.openxmlformats.org/officeDocument/2006/relationships/tags" Target="../tags/tag481.xml"/><Relationship Id="rId173" Type="http://schemas.openxmlformats.org/officeDocument/2006/relationships/tags" Target="../tags/tag615.xml"/><Relationship Id="rId174" Type="http://schemas.openxmlformats.org/officeDocument/2006/relationships/tags" Target="../tags/tag616.xml"/><Relationship Id="rId175" Type="http://schemas.openxmlformats.org/officeDocument/2006/relationships/tags" Target="../tags/tag617.xml"/><Relationship Id="rId176" Type="http://schemas.openxmlformats.org/officeDocument/2006/relationships/tags" Target="../tags/tag618.xml"/><Relationship Id="rId177" Type="http://schemas.openxmlformats.org/officeDocument/2006/relationships/tags" Target="../tags/tag619.xml"/><Relationship Id="rId178" Type="http://schemas.openxmlformats.org/officeDocument/2006/relationships/tags" Target="../tags/tag620.xml"/><Relationship Id="rId179" Type="http://schemas.openxmlformats.org/officeDocument/2006/relationships/tags" Target="../tags/tag621.xml"/><Relationship Id="rId70" Type="http://schemas.openxmlformats.org/officeDocument/2006/relationships/tags" Target="../tags/tag512.xml"/><Relationship Id="rId71" Type="http://schemas.openxmlformats.org/officeDocument/2006/relationships/tags" Target="../tags/tag513.xml"/><Relationship Id="rId72" Type="http://schemas.openxmlformats.org/officeDocument/2006/relationships/tags" Target="../tags/tag514.xml"/><Relationship Id="rId73" Type="http://schemas.openxmlformats.org/officeDocument/2006/relationships/tags" Target="../tags/tag515.xml"/><Relationship Id="rId74" Type="http://schemas.openxmlformats.org/officeDocument/2006/relationships/tags" Target="../tags/tag516.xml"/><Relationship Id="rId75" Type="http://schemas.openxmlformats.org/officeDocument/2006/relationships/tags" Target="../tags/tag517.xml"/><Relationship Id="rId76" Type="http://schemas.openxmlformats.org/officeDocument/2006/relationships/tags" Target="../tags/tag518.xml"/><Relationship Id="rId77" Type="http://schemas.openxmlformats.org/officeDocument/2006/relationships/tags" Target="../tags/tag519.xml"/><Relationship Id="rId78" Type="http://schemas.openxmlformats.org/officeDocument/2006/relationships/tags" Target="../tags/tag520.xml"/><Relationship Id="rId79" Type="http://schemas.openxmlformats.org/officeDocument/2006/relationships/tags" Target="../tags/tag521.xml"/><Relationship Id="rId1" Type="http://schemas.openxmlformats.org/officeDocument/2006/relationships/vmlDrawing" Target="../drawings/vmlDrawing38.vml"/><Relationship Id="rId2" Type="http://schemas.openxmlformats.org/officeDocument/2006/relationships/tags" Target="../tags/tag444.xml"/><Relationship Id="rId3" Type="http://schemas.openxmlformats.org/officeDocument/2006/relationships/tags" Target="../tags/tag445.xml"/><Relationship Id="rId4" Type="http://schemas.openxmlformats.org/officeDocument/2006/relationships/tags" Target="../tags/tag446.xml"/><Relationship Id="rId100" Type="http://schemas.openxmlformats.org/officeDocument/2006/relationships/tags" Target="../tags/tag542.xml"/><Relationship Id="rId101" Type="http://schemas.openxmlformats.org/officeDocument/2006/relationships/tags" Target="../tags/tag543.xml"/><Relationship Id="rId102" Type="http://schemas.openxmlformats.org/officeDocument/2006/relationships/tags" Target="../tags/tag544.xml"/><Relationship Id="rId103" Type="http://schemas.openxmlformats.org/officeDocument/2006/relationships/tags" Target="../tags/tag545.xml"/><Relationship Id="rId104" Type="http://schemas.openxmlformats.org/officeDocument/2006/relationships/tags" Target="../tags/tag546.xml"/><Relationship Id="rId105" Type="http://schemas.openxmlformats.org/officeDocument/2006/relationships/tags" Target="../tags/tag547.xml"/><Relationship Id="rId106" Type="http://schemas.openxmlformats.org/officeDocument/2006/relationships/tags" Target="../tags/tag548.xml"/><Relationship Id="rId107" Type="http://schemas.openxmlformats.org/officeDocument/2006/relationships/tags" Target="../tags/tag549.xml"/><Relationship Id="rId108" Type="http://schemas.openxmlformats.org/officeDocument/2006/relationships/tags" Target="../tags/tag550.xml"/><Relationship Id="rId109" Type="http://schemas.openxmlformats.org/officeDocument/2006/relationships/tags" Target="../tags/tag551.xml"/><Relationship Id="rId5" Type="http://schemas.openxmlformats.org/officeDocument/2006/relationships/tags" Target="../tags/tag447.xml"/><Relationship Id="rId6" Type="http://schemas.openxmlformats.org/officeDocument/2006/relationships/tags" Target="../tags/tag448.xml"/><Relationship Id="rId7" Type="http://schemas.openxmlformats.org/officeDocument/2006/relationships/tags" Target="../tags/tag449.xml"/><Relationship Id="rId8" Type="http://schemas.openxmlformats.org/officeDocument/2006/relationships/tags" Target="../tags/tag450.xml"/><Relationship Id="rId9" Type="http://schemas.openxmlformats.org/officeDocument/2006/relationships/tags" Target="../tags/tag451.xml"/><Relationship Id="rId140" Type="http://schemas.openxmlformats.org/officeDocument/2006/relationships/tags" Target="../tags/tag582.xml"/><Relationship Id="rId141" Type="http://schemas.openxmlformats.org/officeDocument/2006/relationships/tags" Target="../tags/tag583.xml"/></Relationships>
</file>

<file path=ppt/slides/_rels/slide34.xml.rels><?xml version="1.0" encoding="UTF-8" standalone="yes"?>
<Relationships xmlns="http://schemas.openxmlformats.org/package/2006/relationships"><Relationship Id="rId9" Type="http://schemas.openxmlformats.org/officeDocument/2006/relationships/tags" Target="../tags/tag629.xml"/><Relationship Id="rId20" Type="http://schemas.openxmlformats.org/officeDocument/2006/relationships/image" Target="../media/image110.png"/><Relationship Id="rId21" Type="http://schemas.microsoft.com/office/2007/relationships/hdphoto" Target="../media/hdphoto21.wdp"/><Relationship Id="rId22" Type="http://schemas.openxmlformats.org/officeDocument/2006/relationships/image" Target="../media/image111.png"/><Relationship Id="rId23" Type="http://schemas.microsoft.com/office/2007/relationships/hdphoto" Target="../media/hdphoto22.wdp"/><Relationship Id="rId24" Type="http://schemas.openxmlformats.org/officeDocument/2006/relationships/oleObject" Target="file:///C:\Users\albrecht\Desktop\Entwicklung%202011%20bis%202018.xlsx!Tabelle1!Z1S1:Z19S5" TargetMode="External"/><Relationship Id="rId25" Type="http://schemas.openxmlformats.org/officeDocument/2006/relationships/image" Target="../media/image109.emf"/><Relationship Id="rId10" Type="http://schemas.openxmlformats.org/officeDocument/2006/relationships/tags" Target="../tags/tag630.xml"/><Relationship Id="rId11" Type="http://schemas.openxmlformats.org/officeDocument/2006/relationships/tags" Target="../tags/tag631.xml"/><Relationship Id="rId12" Type="http://schemas.openxmlformats.org/officeDocument/2006/relationships/slideLayout" Target="../slideLayouts/slideLayout3.xml"/><Relationship Id="rId13" Type="http://schemas.openxmlformats.org/officeDocument/2006/relationships/notesSlide" Target="../notesSlides/notesSlide32.xml"/><Relationship Id="rId14" Type="http://schemas.openxmlformats.org/officeDocument/2006/relationships/oleObject" Target="../embeddings/oleObject39.bin"/><Relationship Id="rId15" Type="http://schemas.openxmlformats.org/officeDocument/2006/relationships/image" Target="../media/image3.emf"/><Relationship Id="rId16" Type="http://schemas.openxmlformats.org/officeDocument/2006/relationships/image" Target="../media/image45.png"/><Relationship Id="rId17" Type="http://schemas.microsoft.com/office/2007/relationships/hdphoto" Target="../media/hdphoto9.wdp"/><Relationship Id="rId18" Type="http://schemas.openxmlformats.org/officeDocument/2006/relationships/image" Target="../media/image42.png"/><Relationship Id="rId19" Type="http://schemas.microsoft.com/office/2007/relationships/hdphoto" Target="../media/hdphoto6.wdp"/><Relationship Id="rId1" Type="http://schemas.openxmlformats.org/officeDocument/2006/relationships/vmlDrawing" Target="../drawings/vmlDrawing39.vml"/><Relationship Id="rId2" Type="http://schemas.openxmlformats.org/officeDocument/2006/relationships/tags" Target="../tags/tag622.xml"/><Relationship Id="rId3" Type="http://schemas.openxmlformats.org/officeDocument/2006/relationships/tags" Target="../tags/tag623.xml"/><Relationship Id="rId4" Type="http://schemas.openxmlformats.org/officeDocument/2006/relationships/tags" Target="../tags/tag624.xml"/><Relationship Id="rId5" Type="http://schemas.openxmlformats.org/officeDocument/2006/relationships/tags" Target="../tags/tag625.xml"/><Relationship Id="rId6" Type="http://schemas.openxmlformats.org/officeDocument/2006/relationships/tags" Target="../tags/tag626.xml"/><Relationship Id="rId7" Type="http://schemas.openxmlformats.org/officeDocument/2006/relationships/tags" Target="../tags/tag627.xml"/><Relationship Id="rId8" Type="http://schemas.openxmlformats.org/officeDocument/2006/relationships/tags" Target="../tags/tag628.xml"/></Relationships>
</file>

<file path=ppt/slides/_rels/slide35.xml.rels><?xml version="1.0" encoding="UTF-8" standalone="yes"?>
<Relationships xmlns="http://schemas.openxmlformats.org/package/2006/relationships"><Relationship Id="rId13" Type="http://schemas.openxmlformats.org/officeDocument/2006/relationships/tags" Target="../tags/tag643.xml"/><Relationship Id="rId14" Type="http://schemas.openxmlformats.org/officeDocument/2006/relationships/tags" Target="../tags/tag644.xml"/><Relationship Id="rId15" Type="http://schemas.openxmlformats.org/officeDocument/2006/relationships/tags" Target="../tags/tag645.xml"/><Relationship Id="rId16" Type="http://schemas.openxmlformats.org/officeDocument/2006/relationships/tags" Target="../tags/tag646.xml"/><Relationship Id="rId17" Type="http://schemas.openxmlformats.org/officeDocument/2006/relationships/tags" Target="../tags/tag647.xml"/><Relationship Id="rId18" Type="http://schemas.openxmlformats.org/officeDocument/2006/relationships/tags" Target="../tags/tag648.xml"/><Relationship Id="rId19" Type="http://schemas.openxmlformats.org/officeDocument/2006/relationships/tags" Target="../tags/tag649.xml"/><Relationship Id="rId50" Type="http://schemas.openxmlformats.org/officeDocument/2006/relationships/notesSlide" Target="../notesSlides/notesSlide33.xml"/><Relationship Id="rId51" Type="http://schemas.openxmlformats.org/officeDocument/2006/relationships/oleObject" Target="../embeddings/oleObject40.bin"/><Relationship Id="rId52" Type="http://schemas.openxmlformats.org/officeDocument/2006/relationships/image" Target="../media/image112.emf"/><Relationship Id="rId53" Type="http://schemas.openxmlformats.org/officeDocument/2006/relationships/chart" Target="../charts/chart14.xml"/><Relationship Id="rId54" Type="http://schemas.openxmlformats.org/officeDocument/2006/relationships/chart" Target="../charts/chart15.xml"/><Relationship Id="rId55" Type="http://schemas.openxmlformats.org/officeDocument/2006/relationships/chart" Target="../charts/chart16.xml"/><Relationship Id="rId56" Type="http://schemas.openxmlformats.org/officeDocument/2006/relationships/chart" Target="../charts/chart17.xml"/><Relationship Id="rId57" Type="http://schemas.openxmlformats.org/officeDocument/2006/relationships/chart" Target="../charts/chart18.xml"/><Relationship Id="rId58" Type="http://schemas.openxmlformats.org/officeDocument/2006/relationships/image" Target="../media/image53.png"/><Relationship Id="rId59" Type="http://schemas.microsoft.com/office/2007/relationships/hdphoto" Target="../media/hdphoto10.wdp"/><Relationship Id="rId40" Type="http://schemas.openxmlformats.org/officeDocument/2006/relationships/tags" Target="../tags/tag670.xml"/><Relationship Id="rId41" Type="http://schemas.openxmlformats.org/officeDocument/2006/relationships/tags" Target="../tags/tag671.xml"/><Relationship Id="rId42" Type="http://schemas.openxmlformats.org/officeDocument/2006/relationships/tags" Target="../tags/tag672.xml"/><Relationship Id="rId43" Type="http://schemas.openxmlformats.org/officeDocument/2006/relationships/tags" Target="../tags/tag673.xml"/><Relationship Id="rId44" Type="http://schemas.openxmlformats.org/officeDocument/2006/relationships/tags" Target="../tags/tag674.xml"/><Relationship Id="rId45" Type="http://schemas.openxmlformats.org/officeDocument/2006/relationships/tags" Target="../tags/tag675.xml"/><Relationship Id="rId46" Type="http://schemas.openxmlformats.org/officeDocument/2006/relationships/tags" Target="../tags/tag676.xml"/><Relationship Id="rId47" Type="http://schemas.openxmlformats.org/officeDocument/2006/relationships/tags" Target="../tags/tag677.xml"/><Relationship Id="rId48" Type="http://schemas.openxmlformats.org/officeDocument/2006/relationships/tags" Target="../tags/tag678.xml"/><Relationship Id="rId49" Type="http://schemas.openxmlformats.org/officeDocument/2006/relationships/slideLayout" Target="../slideLayouts/slideLayout3.xml"/><Relationship Id="rId1" Type="http://schemas.openxmlformats.org/officeDocument/2006/relationships/vmlDrawing" Target="../drawings/vmlDrawing40.vml"/><Relationship Id="rId2" Type="http://schemas.openxmlformats.org/officeDocument/2006/relationships/tags" Target="../tags/tag632.xml"/><Relationship Id="rId3" Type="http://schemas.openxmlformats.org/officeDocument/2006/relationships/tags" Target="../tags/tag633.xml"/><Relationship Id="rId4" Type="http://schemas.openxmlformats.org/officeDocument/2006/relationships/tags" Target="../tags/tag634.xml"/><Relationship Id="rId5" Type="http://schemas.openxmlformats.org/officeDocument/2006/relationships/tags" Target="../tags/tag635.xml"/><Relationship Id="rId6" Type="http://schemas.openxmlformats.org/officeDocument/2006/relationships/tags" Target="../tags/tag636.xml"/><Relationship Id="rId7" Type="http://schemas.openxmlformats.org/officeDocument/2006/relationships/tags" Target="../tags/tag637.xml"/><Relationship Id="rId8" Type="http://schemas.openxmlformats.org/officeDocument/2006/relationships/tags" Target="../tags/tag638.xml"/><Relationship Id="rId9" Type="http://schemas.openxmlformats.org/officeDocument/2006/relationships/tags" Target="../tags/tag639.xml"/><Relationship Id="rId30" Type="http://schemas.openxmlformats.org/officeDocument/2006/relationships/tags" Target="../tags/tag660.xml"/><Relationship Id="rId31" Type="http://schemas.openxmlformats.org/officeDocument/2006/relationships/tags" Target="../tags/tag661.xml"/><Relationship Id="rId32" Type="http://schemas.openxmlformats.org/officeDocument/2006/relationships/tags" Target="../tags/tag662.xml"/><Relationship Id="rId33" Type="http://schemas.openxmlformats.org/officeDocument/2006/relationships/tags" Target="../tags/tag663.xml"/><Relationship Id="rId34" Type="http://schemas.openxmlformats.org/officeDocument/2006/relationships/tags" Target="../tags/tag664.xml"/><Relationship Id="rId35" Type="http://schemas.openxmlformats.org/officeDocument/2006/relationships/tags" Target="../tags/tag665.xml"/><Relationship Id="rId36" Type="http://schemas.openxmlformats.org/officeDocument/2006/relationships/tags" Target="../tags/tag666.xml"/><Relationship Id="rId37" Type="http://schemas.openxmlformats.org/officeDocument/2006/relationships/tags" Target="../tags/tag667.xml"/><Relationship Id="rId38" Type="http://schemas.openxmlformats.org/officeDocument/2006/relationships/tags" Target="../tags/tag668.xml"/><Relationship Id="rId39" Type="http://schemas.openxmlformats.org/officeDocument/2006/relationships/tags" Target="../tags/tag669.xml"/><Relationship Id="rId20" Type="http://schemas.openxmlformats.org/officeDocument/2006/relationships/tags" Target="../tags/tag650.xml"/><Relationship Id="rId21" Type="http://schemas.openxmlformats.org/officeDocument/2006/relationships/tags" Target="../tags/tag651.xml"/><Relationship Id="rId22" Type="http://schemas.openxmlformats.org/officeDocument/2006/relationships/tags" Target="../tags/tag652.xml"/><Relationship Id="rId23" Type="http://schemas.openxmlformats.org/officeDocument/2006/relationships/tags" Target="../tags/tag653.xml"/><Relationship Id="rId24" Type="http://schemas.openxmlformats.org/officeDocument/2006/relationships/tags" Target="../tags/tag654.xml"/><Relationship Id="rId25" Type="http://schemas.openxmlformats.org/officeDocument/2006/relationships/tags" Target="../tags/tag655.xml"/><Relationship Id="rId26" Type="http://schemas.openxmlformats.org/officeDocument/2006/relationships/tags" Target="../tags/tag656.xml"/><Relationship Id="rId27" Type="http://schemas.openxmlformats.org/officeDocument/2006/relationships/tags" Target="../tags/tag657.xml"/><Relationship Id="rId28" Type="http://schemas.openxmlformats.org/officeDocument/2006/relationships/tags" Target="../tags/tag658.xml"/><Relationship Id="rId29" Type="http://schemas.openxmlformats.org/officeDocument/2006/relationships/tags" Target="../tags/tag659.xml"/><Relationship Id="rId10" Type="http://schemas.openxmlformats.org/officeDocument/2006/relationships/tags" Target="../tags/tag640.xml"/><Relationship Id="rId11" Type="http://schemas.openxmlformats.org/officeDocument/2006/relationships/tags" Target="../tags/tag641.xml"/><Relationship Id="rId12" Type="http://schemas.openxmlformats.org/officeDocument/2006/relationships/tags" Target="../tags/tag642.xml"/></Relationships>
</file>

<file path=ppt/slides/_rels/slide36.xml.rels><?xml version="1.0" encoding="UTF-8" standalone="yes"?>
<Relationships xmlns="http://schemas.openxmlformats.org/package/2006/relationships"><Relationship Id="rId9" Type="http://schemas.openxmlformats.org/officeDocument/2006/relationships/tags" Target="../tags/tag686.xml"/><Relationship Id="rId20" Type="http://schemas.openxmlformats.org/officeDocument/2006/relationships/image" Target="../media/image83.png"/><Relationship Id="rId21" Type="http://schemas.microsoft.com/office/2007/relationships/hdphoto" Target="../media/hdphoto19.wdp"/><Relationship Id="rId22" Type="http://schemas.openxmlformats.org/officeDocument/2006/relationships/image" Target="../media/image46.png"/><Relationship Id="rId23" Type="http://schemas.openxmlformats.org/officeDocument/2006/relationships/image" Target="../media/image47.png"/><Relationship Id="rId24" Type="http://schemas.openxmlformats.org/officeDocument/2006/relationships/image" Target="../media/image48.png"/><Relationship Id="rId25" Type="http://schemas.openxmlformats.org/officeDocument/2006/relationships/image" Target="../media/image49.png"/><Relationship Id="rId26" Type="http://schemas.openxmlformats.org/officeDocument/2006/relationships/image" Target="../media/image72.png"/><Relationship Id="rId10" Type="http://schemas.openxmlformats.org/officeDocument/2006/relationships/tags" Target="../tags/tag687.xml"/><Relationship Id="rId11" Type="http://schemas.openxmlformats.org/officeDocument/2006/relationships/tags" Target="../tags/tag688.xml"/><Relationship Id="rId12" Type="http://schemas.openxmlformats.org/officeDocument/2006/relationships/tags" Target="../tags/tag689.xml"/><Relationship Id="rId13" Type="http://schemas.openxmlformats.org/officeDocument/2006/relationships/tags" Target="../tags/tag690.xml"/><Relationship Id="rId14" Type="http://schemas.openxmlformats.org/officeDocument/2006/relationships/tags" Target="../tags/tag691.xml"/><Relationship Id="rId15" Type="http://schemas.openxmlformats.org/officeDocument/2006/relationships/tags" Target="../tags/tag692.xml"/><Relationship Id="rId16" Type="http://schemas.openxmlformats.org/officeDocument/2006/relationships/slideLayout" Target="../slideLayouts/slideLayout3.xml"/><Relationship Id="rId17" Type="http://schemas.openxmlformats.org/officeDocument/2006/relationships/oleObject" Target="../embeddings/oleObject41.bin"/><Relationship Id="rId18" Type="http://schemas.openxmlformats.org/officeDocument/2006/relationships/image" Target="../media/image84.emf"/><Relationship Id="rId19" Type="http://schemas.openxmlformats.org/officeDocument/2006/relationships/chart" Target="../charts/chart19.xml"/><Relationship Id="rId1" Type="http://schemas.openxmlformats.org/officeDocument/2006/relationships/vmlDrawing" Target="../drawings/vmlDrawing41.vml"/><Relationship Id="rId2" Type="http://schemas.openxmlformats.org/officeDocument/2006/relationships/tags" Target="../tags/tag679.xml"/><Relationship Id="rId3" Type="http://schemas.openxmlformats.org/officeDocument/2006/relationships/tags" Target="../tags/tag680.xml"/><Relationship Id="rId4" Type="http://schemas.openxmlformats.org/officeDocument/2006/relationships/tags" Target="../tags/tag681.xml"/><Relationship Id="rId5" Type="http://schemas.openxmlformats.org/officeDocument/2006/relationships/tags" Target="../tags/tag682.xml"/><Relationship Id="rId6" Type="http://schemas.openxmlformats.org/officeDocument/2006/relationships/tags" Target="../tags/tag683.xml"/><Relationship Id="rId7" Type="http://schemas.openxmlformats.org/officeDocument/2006/relationships/tags" Target="../tags/tag684.xml"/><Relationship Id="rId8" Type="http://schemas.openxmlformats.org/officeDocument/2006/relationships/tags" Target="../tags/tag685.xml"/></Relationships>
</file>

<file path=ppt/slides/_rels/slide37.xml.rels><?xml version="1.0" encoding="UTF-8" standalone="yes"?>
<Relationships xmlns="http://schemas.openxmlformats.org/package/2006/relationships"><Relationship Id="rId11" Type="http://schemas.openxmlformats.org/officeDocument/2006/relationships/tags" Target="../tags/tag702.xml"/><Relationship Id="rId12" Type="http://schemas.openxmlformats.org/officeDocument/2006/relationships/tags" Target="../tags/tag703.xml"/><Relationship Id="rId13" Type="http://schemas.openxmlformats.org/officeDocument/2006/relationships/slideLayout" Target="../slideLayouts/slideLayout3.xml"/><Relationship Id="rId14" Type="http://schemas.openxmlformats.org/officeDocument/2006/relationships/notesSlide" Target="../notesSlides/notesSlide34.xml"/><Relationship Id="rId15" Type="http://schemas.openxmlformats.org/officeDocument/2006/relationships/oleObject" Target="../embeddings/oleObject42.bin"/><Relationship Id="rId16" Type="http://schemas.openxmlformats.org/officeDocument/2006/relationships/image" Target="../media/image113.emf"/><Relationship Id="rId1" Type="http://schemas.openxmlformats.org/officeDocument/2006/relationships/vmlDrawing" Target="../drawings/vmlDrawing42.vml"/><Relationship Id="rId2" Type="http://schemas.openxmlformats.org/officeDocument/2006/relationships/tags" Target="../tags/tag693.xml"/><Relationship Id="rId3" Type="http://schemas.openxmlformats.org/officeDocument/2006/relationships/tags" Target="../tags/tag694.xml"/><Relationship Id="rId4" Type="http://schemas.openxmlformats.org/officeDocument/2006/relationships/tags" Target="../tags/tag695.xml"/><Relationship Id="rId5" Type="http://schemas.openxmlformats.org/officeDocument/2006/relationships/tags" Target="../tags/tag696.xml"/><Relationship Id="rId6" Type="http://schemas.openxmlformats.org/officeDocument/2006/relationships/tags" Target="../tags/tag697.xml"/><Relationship Id="rId7" Type="http://schemas.openxmlformats.org/officeDocument/2006/relationships/tags" Target="../tags/tag698.xml"/><Relationship Id="rId8" Type="http://schemas.openxmlformats.org/officeDocument/2006/relationships/tags" Target="../tags/tag699.xml"/><Relationship Id="rId9" Type="http://schemas.openxmlformats.org/officeDocument/2006/relationships/tags" Target="../tags/tag700.xml"/><Relationship Id="rId10" Type="http://schemas.openxmlformats.org/officeDocument/2006/relationships/tags" Target="../tags/tag701.xml"/></Relationships>
</file>

<file path=ppt/slides/_rels/slide38.xml.rels><?xml version="1.0" encoding="UTF-8" standalone="yes"?>
<Relationships xmlns="http://schemas.openxmlformats.org/package/2006/relationships"><Relationship Id="rId9" Type="http://schemas.openxmlformats.org/officeDocument/2006/relationships/tags" Target="../tags/tag711.xml"/><Relationship Id="rId20" Type="http://schemas.openxmlformats.org/officeDocument/2006/relationships/image" Target="../media/image126.svg"/><Relationship Id="rId10" Type="http://schemas.openxmlformats.org/officeDocument/2006/relationships/tags" Target="../tags/tag712.xml"/><Relationship Id="rId11" Type="http://schemas.openxmlformats.org/officeDocument/2006/relationships/tags" Target="../tags/tag713.xml"/><Relationship Id="rId12" Type="http://schemas.openxmlformats.org/officeDocument/2006/relationships/tags" Target="../tags/tag714.xml"/><Relationship Id="rId13" Type="http://schemas.openxmlformats.org/officeDocument/2006/relationships/tags" Target="../tags/tag715.xml"/><Relationship Id="rId14" Type="http://schemas.openxmlformats.org/officeDocument/2006/relationships/tags" Target="../tags/tag716.xml"/><Relationship Id="rId15" Type="http://schemas.openxmlformats.org/officeDocument/2006/relationships/slideLayout" Target="../slideLayouts/slideLayout3.xml"/><Relationship Id="rId16" Type="http://schemas.openxmlformats.org/officeDocument/2006/relationships/notesSlide" Target="../notesSlides/notesSlide35.xml"/><Relationship Id="rId17" Type="http://schemas.openxmlformats.org/officeDocument/2006/relationships/oleObject" Target="../embeddings/oleObject43.bin"/><Relationship Id="rId18" Type="http://schemas.openxmlformats.org/officeDocument/2006/relationships/image" Target="../media/image97.emf"/><Relationship Id="rId19" Type="http://schemas.openxmlformats.org/officeDocument/2006/relationships/image" Target="../media/image114.png"/><Relationship Id="rId1" Type="http://schemas.openxmlformats.org/officeDocument/2006/relationships/vmlDrawing" Target="../drawings/vmlDrawing43.vml"/><Relationship Id="rId2" Type="http://schemas.openxmlformats.org/officeDocument/2006/relationships/tags" Target="../tags/tag704.xml"/><Relationship Id="rId3" Type="http://schemas.openxmlformats.org/officeDocument/2006/relationships/tags" Target="../tags/tag705.xml"/><Relationship Id="rId4" Type="http://schemas.openxmlformats.org/officeDocument/2006/relationships/tags" Target="../tags/tag706.xml"/><Relationship Id="rId5" Type="http://schemas.openxmlformats.org/officeDocument/2006/relationships/tags" Target="../tags/tag707.xml"/><Relationship Id="rId6" Type="http://schemas.openxmlformats.org/officeDocument/2006/relationships/tags" Target="../tags/tag708.xml"/><Relationship Id="rId7" Type="http://schemas.openxmlformats.org/officeDocument/2006/relationships/tags" Target="../tags/tag709.xml"/><Relationship Id="rId8" Type="http://schemas.openxmlformats.org/officeDocument/2006/relationships/tags" Target="../tags/tag710.xml"/></Relationships>
</file>

<file path=ppt/slides/_rels/slide39.xml.rels><?xml version="1.0" encoding="UTF-8" standalone="yes"?>
<Relationships xmlns="http://schemas.openxmlformats.org/package/2006/relationships"><Relationship Id="rId13" Type="http://schemas.openxmlformats.org/officeDocument/2006/relationships/tags" Target="../tags/tag728.xml"/><Relationship Id="rId14" Type="http://schemas.openxmlformats.org/officeDocument/2006/relationships/tags" Target="../tags/tag729.xml"/><Relationship Id="rId15" Type="http://schemas.openxmlformats.org/officeDocument/2006/relationships/tags" Target="../tags/tag730.xml"/><Relationship Id="rId16" Type="http://schemas.openxmlformats.org/officeDocument/2006/relationships/tags" Target="../tags/tag731.xml"/><Relationship Id="rId17" Type="http://schemas.openxmlformats.org/officeDocument/2006/relationships/tags" Target="../tags/tag732.xml"/><Relationship Id="rId18" Type="http://schemas.openxmlformats.org/officeDocument/2006/relationships/tags" Target="../tags/tag733.xml"/><Relationship Id="rId19" Type="http://schemas.openxmlformats.org/officeDocument/2006/relationships/tags" Target="../tags/tag734.xml"/><Relationship Id="rId50" Type="http://schemas.openxmlformats.org/officeDocument/2006/relationships/tags" Target="../tags/tag765.xml"/><Relationship Id="rId51" Type="http://schemas.openxmlformats.org/officeDocument/2006/relationships/tags" Target="../tags/tag766.xml"/><Relationship Id="rId52" Type="http://schemas.openxmlformats.org/officeDocument/2006/relationships/tags" Target="../tags/tag767.xml"/><Relationship Id="rId53" Type="http://schemas.openxmlformats.org/officeDocument/2006/relationships/tags" Target="../tags/tag768.xml"/><Relationship Id="rId54" Type="http://schemas.openxmlformats.org/officeDocument/2006/relationships/slideLayout" Target="../slideLayouts/slideLayout3.xml"/><Relationship Id="rId55" Type="http://schemas.openxmlformats.org/officeDocument/2006/relationships/oleObject" Target="../embeddings/oleObject44.bin"/><Relationship Id="rId56" Type="http://schemas.openxmlformats.org/officeDocument/2006/relationships/image" Target="../media/image3.emf"/><Relationship Id="rId57" Type="http://schemas.openxmlformats.org/officeDocument/2006/relationships/chart" Target="../charts/chart20.xml"/><Relationship Id="rId58" Type="http://schemas.openxmlformats.org/officeDocument/2006/relationships/chart" Target="../charts/chart21.xml"/><Relationship Id="rId59" Type="http://schemas.openxmlformats.org/officeDocument/2006/relationships/chart" Target="../charts/chart22.xml"/><Relationship Id="rId40" Type="http://schemas.openxmlformats.org/officeDocument/2006/relationships/tags" Target="../tags/tag755.xml"/><Relationship Id="rId41" Type="http://schemas.openxmlformats.org/officeDocument/2006/relationships/tags" Target="../tags/tag756.xml"/><Relationship Id="rId42" Type="http://schemas.openxmlformats.org/officeDocument/2006/relationships/tags" Target="../tags/tag757.xml"/><Relationship Id="rId43" Type="http://schemas.openxmlformats.org/officeDocument/2006/relationships/tags" Target="../tags/tag758.xml"/><Relationship Id="rId44" Type="http://schemas.openxmlformats.org/officeDocument/2006/relationships/tags" Target="../tags/tag759.xml"/><Relationship Id="rId45" Type="http://schemas.openxmlformats.org/officeDocument/2006/relationships/tags" Target="../tags/tag760.xml"/><Relationship Id="rId46" Type="http://schemas.openxmlformats.org/officeDocument/2006/relationships/tags" Target="../tags/tag761.xml"/><Relationship Id="rId47" Type="http://schemas.openxmlformats.org/officeDocument/2006/relationships/tags" Target="../tags/tag762.xml"/><Relationship Id="rId48" Type="http://schemas.openxmlformats.org/officeDocument/2006/relationships/tags" Target="../tags/tag763.xml"/><Relationship Id="rId49" Type="http://schemas.openxmlformats.org/officeDocument/2006/relationships/tags" Target="../tags/tag764.xml"/><Relationship Id="rId1" Type="http://schemas.openxmlformats.org/officeDocument/2006/relationships/vmlDrawing" Target="../drawings/vmlDrawing44.vml"/><Relationship Id="rId2" Type="http://schemas.openxmlformats.org/officeDocument/2006/relationships/tags" Target="../tags/tag717.xml"/><Relationship Id="rId3" Type="http://schemas.openxmlformats.org/officeDocument/2006/relationships/tags" Target="../tags/tag718.xml"/><Relationship Id="rId4" Type="http://schemas.openxmlformats.org/officeDocument/2006/relationships/tags" Target="../tags/tag719.xml"/><Relationship Id="rId5" Type="http://schemas.openxmlformats.org/officeDocument/2006/relationships/tags" Target="../tags/tag720.xml"/><Relationship Id="rId6" Type="http://schemas.openxmlformats.org/officeDocument/2006/relationships/tags" Target="../tags/tag721.xml"/><Relationship Id="rId7" Type="http://schemas.openxmlformats.org/officeDocument/2006/relationships/tags" Target="../tags/tag722.xml"/><Relationship Id="rId8" Type="http://schemas.openxmlformats.org/officeDocument/2006/relationships/tags" Target="../tags/tag723.xml"/><Relationship Id="rId9" Type="http://schemas.openxmlformats.org/officeDocument/2006/relationships/tags" Target="../tags/tag724.xml"/><Relationship Id="rId30" Type="http://schemas.openxmlformats.org/officeDocument/2006/relationships/tags" Target="../tags/tag745.xml"/><Relationship Id="rId31" Type="http://schemas.openxmlformats.org/officeDocument/2006/relationships/tags" Target="../tags/tag746.xml"/><Relationship Id="rId32" Type="http://schemas.openxmlformats.org/officeDocument/2006/relationships/tags" Target="../tags/tag747.xml"/><Relationship Id="rId33" Type="http://schemas.openxmlformats.org/officeDocument/2006/relationships/tags" Target="../tags/tag748.xml"/><Relationship Id="rId34" Type="http://schemas.openxmlformats.org/officeDocument/2006/relationships/tags" Target="../tags/tag749.xml"/><Relationship Id="rId35" Type="http://schemas.openxmlformats.org/officeDocument/2006/relationships/tags" Target="../tags/tag750.xml"/><Relationship Id="rId36" Type="http://schemas.openxmlformats.org/officeDocument/2006/relationships/tags" Target="../tags/tag751.xml"/><Relationship Id="rId37" Type="http://schemas.openxmlformats.org/officeDocument/2006/relationships/tags" Target="../tags/tag752.xml"/><Relationship Id="rId38" Type="http://schemas.openxmlformats.org/officeDocument/2006/relationships/tags" Target="../tags/tag753.xml"/><Relationship Id="rId39" Type="http://schemas.openxmlformats.org/officeDocument/2006/relationships/tags" Target="../tags/tag754.xml"/><Relationship Id="rId20" Type="http://schemas.openxmlformats.org/officeDocument/2006/relationships/tags" Target="../tags/tag735.xml"/><Relationship Id="rId21" Type="http://schemas.openxmlformats.org/officeDocument/2006/relationships/tags" Target="../tags/tag736.xml"/><Relationship Id="rId22" Type="http://schemas.openxmlformats.org/officeDocument/2006/relationships/tags" Target="../tags/tag737.xml"/><Relationship Id="rId23" Type="http://schemas.openxmlformats.org/officeDocument/2006/relationships/tags" Target="../tags/tag738.xml"/><Relationship Id="rId24" Type="http://schemas.openxmlformats.org/officeDocument/2006/relationships/tags" Target="../tags/tag739.xml"/><Relationship Id="rId25" Type="http://schemas.openxmlformats.org/officeDocument/2006/relationships/tags" Target="../tags/tag740.xml"/><Relationship Id="rId26" Type="http://schemas.openxmlformats.org/officeDocument/2006/relationships/tags" Target="../tags/tag741.xml"/><Relationship Id="rId27" Type="http://schemas.openxmlformats.org/officeDocument/2006/relationships/tags" Target="../tags/tag742.xml"/><Relationship Id="rId28" Type="http://schemas.openxmlformats.org/officeDocument/2006/relationships/tags" Target="../tags/tag743.xml"/><Relationship Id="rId29" Type="http://schemas.openxmlformats.org/officeDocument/2006/relationships/tags" Target="../tags/tag744.xml"/><Relationship Id="rId60" Type="http://schemas.openxmlformats.org/officeDocument/2006/relationships/chart" Target="../charts/chart23.xml"/><Relationship Id="rId10" Type="http://schemas.openxmlformats.org/officeDocument/2006/relationships/tags" Target="../tags/tag725.xml"/><Relationship Id="rId11" Type="http://schemas.openxmlformats.org/officeDocument/2006/relationships/tags" Target="../tags/tag726.xml"/><Relationship Id="rId12" Type="http://schemas.openxmlformats.org/officeDocument/2006/relationships/tags" Target="../tags/tag727.xml"/></Relationships>
</file>

<file path=ppt/slides/_rels/slide4.xml.rels><?xml version="1.0" encoding="UTF-8" standalone="yes"?>
<Relationships xmlns="http://schemas.openxmlformats.org/package/2006/relationships"><Relationship Id="rId11" Type="http://schemas.openxmlformats.org/officeDocument/2006/relationships/slideLayout" Target="../slideLayouts/slideLayout3.xml"/><Relationship Id="rId12" Type="http://schemas.openxmlformats.org/officeDocument/2006/relationships/notesSlide" Target="../notesSlides/notesSlide4.xml"/><Relationship Id="rId13" Type="http://schemas.openxmlformats.org/officeDocument/2006/relationships/oleObject" Target="../embeddings/oleObject12.bin"/><Relationship Id="rId14" Type="http://schemas.openxmlformats.org/officeDocument/2006/relationships/image" Target="../media/image40.emf"/><Relationship Id="rId1" Type="http://schemas.openxmlformats.org/officeDocument/2006/relationships/vmlDrawing" Target="../drawings/vmlDrawing12.vml"/><Relationship Id="rId2" Type="http://schemas.openxmlformats.org/officeDocument/2006/relationships/tags" Target="../tags/tag30.xml"/><Relationship Id="rId3" Type="http://schemas.openxmlformats.org/officeDocument/2006/relationships/tags" Target="../tags/tag31.xml"/><Relationship Id="rId4" Type="http://schemas.openxmlformats.org/officeDocument/2006/relationships/tags" Target="../tags/tag32.xml"/><Relationship Id="rId5" Type="http://schemas.openxmlformats.org/officeDocument/2006/relationships/tags" Target="../tags/tag33.xml"/><Relationship Id="rId6" Type="http://schemas.openxmlformats.org/officeDocument/2006/relationships/tags" Target="../tags/tag34.xml"/><Relationship Id="rId7" Type="http://schemas.openxmlformats.org/officeDocument/2006/relationships/tags" Target="../tags/tag35.xml"/><Relationship Id="rId8" Type="http://schemas.openxmlformats.org/officeDocument/2006/relationships/tags" Target="../tags/tag36.xml"/><Relationship Id="rId9" Type="http://schemas.openxmlformats.org/officeDocument/2006/relationships/tags" Target="../tags/tag37.xml"/><Relationship Id="rId10" Type="http://schemas.openxmlformats.org/officeDocument/2006/relationships/tags" Target="../tags/tag38.xml"/></Relationships>
</file>

<file path=ppt/slides/_rels/slide40.xml.rels><?xml version="1.0" encoding="UTF-8" standalone="yes"?>
<Relationships xmlns="http://schemas.openxmlformats.org/package/2006/relationships"><Relationship Id="rId46" Type="http://schemas.openxmlformats.org/officeDocument/2006/relationships/slideLayout" Target="../slideLayouts/slideLayout3.xml"/><Relationship Id="rId47" Type="http://schemas.openxmlformats.org/officeDocument/2006/relationships/notesSlide" Target="../notesSlides/notesSlide36.xml"/><Relationship Id="rId48" Type="http://schemas.openxmlformats.org/officeDocument/2006/relationships/oleObject" Target="../embeddings/oleObject45.bin"/><Relationship Id="rId49" Type="http://schemas.openxmlformats.org/officeDocument/2006/relationships/image" Target="../media/image52.emf"/><Relationship Id="rId20" Type="http://schemas.openxmlformats.org/officeDocument/2006/relationships/tags" Target="../tags/tag787.xml"/><Relationship Id="rId21" Type="http://schemas.openxmlformats.org/officeDocument/2006/relationships/tags" Target="../tags/tag788.xml"/><Relationship Id="rId22" Type="http://schemas.openxmlformats.org/officeDocument/2006/relationships/tags" Target="../tags/tag789.xml"/><Relationship Id="rId23" Type="http://schemas.openxmlformats.org/officeDocument/2006/relationships/tags" Target="../tags/tag790.xml"/><Relationship Id="rId24" Type="http://schemas.openxmlformats.org/officeDocument/2006/relationships/tags" Target="../tags/tag791.xml"/><Relationship Id="rId25" Type="http://schemas.openxmlformats.org/officeDocument/2006/relationships/tags" Target="../tags/tag792.xml"/><Relationship Id="rId26" Type="http://schemas.openxmlformats.org/officeDocument/2006/relationships/tags" Target="../tags/tag793.xml"/><Relationship Id="rId27" Type="http://schemas.openxmlformats.org/officeDocument/2006/relationships/tags" Target="../tags/tag794.xml"/><Relationship Id="rId28" Type="http://schemas.openxmlformats.org/officeDocument/2006/relationships/tags" Target="../tags/tag795.xml"/><Relationship Id="rId29" Type="http://schemas.openxmlformats.org/officeDocument/2006/relationships/tags" Target="../tags/tag796.xml"/><Relationship Id="rId50" Type="http://schemas.openxmlformats.org/officeDocument/2006/relationships/chart" Target="../charts/chart24.xml"/><Relationship Id="rId51" Type="http://schemas.openxmlformats.org/officeDocument/2006/relationships/image" Target="../media/image83.png"/><Relationship Id="rId52" Type="http://schemas.microsoft.com/office/2007/relationships/hdphoto" Target="../media/hdphoto19.wdp"/><Relationship Id="rId1" Type="http://schemas.openxmlformats.org/officeDocument/2006/relationships/vmlDrawing" Target="../drawings/vmlDrawing45.vml"/><Relationship Id="rId2" Type="http://schemas.openxmlformats.org/officeDocument/2006/relationships/tags" Target="../tags/tag769.xml"/><Relationship Id="rId3" Type="http://schemas.openxmlformats.org/officeDocument/2006/relationships/tags" Target="../tags/tag770.xml"/><Relationship Id="rId4" Type="http://schemas.openxmlformats.org/officeDocument/2006/relationships/tags" Target="../tags/tag771.xml"/><Relationship Id="rId5" Type="http://schemas.openxmlformats.org/officeDocument/2006/relationships/tags" Target="../tags/tag772.xml"/><Relationship Id="rId30" Type="http://schemas.openxmlformats.org/officeDocument/2006/relationships/tags" Target="../tags/tag797.xml"/><Relationship Id="rId31" Type="http://schemas.openxmlformats.org/officeDocument/2006/relationships/tags" Target="../tags/tag798.xml"/><Relationship Id="rId32" Type="http://schemas.openxmlformats.org/officeDocument/2006/relationships/tags" Target="../tags/tag799.xml"/><Relationship Id="rId9" Type="http://schemas.openxmlformats.org/officeDocument/2006/relationships/tags" Target="../tags/tag776.xml"/><Relationship Id="rId6" Type="http://schemas.openxmlformats.org/officeDocument/2006/relationships/tags" Target="../tags/tag773.xml"/><Relationship Id="rId7" Type="http://schemas.openxmlformats.org/officeDocument/2006/relationships/tags" Target="../tags/tag774.xml"/><Relationship Id="rId8" Type="http://schemas.openxmlformats.org/officeDocument/2006/relationships/tags" Target="../tags/tag775.xml"/><Relationship Id="rId33" Type="http://schemas.openxmlformats.org/officeDocument/2006/relationships/tags" Target="../tags/tag800.xml"/><Relationship Id="rId34" Type="http://schemas.openxmlformats.org/officeDocument/2006/relationships/tags" Target="../tags/tag801.xml"/><Relationship Id="rId35" Type="http://schemas.openxmlformats.org/officeDocument/2006/relationships/tags" Target="../tags/tag802.xml"/><Relationship Id="rId36" Type="http://schemas.openxmlformats.org/officeDocument/2006/relationships/tags" Target="../tags/tag803.xml"/><Relationship Id="rId10" Type="http://schemas.openxmlformats.org/officeDocument/2006/relationships/tags" Target="../tags/tag777.xml"/><Relationship Id="rId11" Type="http://schemas.openxmlformats.org/officeDocument/2006/relationships/tags" Target="../tags/tag778.xml"/><Relationship Id="rId12" Type="http://schemas.openxmlformats.org/officeDocument/2006/relationships/tags" Target="../tags/tag779.xml"/><Relationship Id="rId13" Type="http://schemas.openxmlformats.org/officeDocument/2006/relationships/tags" Target="../tags/tag780.xml"/><Relationship Id="rId14" Type="http://schemas.openxmlformats.org/officeDocument/2006/relationships/tags" Target="../tags/tag781.xml"/><Relationship Id="rId15" Type="http://schemas.openxmlformats.org/officeDocument/2006/relationships/tags" Target="../tags/tag782.xml"/><Relationship Id="rId16" Type="http://schemas.openxmlformats.org/officeDocument/2006/relationships/tags" Target="../tags/tag783.xml"/><Relationship Id="rId17" Type="http://schemas.openxmlformats.org/officeDocument/2006/relationships/tags" Target="../tags/tag784.xml"/><Relationship Id="rId18" Type="http://schemas.openxmlformats.org/officeDocument/2006/relationships/tags" Target="../tags/tag785.xml"/><Relationship Id="rId19" Type="http://schemas.openxmlformats.org/officeDocument/2006/relationships/tags" Target="../tags/tag786.xml"/><Relationship Id="rId37" Type="http://schemas.openxmlformats.org/officeDocument/2006/relationships/tags" Target="../tags/tag804.xml"/><Relationship Id="rId38" Type="http://schemas.openxmlformats.org/officeDocument/2006/relationships/tags" Target="../tags/tag805.xml"/><Relationship Id="rId39" Type="http://schemas.openxmlformats.org/officeDocument/2006/relationships/tags" Target="../tags/tag806.xml"/><Relationship Id="rId40" Type="http://schemas.openxmlformats.org/officeDocument/2006/relationships/tags" Target="../tags/tag807.xml"/><Relationship Id="rId41" Type="http://schemas.openxmlformats.org/officeDocument/2006/relationships/tags" Target="../tags/tag808.xml"/><Relationship Id="rId42" Type="http://schemas.openxmlformats.org/officeDocument/2006/relationships/tags" Target="../tags/tag809.xml"/><Relationship Id="rId43" Type="http://schemas.openxmlformats.org/officeDocument/2006/relationships/tags" Target="../tags/tag810.xml"/><Relationship Id="rId44" Type="http://schemas.openxmlformats.org/officeDocument/2006/relationships/tags" Target="../tags/tag811.xml"/><Relationship Id="rId45" Type="http://schemas.openxmlformats.org/officeDocument/2006/relationships/tags" Target="../tags/tag812.xml"/></Relationships>
</file>

<file path=ppt/slides/_rels/slide41.xml.rels><?xml version="1.0" encoding="UTF-8" standalone="yes"?>
<Relationships xmlns="http://schemas.openxmlformats.org/package/2006/relationships"><Relationship Id="rId3" Type="http://schemas.openxmlformats.org/officeDocument/2006/relationships/tags" Target="../tags/tag814.xml"/><Relationship Id="rId4" Type="http://schemas.openxmlformats.org/officeDocument/2006/relationships/tags" Target="../tags/tag815.xml"/><Relationship Id="rId5" Type="http://schemas.openxmlformats.org/officeDocument/2006/relationships/tags" Target="../tags/tag816.xml"/><Relationship Id="rId6" Type="http://schemas.openxmlformats.org/officeDocument/2006/relationships/slideLayout" Target="../slideLayouts/slideLayout3.xml"/><Relationship Id="rId7" Type="http://schemas.openxmlformats.org/officeDocument/2006/relationships/notesSlide" Target="../notesSlides/notesSlide37.xml"/><Relationship Id="rId8" Type="http://schemas.openxmlformats.org/officeDocument/2006/relationships/oleObject" Target="../embeddings/oleObject46.bin"/><Relationship Id="rId9" Type="http://schemas.openxmlformats.org/officeDocument/2006/relationships/image" Target="../media/image73.emf"/><Relationship Id="rId10" Type="http://schemas.openxmlformats.org/officeDocument/2006/relationships/image" Target="../media/image115.png"/><Relationship Id="rId1" Type="http://schemas.openxmlformats.org/officeDocument/2006/relationships/vmlDrawing" Target="../drawings/vmlDrawing46.vml"/><Relationship Id="rId2" Type="http://schemas.openxmlformats.org/officeDocument/2006/relationships/tags" Target="../tags/tag8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notesSlide" Target="../notesSlides/notesSlide39.xml"/><Relationship Id="rId5" Type="http://schemas.openxmlformats.org/officeDocument/2006/relationships/oleObject" Target="../embeddings/oleObject47.bin"/><Relationship Id="rId6" Type="http://schemas.openxmlformats.org/officeDocument/2006/relationships/image" Target="../media/image66.emf"/><Relationship Id="rId7" Type="http://schemas.openxmlformats.org/officeDocument/2006/relationships/image" Target="../media/image116.png"/><Relationship Id="rId8" Type="http://schemas.openxmlformats.org/officeDocument/2006/relationships/image" Target="../media/image117.png"/><Relationship Id="rId9" Type="http://schemas.openxmlformats.org/officeDocument/2006/relationships/image" Target="../media/image118.png"/><Relationship Id="rId1" Type="http://schemas.openxmlformats.org/officeDocument/2006/relationships/vmlDrawing" Target="../drawings/vmlDrawing47.vml"/><Relationship Id="rId2" Type="http://schemas.openxmlformats.org/officeDocument/2006/relationships/tags" Target="../tags/tag817.xml"/></Relationships>
</file>

<file path=ppt/slides/_rels/slide44.xml.rels><?xml version="1.0" encoding="UTF-8" standalone="yes"?>
<Relationships xmlns="http://schemas.openxmlformats.org/package/2006/relationships"><Relationship Id="rId3" Type="http://schemas.openxmlformats.org/officeDocument/2006/relationships/tags" Target="../tags/tag819.xml"/><Relationship Id="rId4" Type="http://schemas.openxmlformats.org/officeDocument/2006/relationships/tags" Target="../tags/tag820.xml"/><Relationship Id="rId5" Type="http://schemas.openxmlformats.org/officeDocument/2006/relationships/slideLayout" Target="../slideLayouts/slideLayout3.xml"/><Relationship Id="rId6" Type="http://schemas.openxmlformats.org/officeDocument/2006/relationships/notesSlide" Target="../notesSlides/notesSlide40.xml"/><Relationship Id="rId7" Type="http://schemas.openxmlformats.org/officeDocument/2006/relationships/oleObject" Target="../embeddings/oleObject48.bin"/><Relationship Id="rId8" Type="http://schemas.openxmlformats.org/officeDocument/2006/relationships/image" Target="../media/image119.emf"/><Relationship Id="rId9" Type="http://schemas.openxmlformats.org/officeDocument/2006/relationships/image" Target="../media/image120.png"/><Relationship Id="rId1" Type="http://schemas.openxmlformats.org/officeDocument/2006/relationships/vmlDrawing" Target="../drawings/vmlDrawing48.vml"/><Relationship Id="rId2" Type="http://schemas.openxmlformats.org/officeDocument/2006/relationships/tags" Target="../tags/tag818.xml"/></Relationships>
</file>

<file path=ppt/slides/_rels/slide45.xml.rels><?xml version="1.0" encoding="UTF-8" standalone="yes"?>
<Relationships xmlns="http://schemas.openxmlformats.org/package/2006/relationships"><Relationship Id="rId3" Type="http://schemas.openxmlformats.org/officeDocument/2006/relationships/tags" Target="../tags/tag822.xml"/><Relationship Id="rId4" Type="http://schemas.openxmlformats.org/officeDocument/2006/relationships/slideLayout" Target="../slideLayouts/slideLayout3.xml"/><Relationship Id="rId5" Type="http://schemas.openxmlformats.org/officeDocument/2006/relationships/notesSlide" Target="../notesSlides/notesSlide41.xml"/><Relationship Id="rId6" Type="http://schemas.openxmlformats.org/officeDocument/2006/relationships/oleObject" Target="../embeddings/oleObject49.bin"/><Relationship Id="rId7" Type="http://schemas.openxmlformats.org/officeDocument/2006/relationships/image" Target="../media/image97.emf"/><Relationship Id="rId8" Type="http://schemas.openxmlformats.org/officeDocument/2006/relationships/image" Target="../media/image121.png"/><Relationship Id="rId9" Type="http://schemas.openxmlformats.org/officeDocument/2006/relationships/image" Target="../media/image122.png"/><Relationship Id="rId10" Type="http://schemas.openxmlformats.org/officeDocument/2006/relationships/image" Target="../media/image123.png"/><Relationship Id="rId11" Type="http://schemas.openxmlformats.org/officeDocument/2006/relationships/image" Target="../media/image124.png"/><Relationship Id="rId1" Type="http://schemas.openxmlformats.org/officeDocument/2006/relationships/vmlDrawing" Target="../drawings/vmlDrawing49.vml"/><Relationship Id="rId2" Type="http://schemas.openxmlformats.org/officeDocument/2006/relationships/tags" Target="../tags/tag821.xml"/></Relationships>
</file>

<file path=ppt/slides/_rels/slide46.xml.rels><?xml version="1.0" encoding="UTF-8" standalone="yes"?>
<Relationships xmlns="http://schemas.openxmlformats.org/package/2006/relationships"><Relationship Id="rId3" Type="http://schemas.openxmlformats.org/officeDocument/2006/relationships/tags" Target="../tags/tag824.xml"/><Relationship Id="rId4" Type="http://schemas.openxmlformats.org/officeDocument/2006/relationships/tags" Target="../tags/tag825.xml"/><Relationship Id="rId5" Type="http://schemas.openxmlformats.org/officeDocument/2006/relationships/slideLayout" Target="../slideLayouts/slideLayout3.xml"/><Relationship Id="rId6" Type="http://schemas.openxmlformats.org/officeDocument/2006/relationships/notesSlide" Target="../notesSlides/notesSlide42.xml"/><Relationship Id="rId7" Type="http://schemas.openxmlformats.org/officeDocument/2006/relationships/oleObject" Target="../embeddings/oleObject50.bin"/><Relationship Id="rId8" Type="http://schemas.openxmlformats.org/officeDocument/2006/relationships/image" Target="../media/image119.emf"/><Relationship Id="rId9" Type="http://schemas.openxmlformats.org/officeDocument/2006/relationships/image" Target="../media/image125.png"/><Relationship Id="rId1" Type="http://schemas.openxmlformats.org/officeDocument/2006/relationships/vmlDrawing" Target="../drawings/vmlDrawing50.vml"/><Relationship Id="rId2" Type="http://schemas.openxmlformats.org/officeDocument/2006/relationships/tags" Target="../tags/tag823.xml"/></Relationships>
</file>

<file path=ppt/slides/_rels/slide47.xml.rels><?xml version="1.0" encoding="UTF-8" standalone="yes"?>
<Relationships xmlns="http://schemas.openxmlformats.org/package/2006/relationships"><Relationship Id="rId3" Type="http://schemas.openxmlformats.org/officeDocument/2006/relationships/tags" Target="../tags/tag827.xml"/><Relationship Id="rId4" Type="http://schemas.openxmlformats.org/officeDocument/2006/relationships/tags" Target="../tags/tag828.xml"/><Relationship Id="rId5" Type="http://schemas.openxmlformats.org/officeDocument/2006/relationships/slideLayout" Target="../slideLayouts/slideLayout3.xml"/><Relationship Id="rId6" Type="http://schemas.openxmlformats.org/officeDocument/2006/relationships/notesSlide" Target="../notesSlides/notesSlide43.xml"/><Relationship Id="rId7" Type="http://schemas.openxmlformats.org/officeDocument/2006/relationships/oleObject" Target="../embeddings/oleObject51.bin"/><Relationship Id="rId8" Type="http://schemas.openxmlformats.org/officeDocument/2006/relationships/image" Target="../media/image119.emf"/><Relationship Id="rId9" Type="http://schemas.openxmlformats.org/officeDocument/2006/relationships/image" Target="../media/image126.png"/><Relationship Id="rId1" Type="http://schemas.openxmlformats.org/officeDocument/2006/relationships/vmlDrawing" Target="../drawings/vmlDrawing51.vml"/><Relationship Id="rId2" Type="http://schemas.openxmlformats.org/officeDocument/2006/relationships/tags" Target="../tags/tag826.xml"/></Relationships>
</file>

<file path=ppt/slides/_rels/slide48.xml.rels><?xml version="1.0" encoding="UTF-8" standalone="yes"?>
<Relationships xmlns="http://schemas.openxmlformats.org/package/2006/relationships"><Relationship Id="rId11" Type="http://schemas.openxmlformats.org/officeDocument/2006/relationships/image" Target="../media/image129.png"/><Relationship Id="rId12" Type="http://schemas.openxmlformats.org/officeDocument/2006/relationships/image" Target="../media/image130.png"/><Relationship Id="rId13" Type="http://schemas.openxmlformats.org/officeDocument/2006/relationships/image" Target="../media/image131.png"/><Relationship Id="rId1" Type="http://schemas.openxmlformats.org/officeDocument/2006/relationships/vmlDrawing" Target="../drawings/vmlDrawing52.vml"/><Relationship Id="rId2" Type="http://schemas.openxmlformats.org/officeDocument/2006/relationships/tags" Target="../tags/tag829.xml"/><Relationship Id="rId3" Type="http://schemas.openxmlformats.org/officeDocument/2006/relationships/tags" Target="../tags/tag830.xml"/><Relationship Id="rId4" Type="http://schemas.openxmlformats.org/officeDocument/2006/relationships/slideLayout" Target="../slideLayouts/slideLayout3.xml"/><Relationship Id="rId5" Type="http://schemas.openxmlformats.org/officeDocument/2006/relationships/notesSlide" Target="../notesSlides/notesSlide44.xml"/><Relationship Id="rId6" Type="http://schemas.openxmlformats.org/officeDocument/2006/relationships/oleObject" Target="../embeddings/oleObject52.bin"/><Relationship Id="rId7" Type="http://schemas.openxmlformats.org/officeDocument/2006/relationships/image" Target="../media/image66.emf"/><Relationship Id="rId8" Type="http://schemas.openxmlformats.org/officeDocument/2006/relationships/image" Target="../media/image116.png"/><Relationship Id="rId9" Type="http://schemas.openxmlformats.org/officeDocument/2006/relationships/image" Target="../media/image127.png"/><Relationship Id="rId10" Type="http://schemas.openxmlformats.org/officeDocument/2006/relationships/image" Target="../media/image128.png"/></Relationships>
</file>

<file path=ppt/slides/_rels/slide49.xml.rels><?xml version="1.0" encoding="UTF-8" standalone="yes"?>
<Relationships xmlns="http://schemas.openxmlformats.org/package/2006/relationships"><Relationship Id="rId3" Type="http://schemas.openxmlformats.org/officeDocument/2006/relationships/tags" Target="../tags/tag832.xml"/><Relationship Id="rId4" Type="http://schemas.openxmlformats.org/officeDocument/2006/relationships/slideLayout" Target="../slideLayouts/slideLayout3.xml"/><Relationship Id="rId5" Type="http://schemas.openxmlformats.org/officeDocument/2006/relationships/notesSlide" Target="../notesSlides/notesSlide45.xml"/><Relationship Id="rId6" Type="http://schemas.openxmlformats.org/officeDocument/2006/relationships/oleObject" Target="../embeddings/oleObject53.bin"/><Relationship Id="rId7" Type="http://schemas.openxmlformats.org/officeDocument/2006/relationships/image" Target="../media/image97.emf"/><Relationship Id="rId8" Type="http://schemas.openxmlformats.org/officeDocument/2006/relationships/image" Target="../media/image132.png"/><Relationship Id="rId9" Type="http://schemas.openxmlformats.org/officeDocument/2006/relationships/image" Target="../media/image145.svg"/><Relationship Id="rId10" Type="http://schemas.openxmlformats.org/officeDocument/2006/relationships/image" Target="../media/image133.png"/><Relationship Id="rId1" Type="http://schemas.openxmlformats.org/officeDocument/2006/relationships/vmlDrawing" Target="../drawings/vmlDrawing53.vml"/><Relationship Id="rId2" Type="http://schemas.openxmlformats.org/officeDocument/2006/relationships/tags" Target="../tags/tag831.xml"/></Relationships>
</file>

<file path=ppt/slides/_rels/slide5.xml.rels><?xml version="1.0" encoding="UTF-8" standalone="yes"?>
<Relationships xmlns="http://schemas.openxmlformats.org/package/2006/relationships"><Relationship Id="rId9" Type="http://schemas.microsoft.com/office/2007/relationships/hdphoto" Target="../media/hdphoto6.wdp"/><Relationship Id="rId20" Type="http://schemas.openxmlformats.org/officeDocument/2006/relationships/image" Target="../media/image50.png"/><Relationship Id="rId21" Type="http://schemas.openxmlformats.org/officeDocument/2006/relationships/image" Target="../media/image51.png"/><Relationship Id="rId10" Type="http://schemas.openxmlformats.org/officeDocument/2006/relationships/image" Target="../media/image43.png"/><Relationship Id="rId11" Type="http://schemas.microsoft.com/office/2007/relationships/hdphoto" Target="../media/hdphoto7.wdp"/><Relationship Id="rId12" Type="http://schemas.openxmlformats.org/officeDocument/2006/relationships/image" Target="../media/image44.png"/><Relationship Id="rId13" Type="http://schemas.microsoft.com/office/2007/relationships/hdphoto" Target="../media/hdphoto8.wdp"/><Relationship Id="rId14" Type="http://schemas.openxmlformats.org/officeDocument/2006/relationships/image" Target="../media/image45.png"/><Relationship Id="rId15" Type="http://schemas.microsoft.com/office/2007/relationships/hdphoto" Target="../media/hdphoto9.wdp"/><Relationship Id="rId16" Type="http://schemas.openxmlformats.org/officeDocument/2006/relationships/image" Target="../media/image46.png"/><Relationship Id="rId17" Type="http://schemas.openxmlformats.org/officeDocument/2006/relationships/image" Target="../media/image47.png"/><Relationship Id="rId18" Type="http://schemas.openxmlformats.org/officeDocument/2006/relationships/image" Target="../media/image48.png"/><Relationship Id="rId19" Type="http://schemas.openxmlformats.org/officeDocument/2006/relationships/image" Target="../media/image49.png"/><Relationship Id="rId1" Type="http://schemas.openxmlformats.org/officeDocument/2006/relationships/vmlDrawing" Target="../drawings/vmlDrawing13.vml"/><Relationship Id="rId2" Type="http://schemas.openxmlformats.org/officeDocument/2006/relationships/tags" Target="../tags/tag39.xml"/><Relationship Id="rId3" Type="http://schemas.openxmlformats.org/officeDocument/2006/relationships/tags" Target="../tags/tag40.xml"/><Relationship Id="rId4" Type="http://schemas.openxmlformats.org/officeDocument/2006/relationships/slideLayout" Target="../slideLayouts/slideLayout3.xml"/><Relationship Id="rId5" Type="http://schemas.openxmlformats.org/officeDocument/2006/relationships/notesSlide" Target="../notesSlides/notesSlide5.xml"/><Relationship Id="rId6" Type="http://schemas.openxmlformats.org/officeDocument/2006/relationships/oleObject" Target="../embeddings/oleObject13.bin"/><Relationship Id="rId7" Type="http://schemas.openxmlformats.org/officeDocument/2006/relationships/image" Target="../media/image41.emf"/><Relationship Id="rId8" Type="http://schemas.openxmlformats.org/officeDocument/2006/relationships/image" Target="../media/image42.png"/></Relationships>
</file>

<file path=ppt/slides/_rels/slide50.xml.rels><?xml version="1.0" encoding="UTF-8" standalone="yes"?>
<Relationships xmlns="http://schemas.openxmlformats.org/package/2006/relationships"><Relationship Id="rId3" Type="http://schemas.openxmlformats.org/officeDocument/2006/relationships/tags" Target="../tags/tag834.xml"/><Relationship Id="rId4" Type="http://schemas.openxmlformats.org/officeDocument/2006/relationships/tags" Target="../tags/tag835.xml"/><Relationship Id="rId5" Type="http://schemas.openxmlformats.org/officeDocument/2006/relationships/tags" Target="../tags/tag836.xml"/><Relationship Id="rId6" Type="http://schemas.openxmlformats.org/officeDocument/2006/relationships/slideLayout" Target="../slideLayouts/slideLayout3.xml"/><Relationship Id="rId7" Type="http://schemas.openxmlformats.org/officeDocument/2006/relationships/notesSlide" Target="../notesSlides/notesSlide46.xml"/><Relationship Id="rId8" Type="http://schemas.openxmlformats.org/officeDocument/2006/relationships/oleObject" Target="../embeddings/oleObject54.bin"/><Relationship Id="rId9" Type="http://schemas.openxmlformats.org/officeDocument/2006/relationships/image" Target="../media/image97.emf"/><Relationship Id="rId10" Type="http://schemas.openxmlformats.org/officeDocument/2006/relationships/image" Target="../media/image134.jpg"/><Relationship Id="rId11" Type="http://schemas.openxmlformats.org/officeDocument/2006/relationships/image" Target="../media/image135.jpg"/><Relationship Id="rId1" Type="http://schemas.openxmlformats.org/officeDocument/2006/relationships/vmlDrawing" Target="../drawings/vmlDrawing54.vml"/><Relationship Id="rId2" Type="http://schemas.openxmlformats.org/officeDocument/2006/relationships/tags" Target="../tags/tag833.xml"/></Relationships>
</file>

<file path=ppt/slides/_rels/slide51.xml.rels><?xml version="1.0" encoding="UTF-8" standalone="yes"?>
<Relationships xmlns="http://schemas.openxmlformats.org/package/2006/relationships"><Relationship Id="rId3" Type="http://schemas.openxmlformats.org/officeDocument/2006/relationships/tags" Target="../tags/tag838.xml"/><Relationship Id="rId4" Type="http://schemas.openxmlformats.org/officeDocument/2006/relationships/slideLayout" Target="../slideLayouts/slideLayout3.xml"/><Relationship Id="rId5" Type="http://schemas.openxmlformats.org/officeDocument/2006/relationships/notesSlide" Target="../notesSlides/notesSlide47.xml"/><Relationship Id="rId6" Type="http://schemas.openxmlformats.org/officeDocument/2006/relationships/oleObject" Target="../embeddings/oleObject55.bin"/><Relationship Id="rId7" Type="http://schemas.openxmlformats.org/officeDocument/2006/relationships/image" Target="../media/image97.emf"/><Relationship Id="rId8" Type="http://schemas.openxmlformats.org/officeDocument/2006/relationships/image" Target="../media/image136.png"/><Relationship Id="rId9" Type="http://schemas.openxmlformats.org/officeDocument/2006/relationships/image" Target="../media/image137.png"/><Relationship Id="rId10" Type="http://schemas.openxmlformats.org/officeDocument/2006/relationships/image" Target="../media/image138.png"/><Relationship Id="rId1" Type="http://schemas.openxmlformats.org/officeDocument/2006/relationships/vmlDrawing" Target="../drawings/vmlDrawing55.vml"/><Relationship Id="rId2" Type="http://schemas.openxmlformats.org/officeDocument/2006/relationships/tags" Target="../tags/tag837.xml"/></Relationships>
</file>

<file path=ppt/slides/_rels/slide52.xml.rels><?xml version="1.0" encoding="UTF-8" standalone="yes"?>
<Relationships xmlns="http://schemas.openxmlformats.org/package/2006/relationships"><Relationship Id="rId3" Type="http://schemas.openxmlformats.org/officeDocument/2006/relationships/tags" Target="../tags/tag840.xml"/><Relationship Id="rId4" Type="http://schemas.openxmlformats.org/officeDocument/2006/relationships/slideLayout" Target="../slideLayouts/slideLayout3.xml"/><Relationship Id="rId5" Type="http://schemas.openxmlformats.org/officeDocument/2006/relationships/notesSlide" Target="../notesSlides/notesSlide48.xml"/><Relationship Id="rId6" Type="http://schemas.openxmlformats.org/officeDocument/2006/relationships/oleObject" Target="../embeddings/oleObject56.bin"/><Relationship Id="rId7" Type="http://schemas.openxmlformats.org/officeDocument/2006/relationships/image" Target="../media/image97.emf"/><Relationship Id="rId8" Type="http://schemas.openxmlformats.org/officeDocument/2006/relationships/image" Target="../media/image139.png"/><Relationship Id="rId9" Type="http://schemas.openxmlformats.org/officeDocument/2006/relationships/image" Target="../media/image140.png"/><Relationship Id="rId1" Type="http://schemas.openxmlformats.org/officeDocument/2006/relationships/vmlDrawing" Target="../drawings/vmlDrawing56.vml"/><Relationship Id="rId2" Type="http://schemas.openxmlformats.org/officeDocument/2006/relationships/tags" Target="../tags/tag839.xml"/></Relationships>
</file>

<file path=ppt/slides/_rels/slide53.xml.rels><?xml version="1.0" encoding="UTF-8" standalone="yes"?>
<Relationships xmlns="http://schemas.openxmlformats.org/package/2006/relationships"><Relationship Id="rId3" Type="http://schemas.openxmlformats.org/officeDocument/2006/relationships/tags" Target="../tags/tag842.xml"/><Relationship Id="rId4" Type="http://schemas.openxmlformats.org/officeDocument/2006/relationships/slideLayout" Target="../slideLayouts/slideLayout3.xml"/><Relationship Id="rId5" Type="http://schemas.openxmlformats.org/officeDocument/2006/relationships/notesSlide" Target="../notesSlides/notesSlide49.xml"/><Relationship Id="rId6" Type="http://schemas.openxmlformats.org/officeDocument/2006/relationships/oleObject" Target="../embeddings/oleObject57.bin"/><Relationship Id="rId7" Type="http://schemas.openxmlformats.org/officeDocument/2006/relationships/image" Target="../media/image97.emf"/><Relationship Id="rId8" Type="http://schemas.openxmlformats.org/officeDocument/2006/relationships/image" Target="../media/image141.png"/><Relationship Id="rId1" Type="http://schemas.openxmlformats.org/officeDocument/2006/relationships/vmlDrawing" Target="../drawings/vmlDrawing57.vml"/><Relationship Id="rId2" Type="http://schemas.openxmlformats.org/officeDocument/2006/relationships/tags" Target="../tags/tag841.xml"/></Relationships>
</file>

<file path=ppt/slides/_rels/slide54.xml.rels><?xml version="1.0" encoding="UTF-8" standalone="yes"?>
<Relationships xmlns="http://schemas.openxmlformats.org/package/2006/relationships"><Relationship Id="rId3" Type="http://schemas.openxmlformats.org/officeDocument/2006/relationships/tags" Target="../tags/tag844.xml"/><Relationship Id="rId4" Type="http://schemas.openxmlformats.org/officeDocument/2006/relationships/slideLayout" Target="../slideLayouts/slideLayout3.xml"/><Relationship Id="rId5" Type="http://schemas.openxmlformats.org/officeDocument/2006/relationships/oleObject" Target="../embeddings/oleObject58.bin"/><Relationship Id="rId6" Type="http://schemas.openxmlformats.org/officeDocument/2006/relationships/image" Target="../media/image3.emf"/><Relationship Id="rId7" Type="http://schemas.openxmlformats.org/officeDocument/2006/relationships/image" Target="../media/image142.emf"/><Relationship Id="rId1" Type="http://schemas.openxmlformats.org/officeDocument/2006/relationships/vmlDrawing" Target="../drawings/vmlDrawing58.vml"/><Relationship Id="rId2" Type="http://schemas.openxmlformats.org/officeDocument/2006/relationships/tags" Target="../tags/tag843.xml"/></Relationships>
</file>

<file path=ppt/slides/_rels/slide55.xml.rels><?xml version="1.0" encoding="UTF-8" standalone="yes"?>
<Relationships xmlns="http://schemas.openxmlformats.org/package/2006/relationships"><Relationship Id="rId3" Type="http://schemas.openxmlformats.org/officeDocument/2006/relationships/tags" Target="../tags/tag846.xml"/><Relationship Id="rId4" Type="http://schemas.openxmlformats.org/officeDocument/2006/relationships/slideLayout" Target="../slideLayouts/slideLayout3.xml"/><Relationship Id="rId5" Type="http://schemas.openxmlformats.org/officeDocument/2006/relationships/notesSlide" Target="../notesSlides/notesSlide50.xml"/><Relationship Id="rId6" Type="http://schemas.openxmlformats.org/officeDocument/2006/relationships/oleObject" Target="../embeddings/oleObject59.bin"/><Relationship Id="rId7" Type="http://schemas.openxmlformats.org/officeDocument/2006/relationships/image" Target="../media/image119.emf"/><Relationship Id="rId8" Type="http://schemas.openxmlformats.org/officeDocument/2006/relationships/oleObject" Target="../embeddings/oleObject60.bin"/><Relationship Id="rId9" Type="http://schemas.openxmlformats.org/officeDocument/2006/relationships/image" Target="../media/image143.emf"/><Relationship Id="rId10" Type="http://schemas.openxmlformats.org/officeDocument/2006/relationships/image" Target="../media/image144.png"/><Relationship Id="rId1" Type="http://schemas.openxmlformats.org/officeDocument/2006/relationships/vmlDrawing" Target="../drawings/vmlDrawing59.vml"/><Relationship Id="rId2" Type="http://schemas.openxmlformats.org/officeDocument/2006/relationships/tags" Target="../tags/tag845.xml"/></Relationships>
</file>

<file path=ppt/slides/_rels/slide56.xml.rels><?xml version="1.0" encoding="UTF-8" standalone="yes"?>
<Relationships xmlns="http://schemas.openxmlformats.org/package/2006/relationships"><Relationship Id="rId13" Type="http://schemas.openxmlformats.org/officeDocument/2006/relationships/tags" Target="../tags/tag858.xml"/><Relationship Id="rId14" Type="http://schemas.openxmlformats.org/officeDocument/2006/relationships/tags" Target="../tags/tag859.xml"/><Relationship Id="rId15" Type="http://schemas.openxmlformats.org/officeDocument/2006/relationships/tags" Target="../tags/tag860.xml"/><Relationship Id="rId16" Type="http://schemas.openxmlformats.org/officeDocument/2006/relationships/tags" Target="../tags/tag861.xml"/><Relationship Id="rId17" Type="http://schemas.openxmlformats.org/officeDocument/2006/relationships/tags" Target="../tags/tag862.xml"/><Relationship Id="rId18" Type="http://schemas.openxmlformats.org/officeDocument/2006/relationships/tags" Target="../tags/tag863.xml"/><Relationship Id="rId19" Type="http://schemas.openxmlformats.org/officeDocument/2006/relationships/tags" Target="../tags/tag864.xml"/><Relationship Id="rId50" Type="http://schemas.openxmlformats.org/officeDocument/2006/relationships/image" Target="../media/image149.png"/><Relationship Id="rId51" Type="http://schemas.openxmlformats.org/officeDocument/2006/relationships/image" Target="../media/image166.svg"/><Relationship Id="rId52" Type="http://schemas.openxmlformats.org/officeDocument/2006/relationships/image" Target="../media/image150.png"/><Relationship Id="rId53" Type="http://schemas.openxmlformats.org/officeDocument/2006/relationships/image" Target="../media/image168.svg"/><Relationship Id="rId54" Type="http://schemas.openxmlformats.org/officeDocument/2006/relationships/image" Target="../media/image151.png"/><Relationship Id="rId55" Type="http://schemas.openxmlformats.org/officeDocument/2006/relationships/image" Target="../media/image170.svg"/><Relationship Id="rId56" Type="http://schemas.openxmlformats.org/officeDocument/2006/relationships/image" Target="../media/image152.png"/><Relationship Id="rId57" Type="http://schemas.openxmlformats.org/officeDocument/2006/relationships/image" Target="../media/image172.svg"/><Relationship Id="rId40" Type="http://schemas.openxmlformats.org/officeDocument/2006/relationships/slideLayout" Target="../slideLayouts/slideLayout3.xml"/><Relationship Id="rId41" Type="http://schemas.openxmlformats.org/officeDocument/2006/relationships/notesSlide" Target="../notesSlides/notesSlide51.xml"/><Relationship Id="rId42" Type="http://schemas.openxmlformats.org/officeDocument/2006/relationships/oleObject" Target="../embeddings/oleObject61.bin"/><Relationship Id="rId43" Type="http://schemas.openxmlformats.org/officeDocument/2006/relationships/image" Target="../media/image145.emf"/><Relationship Id="rId44" Type="http://schemas.openxmlformats.org/officeDocument/2006/relationships/image" Target="../media/image146.png"/><Relationship Id="rId45" Type="http://schemas.openxmlformats.org/officeDocument/2006/relationships/image" Target="../media/image160.svg"/><Relationship Id="rId46" Type="http://schemas.openxmlformats.org/officeDocument/2006/relationships/image" Target="../media/image147.png"/><Relationship Id="rId47" Type="http://schemas.openxmlformats.org/officeDocument/2006/relationships/image" Target="../media/image162.svg"/><Relationship Id="rId48" Type="http://schemas.openxmlformats.org/officeDocument/2006/relationships/image" Target="../media/image148.png"/><Relationship Id="rId49" Type="http://schemas.openxmlformats.org/officeDocument/2006/relationships/image" Target="../media/image164.svg"/><Relationship Id="rId1" Type="http://schemas.openxmlformats.org/officeDocument/2006/relationships/vmlDrawing" Target="../drawings/vmlDrawing60.vml"/><Relationship Id="rId2" Type="http://schemas.openxmlformats.org/officeDocument/2006/relationships/tags" Target="../tags/tag847.xml"/><Relationship Id="rId3" Type="http://schemas.openxmlformats.org/officeDocument/2006/relationships/tags" Target="../tags/tag848.xml"/><Relationship Id="rId4" Type="http://schemas.openxmlformats.org/officeDocument/2006/relationships/tags" Target="../tags/tag849.xml"/><Relationship Id="rId5" Type="http://schemas.openxmlformats.org/officeDocument/2006/relationships/tags" Target="../tags/tag850.xml"/><Relationship Id="rId6" Type="http://schemas.openxmlformats.org/officeDocument/2006/relationships/tags" Target="../tags/tag851.xml"/><Relationship Id="rId7" Type="http://schemas.openxmlformats.org/officeDocument/2006/relationships/tags" Target="../tags/tag852.xml"/><Relationship Id="rId8" Type="http://schemas.openxmlformats.org/officeDocument/2006/relationships/tags" Target="../tags/tag853.xml"/><Relationship Id="rId9" Type="http://schemas.openxmlformats.org/officeDocument/2006/relationships/tags" Target="../tags/tag854.xml"/><Relationship Id="rId30" Type="http://schemas.openxmlformats.org/officeDocument/2006/relationships/tags" Target="../tags/tag875.xml"/><Relationship Id="rId31" Type="http://schemas.openxmlformats.org/officeDocument/2006/relationships/tags" Target="../tags/tag876.xml"/><Relationship Id="rId32" Type="http://schemas.openxmlformats.org/officeDocument/2006/relationships/tags" Target="../tags/tag877.xml"/><Relationship Id="rId33" Type="http://schemas.openxmlformats.org/officeDocument/2006/relationships/tags" Target="../tags/tag878.xml"/><Relationship Id="rId34" Type="http://schemas.openxmlformats.org/officeDocument/2006/relationships/tags" Target="../tags/tag879.xml"/><Relationship Id="rId35" Type="http://schemas.openxmlformats.org/officeDocument/2006/relationships/tags" Target="../tags/tag880.xml"/><Relationship Id="rId36" Type="http://schemas.openxmlformats.org/officeDocument/2006/relationships/tags" Target="../tags/tag881.xml"/><Relationship Id="rId37" Type="http://schemas.openxmlformats.org/officeDocument/2006/relationships/tags" Target="../tags/tag882.xml"/><Relationship Id="rId38" Type="http://schemas.openxmlformats.org/officeDocument/2006/relationships/tags" Target="../tags/tag883.xml"/><Relationship Id="rId39" Type="http://schemas.openxmlformats.org/officeDocument/2006/relationships/tags" Target="../tags/tag884.xml"/><Relationship Id="rId20" Type="http://schemas.openxmlformats.org/officeDocument/2006/relationships/tags" Target="../tags/tag865.xml"/><Relationship Id="rId21" Type="http://schemas.openxmlformats.org/officeDocument/2006/relationships/tags" Target="../tags/tag866.xml"/><Relationship Id="rId22" Type="http://schemas.openxmlformats.org/officeDocument/2006/relationships/tags" Target="../tags/tag867.xml"/><Relationship Id="rId23" Type="http://schemas.openxmlformats.org/officeDocument/2006/relationships/tags" Target="../tags/tag868.xml"/><Relationship Id="rId24" Type="http://schemas.openxmlformats.org/officeDocument/2006/relationships/tags" Target="../tags/tag869.xml"/><Relationship Id="rId25" Type="http://schemas.openxmlformats.org/officeDocument/2006/relationships/tags" Target="../tags/tag870.xml"/><Relationship Id="rId26" Type="http://schemas.openxmlformats.org/officeDocument/2006/relationships/tags" Target="../tags/tag871.xml"/><Relationship Id="rId27" Type="http://schemas.openxmlformats.org/officeDocument/2006/relationships/tags" Target="../tags/tag872.xml"/><Relationship Id="rId28" Type="http://schemas.openxmlformats.org/officeDocument/2006/relationships/tags" Target="../tags/tag873.xml"/><Relationship Id="rId29" Type="http://schemas.openxmlformats.org/officeDocument/2006/relationships/tags" Target="../tags/tag874.xml"/><Relationship Id="rId10" Type="http://schemas.openxmlformats.org/officeDocument/2006/relationships/tags" Target="../tags/tag855.xml"/><Relationship Id="rId11" Type="http://schemas.openxmlformats.org/officeDocument/2006/relationships/tags" Target="../tags/tag856.xml"/><Relationship Id="rId12" Type="http://schemas.openxmlformats.org/officeDocument/2006/relationships/tags" Target="../tags/tag857.xml"/></Relationships>
</file>

<file path=ppt/slides/_rels/slide57.xml.rels><?xml version="1.0" encoding="UTF-8" standalone="yes"?>
<Relationships xmlns="http://schemas.openxmlformats.org/package/2006/relationships"><Relationship Id="rId13" Type="http://schemas.openxmlformats.org/officeDocument/2006/relationships/tags" Target="../tags/tag896.xml"/><Relationship Id="rId14" Type="http://schemas.openxmlformats.org/officeDocument/2006/relationships/tags" Target="../tags/tag897.xml"/><Relationship Id="rId15" Type="http://schemas.openxmlformats.org/officeDocument/2006/relationships/tags" Target="../tags/tag898.xml"/><Relationship Id="rId16" Type="http://schemas.openxmlformats.org/officeDocument/2006/relationships/tags" Target="../tags/tag899.xml"/><Relationship Id="rId17" Type="http://schemas.openxmlformats.org/officeDocument/2006/relationships/tags" Target="../tags/tag900.xml"/><Relationship Id="rId18" Type="http://schemas.openxmlformats.org/officeDocument/2006/relationships/tags" Target="../tags/tag901.xml"/><Relationship Id="rId19" Type="http://schemas.openxmlformats.org/officeDocument/2006/relationships/tags" Target="../tags/tag902.xml"/><Relationship Id="rId50" Type="http://schemas.openxmlformats.org/officeDocument/2006/relationships/image" Target="../media/image156.png"/><Relationship Id="rId51" Type="http://schemas.openxmlformats.org/officeDocument/2006/relationships/image" Target="../media/image180.svg"/><Relationship Id="rId52" Type="http://schemas.openxmlformats.org/officeDocument/2006/relationships/image" Target="../media/image157.png"/><Relationship Id="rId53" Type="http://schemas.openxmlformats.org/officeDocument/2006/relationships/image" Target="../media/image182.svg"/><Relationship Id="rId54" Type="http://schemas.openxmlformats.org/officeDocument/2006/relationships/image" Target="../media/image158.png"/><Relationship Id="rId55" Type="http://schemas.openxmlformats.org/officeDocument/2006/relationships/image" Target="../media/image184.svg"/><Relationship Id="rId56" Type="http://schemas.openxmlformats.org/officeDocument/2006/relationships/image" Target="../media/image159.png"/><Relationship Id="rId57" Type="http://schemas.openxmlformats.org/officeDocument/2006/relationships/image" Target="../media/image186.svg"/><Relationship Id="rId40" Type="http://schemas.openxmlformats.org/officeDocument/2006/relationships/slideLayout" Target="../slideLayouts/slideLayout3.xml"/><Relationship Id="rId41" Type="http://schemas.openxmlformats.org/officeDocument/2006/relationships/notesSlide" Target="../notesSlides/notesSlide52.xml"/><Relationship Id="rId42" Type="http://schemas.openxmlformats.org/officeDocument/2006/relationships/oleObject" Target="../embeddings/oleObject62.bin"/><Relationship Id="rId43" Type="http://schemas.openxmlformats.org/officeDocument/2006/relationships/image" Target="../media/image145.emf"/><Relationship Id="rId44" Type="http://schemas.openxmlformats.org/officeDocument/2006/relationships/image" Target="../media/image153.png"/><Relationship Id="rId45" Type="http://schemas.openxmlformats.org/officeDocument/2006/relationships/image" Target="../media/image174.svg"/><Relationship Id="rId46" Type="http://schemas.openxmlformats.org/officeDocument/2006/relationships/image" Target="../media/image154.png"/><Relationship Id="rId47" Type="http://schemas.openxmlformats.org/officeDocument/2006/relationships/image" Target="../media/image176.svg"/><Relationship Id="rId48" Type="http://schemas.openxmlformats.org/officeDocument/2006/relationships/image" Target="../media/image155.png"/><Relationship Id="rId49" Type="http://schemas.openxmlformats.org/officeDocument/2006/relationships/image" Target="../media/image178.svg"/><Relationship Id="rId1" Type="http://schemas.openxmlformats.org/officeDocument/2006/relationships/vmlDrawing" Target="../drawings/vmlDrawing61.vml"/><Relationship Id="rId2" Type="http://schemas.openxmlformats.org/officeDocument/2006/relationships/tags" Target="../tags/tag885.xml"/><Relationship Id="rId3" Type="http://schemas.openxmlformats.org/officeDocument/2006/relationships/tags" Target="../tags/tag886.xml"/><Relationship Id="rId4" Type="http://schemas.openxmlformats.org/officeDocument/2006/relationships/tags" Target="../tags/tag887.xml"/><Relationship Id="rId5" Type="http://schemas.openxmlformats.org/officeDocument/2006/relationships/tags" Target="../tags/tag888.xml"/><Relationship Id="rId6" Type="http://schemas.openxmlformats.org/officeDocument/2006/relationships/tags" Target="../tags/tag889.xml"/><Relationship Id="rId7" Type="http://schemas.openxmlformats.org/officeDocument/2006/relationships/tags" Target="../tags/tag890.xml"/><Relationship Id="rId8" Type="http://schemas.openxmlformats.org/officeDocument/2006/relationships/tags" Target="../tags/tag891.xml"/><Relationship Id="rId9" Type="http://schemas.openxmlformats.org/officeDocument/2006/relationships/tags" Target="../tags/tag892.xml"/><Relationship Id="rId30" Type="http://schemas.openxmlformats.org/officeDocument/2006/relationships/tags" Target="../tags/tag913.xml"/><Relationship Id="rId31" Type="http://schemas.openxmlformats.org/officeDocument/2006/relationships/tags" Target="../tags/tag914.xml"/><Relationship Id="rId32" Type="http://schemas.openxmlformats.org/officeDocument/2006/relationships/tags" Target="../tags/tag915.xml"/><Relationship Id="rId33" Type="http://schemas.openxmlformats.org/officeDocument/2006/relationships/tags" Target="../tags/tag916.xml"/><Relationship Id="rId34" Type="http://schemas.openxmlformats.org/officeDocument/2006/relationships/tags" Target="../tags/tag917.xml"/><Relationship Id="rId35" Type="http://schemas.openxmlformats.org/officeDocument/2006/relationships/tags" Target="../tags/tag918.xml"/><Relationship Id="rId36" Type="http://schemas.openxmlformats.org/officeDocument/2006/relationships/tags" Target="../tags/tag919.xml"/><Relationship Id="rId37" Type="http://schemas.openxmlformats.org/officeDocument/2006/relationships/tags" Target="../tags/tag920.xml"/><Relationship Id="rId38" Type="http://schemas.openxmlformats.org/officeDocument/2006/relationships/tags" Target="../tags/tag921.xml"/><Relationship Id="rId39" Type="http://schemas.openxmlformats.org/officeDocument/2006/relationships/tags" Target="../tags/tag922.xml"/><Relationship Id="rId20" Type="http://schemas.openxmlformats.org/officeDocument/2006/relationships/tags" Target="../tags/tag903.xml"/><Relationship Id="rId21" Type="http://schemas.openxmlformats.org/officeDocument/2006/relationships/tags" Target="../tags/tag904.xml"/><Relationship Id="rId22" Type="http://schemas.openxmlformats.org/officeDocument/2006/relationships/tags" Target="../tags/tag905.xml"/><Relationship Id="rId23" Type="http://schemas.openxmlformats.org/officeDocument/2006/relationships/tags" Target="../tags/tag906.xml"/><Relationship Id="rId24" Type="http://schemas.openxmlformats.org/officeDocument/2006/relationships/tags" Target="../tags/tag907.xml"/><Relationship Id="rId25" Type="http://schemas.openxmlformats.org/officeDocument/2006/relationships/tags" Target="../tags/tag908.xml"/><Relationship Id="rId26" Type="http://schemas.openxmlformats.org/officeDocument/2006/relationships/tags" Target="../tags/tag909.xml"/><Relationship Id="rId27" Type="http://schemas.openxmlformats.org/officeDocument/2006/relationships/tags" Target="../tags/tag910.xml"/><Relationship Id="rId28" Type="http://schemas.openxmlformats.org/officeDocument/2006/relationships/tags" Target="../tags/tag911.xml"/><Relationship Id="rId29" Type="http://schemas.openxmlformats.org/officeDocument/2006/relationships/tags" Target="../tags/tag912.xml"/><Relationship Id="rId10" Type="http://schemas.openxmlformats.org/officeDocument/2006/relationships/tags" Target="../tags/tag893.xml"/><Relationship Id="rId11" Type="http://schemas.openxmlformats.org/officeDocument/2006/relationships/tags" Target="../tags/tag894.xml"/><Relationship Id="rId12" Type="http://schemas.openxmlformats.org/officeDocument/2006/relationships/tags" Target="../tags/tag895.xml"/></Relationships>
</file>

<file path=ppt/slides/_rels/slide58.xml.rels><?xml version="1.0" encoding="UTF-8" standalone="yes"?>
<Relationships xmlns="http://schemas.openxmlformats.org/package/2006/relationships"><Relationship Id="rId13" Type="http://schemas.openxmlformats.org/officeDocument/2006/relationships/tags" Target="../tags/tag934.xml"/><Relationship Id="rId14" Type="http://schemas.openxmlformats.org/officeDocument/2006/relationships/tags" Target="../tags/tag935.xml"/><Relationship Id="rId15" Type="http://schemas.openxmlformats.org/officeDocument/2006/relationships/tags" Target="../tags/tag936.xml"/><Relationship Id="rId16" Type="http://schemas.openxmlformats.org/officeDocument/2006/relationships/tags" Target="../tags/tag937.xml"/><Relationship Id="rId17" Type="http://schemas.openxmlformats.org/officeDocument/2006/relationships/tags" Target="../tags/tag938.xml"/><Relationship Id="rId18" Type="http://schemas.openxmlformats.org/officeDocument/2006/relationships/tags" Target="../tags/tag939.xml"/><Relationship Id="rId19" Type="http://schemas.openxmlformats.org/officeDocument/2006/relationships/tags" Target="../tags/tag940.xml"/><Relationship Id="rId50" Type="http://schemas.openxmlformats.org/officeDocument/2006/relationships/image" Target="../media/image149.png"/><Relationship Id="rId51" Type="http://schemas.openxmlformats.org/officeDocument/2006/relationships/image" Target="../media/image166.svg"/><Relationship Id="rId52" Type="http://schemas.openxmlformats.org/officeDocument/2006/relationships/image" Target="../media/image150.png"/><Relationship Id="rId53" Type="http://schemas.openxmlformats.org/officeDocument/2006/relationships/image" Target="../media/image168.svg"/><Relationship Id="rId54" Type="http://schemas.openxmlformats.org/officeDocument/2006/relationships/image" Target="../media/image151.png"/><Relationship Id="rId55" Type="http://schemas.openxmlformats.org/officeDocument/2006/relationships/image" Target="../media/image170.svg"/><Relationship Id="rId56" Type="http://schemas.openxmlformats.org/officeDocument/2006/relationships/image" Target="../media/image152.png"/><Relationship Id="rId57" Type="http://schemas.openxmlformats.org/officeDocument/2006/relationships/image" Target="../media/image172.svg"/><Relationship Id="rId40" Type="http://schemas.openxmlformats.org/officeDocument/2006/relationships/slideLayout" Target="../slideLayouts/slideLayout3.xml"/><Relationship Id="rId41" Type="http://schemas.openxmlformats.org/officeDocument/2006/relationships/notesSlide" Target="../notesSlides/notesSlide53.xml"/><Relationship Id="rId42" Type="http://schemas.openxmlformats.org/officeDocument/2006/relationships/oleObject" Target="../embeddings/oleObject63.bin"/><Relationship Id="rId43" Type="http://schemas.openxmlformats.org/officeDocument/2006/relationships/image" Target="../media/image145.emf"/><Relationship Id="rId44" Type="http://schemas.openxmlformats.org/officeDocument/2006/relationships/image" Target="../media/image146.png"/><Relationship Id="rId45" Type="http://schemas.openxmlformats.org/officeDocument/2006/relationships/image" Target="../media/image160.svg"/><Relationship Id="rId46" Type="http://schemas.openxmlformats.org/officeDocument/2006/relationships/image" Target="../media/image147.png"/><Relationship Id="rId47" Type="http://schemas.openxmlformats.org/officeDocument/2006/relationships/image" Target="../media/image162.svg"/><Relationship Id="rId48" Type="http://schemas.openxmlformats.org/officeDocument/2006/relationships/image" Target="../media/image148.png"/><Relationship Id="rId49" Type="http://schemas.openxmlformats.org/officeDocument/2006/relationships/image" Target="../media/image164.svg"/><Relationship Id="rId1" Type="http://schemas.openxmlformats.org/officeDocument/2006/relationships/vmlDrawing" Target="../drawings/vmlDrawing62.vml"/><Relationship Id="rId2" Type="http://schemas.openxmlformats.org/officeDocument/2006/relationships/tags" Target="../tags/tag923.xml"/><Relationship Id="rId3" Type="http://schemas.openxmlformats.org/officeDocument/2006/relationships/tags" Target="../tags/tag924.xml"/><Relationship Id="rId4" Type="http://schemas.openxmlformats.org/officeDocument/2006/relationships/tags" Target="../tags/tag925.xml"/><Relationship Id="rId5" Type="http://schemas.openxmlformats.org/officeDocument/2006/relationships/tags" Target="../tags/tag926.xml"/><Relationship Id="rId6" Type="http://schemas.openxmlformats.org/officeDocument/2006/relationships/tags" Target="../tags/tag927.xml"/><Relationship Id="rId7" Type="http://schemas.openxmlformats.org/officeDocument/2006/relationships/tags" Target="../tags/tag928.xml"/><Relationship Id="rId8" Type="http://schemas.openxmlformats.org/officeDocument/2006/relationships/tags" Target="../tags/tag929.xml"/><Relationship Id="rId9" Type="http://schemas.openxmlformats.org/officeDocument/2006/relationships/tags" Target="../tags/tag930.xml"/><Relationship Id="rId30" Type="http://schemas.openxmlformats.org/officeDocument/2006/relationships/tags" Target="../tags/tag951.xml"/><Relationship Id="rId31" Type="http://schemas.openxmlformats.org/officeDocument/2006/relationships/tags" Target="../tags/tag952.xml"/><Relationship Id="rId32" Type="http://schemas.openxmlformats.org/officeDocument/2006/relationships/tags" Target="../tags/tag953.xml"/><Relationship Id="rId33" Type="http://schemas.openxmlformats.org/officeDocument/2006/relationships/tags" Target="../tags/tag954.xml"/><Relationship Id="rId34" Type="http://schemas.openxmlformats.org/officeDocument/2006/relationships/tags" Target="../tags/tag955.xml"/><Relationship Id="rId35" Type="http://schemas.openxmlformats.org/officeDocument/2006/relationships/tags" Target="../tags/tag956.xml"/><Relationship Id="rId36" Type="http://schemas.openxmlformats.org/officeDocument/2006/relationships/tags" Target="../tags/tag957.xml"/><Relationship Id="rId37" Type="http://schemas.openxmlformats.org/officeDocument/2006/relationships/tags" Target="../tags/tag958.xml"/><Relationship Id="rId38" Type="http://schemas.openxmlformats.org/officeDocument/2006/relationships/tags" Target="../tags/tag959.xml"/><Relationship Id="rId39" Type="http://schemas.openxmlformats.org/officeDocument/2006/relationships/tags" Target="../tags/tag960.xml"/><Relationship Id="rId20" Type="http://schemas.openxmlformats.org/officeDocument/2006/relationships/tags" Target="../tags/tag941.xml"/><Relationship Id="rId21" Type="http://schemas.openxmlformats.org/officeDocument/2006/relationships/tags" Target="../tags/tag942.xml"/><Relationship Id="rId22" Type="http://schemas.openxmlformats.org/officeDocument/2006/relationships/tags" Target="../tags/tag943.xml"/><Relationship Id="rId23" Type="http://schemas.openxmlformats.org/officeDocument/2006/relationships/tags" Target="../tags/tag944.xml"/><Relationship Id="rId24" Type="http://schemas.openxmlformats.org/officeDocument/2006/relationships/tags" Target="../tags/tag945.xml"/><Relationship Id="rId25" Type="http://schemas.openxmlformats.org/officeDocument/2006/relationships/tags" Target="../tags/tag946.xml"/><Relationship Id="rId26" Type="http://schemas.openxmlformats.org/officeDocument/2006/relationships/tags" Target="../tags/tag947.xml"/><Relationship Id="rId27" Type="http://schemas.openxmlformats.org/officeDocument/2006/relationships/tags" Target="../tags/tag948.xml"/><Relationship Id="rId28" Type="http://schemas.openxmlformats.org/officeDocument/2006/relationships/tags" Target="../tags/tag949.xml"/><Relationship Id="rId29" Type="http://schemas.openxmlformats.org/officeDocument/2006/relationships/tags" Target="../tags/tag950.xml"/><Relationship Id="rId10" Type="http://schemas.openxmlformats.org/officeDocument/2006/relationships/tags" Target="../tags/tag931.xml"/><Relationship Id="rId11" Type="http://schemas.openxmlformats.org/officeDocument/2006/relationships/tags" Target="../tags/tag932.xml"/><Relationship Id="rId12" Type="http://schemas.openxmlformats.org/officeDocument/2006/relationships/tags" Target="../tags/tag933.xml"/></Relationships>
</file>

<file path=ppt/slides/_rels/slide59.xml.rels><?xml version="1.0" encoding="UTF-8" standalone="yes"?>
<Relationships xmlns="http://schemas.openxmlformats.org/package/2006/relationships"><Relationship Id="rId13" Type="http://schemas.openxmlformats.org/officeDocument/2006/relationships/tags" Target="../tags/tag972.xml"/><Relationship Id="rId14" Type="http://schemas.openxmlformats.org/officeDocument/2006/relationships/tags" Target="../tags/tag973.xml"/><Relationship Id="rId15" Type="http://schemas.openxmlformats.org/officeDocument/2006/relationships/tags" Target="../tags/tag974.xml"/><Relationship Id="rId16" Type="http://schemas.openxmlformats.org/officeDocument/2006/relationships/tags" Target="../tags/tag975.xml"/><Relationship Id="rId17" Type="http://schemas.openxmlformats.org/officeDocument/2006/relationships/tags" Target="../tags/tag976.xml"/><Relationship Id="rId18" Type="http://schemas.openxmlformats.org/officeDocument/2006/relationships/tags" Target="../tags/tag977.xml"/><Relationship Id="rId19" Type="http://schemas.openxmlformats.org/officeDocument/2006/relationships/tags" Target="../tags/tag978.xml"/><Relationship Id="rId50" Type="http://schemas.openxmlformats.org/officeDocument/2006/relationships/image" Target="../media/image156.png"/><Relationship Id="rId51" Type="http://schemas.openxmlformats.org/officeDocument/2006/relationships/image" Target="../media/image180.svg"/><Relationship Id="rId52" Type="http://schemas.openxmlformats.org/officeDocument/2006/relationships/image" Target="../media/image157.png"/><Relationship Id="rId53" Type="http://schemas.openxmlformats.org/officeDocument/2006/relationships/image" Target="../media/image182.svg"/><Relationship Id="rId54" Type="http://schemas.openxmlformats.org/officeDocument/2006/relationships/image" Target="../media/image158.png"/><Relationship Id="rId55" Type="http://schemas.openxmlformats.org/officeDocument/2006/relationships/image" Target="../media/image184.svg"/><Relationship Id="rId56" Type="http://schemas.openxmlformats.org/officeDocument/2006/relationships/image" Target="../media/image159.png"/><Relationship Id="rId57" Type="http://schemas.openxmlformats.org/officeDocument/2006/relationships/image" Target="../media/image186.svg"/><Relationship Id="rId40" Type="http://schemas.openxmlformats.org/officeDocument/2006/relationships/slideLayout" Target="../slideLayouts/slideLayout3.xml"/><Relationship Id="rId41" Type="http://schemas.openxmlformats.org/officeDocument/2006/relationships/notesSlide" Target="../notesSlides/notesSlide54.xml"/><Relationship Id="rId42" Type="http://schemas.openxmlformats.org/officeDocument/2006/relationships/oleObject" Target="../embeddings/oleObject64.bin"/><Relationship Id="rId43" Type="http://schemas.openxmlformats.org/officeDocument/2006/relationships/image" Target="../media/image145.emf"/><Relationship Id="rId44" Type="http://schemas.openxmlformats.org/officeDocument/2006/relationships/image" Target="../media/image153.png"/><Relationship Id="rId45" Type="http://schemas.openxmlformats.org/officeDocument/2006/relationships/image" Target="../media/image174.svg"/><Relationship Id="rId46" Type="http://schemas.openxmlformats.org/officeDocument/2006/relationships/image" Target="../media/image154.png"/><Relationship Id="rId47" Type="http://schemas.openxmlformats.org/officeDocument/2006/relationships/image" Target="../media/image176.svg"/><Relationship Id="rId48" Type="http://schemas.openxmlformats.org/officeDocument/2006/relationships/image" Target="../media/image155.png"/><Relationship Id="rId49" Type="http://schemas.openxmlformats.org/officeDocument/2006/relationships/image" Target="../media/image178.svg"/><Relationship Id="rId1" Type="http://schemas.openxmlformats.org/officeDocument/2006/relationships/vmlDrawing" Target="../drawings/vmlDrawing63.vml"/><Relationship Id="rId2" Type="http://schemas.openxmlformats.org/officeDocument/2006/relationships/tags" Target="../tags/tag961.xml"/><Relationship Id="rId3" Type="http://schemas.openxmlformats.org/officeDocument/2006/relationships/tags" Target="../tags/tag962.xml"/><Relationship Id="rId4" Type="http://schemas.openxmlformats.org/officeDocument/2006/relationships/tags" Target="../tags/tag963.xml"/><Relationship Id="rId5" Type="http://schemas.openxmlformats.org/officeDocument/2006/relationships/tags" Target="../tags/tag964.xml"/><Relationship Id="rId6" Type="http://schemas.openxmlformats.org/officeDocument/2006/relationships/tags" Target="../tags/tag965.xml"/><Relationship Id="rId7" Type="http://schemas.openxmlformats.org/officeDocument/2006/relationships/tags" Target="../tags/tag966.xml"/><Relationship Id="rId8" Type="http://schemas.openxmlformats.org/officeDocument/2006/relationships/tags" Target="../tags/tag967.xml"/><Relationship Id="rId9" Type="http://schemas.openxmlformats.org/officeDocument/2006/relationships/tags" Target="../tags/tag968.xml"/><Relationship Id="rId30" Type="http://schemas.openxmlformats.org/officeDocument/2006/relationships/tags" Target="../tags/tag989.xml"/><Relationship Id="rId31" Type="http://schemas.openxmlformats.org/officeDocument/2006/relationships/tags" Target="../tags/tag990.xml"/><Relationship Id="rId32" Type="http://schemas.openxmlformats.org/officeDocument/2006/relationships/tags" Target="../tags/tag991.xml"/><Relationship Id="rId33" Type="http://schemas.openxmlformats.org/officeDocument/2006/relationships/tags" Target="../tags/tag992.xml"/><Relationship Id="rId34" Type="http://schemas.openxmlformats.org/officeDocument/2006/relationships/tags" Target="../tags/tag993.xml"/><Relationship Id="rId35" Type="http://schemas.openxmlformats.org/officeDocument/2006/relationships/tags" Target="../tags/tag994.xml"/><Relationship Id="rId36" Type="http://schemas.openxmlformats.org/officeDocument/2006/relationships/tags" Target="../tags/tag995.xml"/><Relationship Id="rId37" Type="http://schemas.openxmlformats.org/officeDocument/2006/relationships/tags" Target="../tags/tag996.xml"/><Relationship Id="rId38" Type="http://schemas.openxmlformats.org/officeDocument/2006/relationships/tags" Target="../tags/tag997.xml"/><Relationship Id="rId39" Type="http://schemas.openxmlformats.org/officeDocument/2006/relationships/tags" Target="../tags/tag998.xml"/><Relationship Id="rId20" Type="http://schemas.openxmlformats.org/officeDocument/2006/relationships/tags" Target="../tags/tag979.xml"/><Relationship Id="rId21" Type="http://schemas.openxmlformats.org/officeDocument/2006/relationships/tags" Target="../tags/tag980.xml"/><Relationship Id="rId22" Type="http://schemas.openxmlformats.org/officeDocument/2006/relationships/tags" Target="../tags/tag981.xml"/><Relationship Id="rId23" Type="http://schemas.openxmlformats.org/officeDocument/2006/relationships/tags" Target="../tags/tag982.xml"/><Relationship Id="rId24" Type="http://schemas.openxmlformats.org/officeDocument/2006/relationships/tags" Target="../tags/tag983.xml"/><Relationship Id="rId25" Type="http://schemas.openxmlformats.org/officeDocument/2006/relationships/tags" Target="../tags/tag984.xml"/><Relationship Id="rId26" Type="http://schemas.openxmlformats.org/officeDocument/2006/relationships/tags" Target="../tags/tag985.xml"/><Relationship Id="rId27" Type="http://schemas.openxmlformats.org/officeDocument/2006/relationships/tags" Target="../tags/tag986.xml"/><Relationship Id="rId28" Type="http://schemas.openxmlformats.org/officeDocument/2006/relationships/tags" Target="../tags/tag987.xml"/><Relationship Id="rId29" Type="http://schemas.openxmlformats.org/officeDocument/2006/relationships/tags" Target="../tags/tag988.xml"/><Relationship Id="rId10" Type="http://schemas.openxmlformats.org/officeDocument/2006/relationships/tags" Target="../tags/tag969.xml"/><Relationship Id="rId11" Type="http://schemas.openxmlformats.org/officeDocument/2006/relationships/tags" Target="../tags/tag970.xml"/><Relationship Id="rId12" Type="http://schemas.openxmlformats.org/officeDocument/2006/relationships/tags" Target="../tags/tag971.xml"/></Relationships>
</file>

<file path=ppt/slides/_rels/slide6.xml.rels><?xml version="1.0" encoding="UTF-8" standalone="yes"?>
<Relationships xmlns="http://schemas.openxmlformats.org/package/2006/relationships"><Relationship Id="rId20" Type="http://schemas.openxmlformats.org/officeDocument/2006/relationships/tags" Target="../tags/tag59.xml"/><Relationship Id="rId21" Type="http://schemas.openxmlformats.org/officeDocument/2006/relationships/tags" Target="../tags/tag60.xml"/><Relationship Id="rId22" Type="http://schemas.openxmlformats.org/officeDocument/2006/relationships/tags" Target="../tags/tag61.xml"/><Relationship Id="rId23" Type="http://schemas.openxmlformats.org/officeDocument/2006/relationships/tags" Target="../tags/tag62.xml"/><Relationship Id="rId24" Type="http://schemas.openxmlformats.org/officeDocument/2006/relationships/tags" Target="../tags/tag63.xml"/><Relationship Id="rId25" Type="http://schemas.openxmlformats.org/officeDocument/2006/relationships/tags" Target="../tags/tag64.xml"/><Relationship Id="rId26" Type="http://schemas.openxmlformats.org/officeDocument/2006/relationships/tags" Target="../tags/tag65.xml"/><Relationship Id="rId27" Type="http://schemas.openxmlformats.org/officeDocument/2006/relationships/tags" Target="../tags/tag66.xml"/><Relationship Id="rId28" Type="http://schemas.openxmlformats.org/officeDocument/2006/relationships/tags" Target="../tags/tag67.xml"/><Relationship Id="rId29" Type="http://schemas.openxmlformats.org/officeDocument/2006/relationships/tags" Target="../tags/tag68.xml"/><Relationship Id="rId1" Type="http://schemas.openxmlformats.org/officeDocument/2006/relationships/vmlDrawing" Target="../drawings/vmlDrawing14.vml"/><Relationship Id="rId2" Type="http://schemas.openxmlformats.org/officeDocument/2006/relationships/tags" Target="../tags/tag41.xml"/><Relationship Id="rId3" Type="http://schemas.openxmlformats.org/officeDocument/2006/relationships/tags" Target="../tags/tag42.xml"/><Relationship Id="rId4" Type="http://schemas.openxmlformats.org/officeDocument/2006/relationships/tags" Target="../tags/tag43.xml"/><Relationship Id="rId5" Type="http://schemas.openxmlformats.org/officeDocument/2006/relationships/tags" Target="../tags/tag44.xml"/><Relationship Id="rId30" Type="http://schemas.openxmlformats.org/officeDocument/2006/relationships/tags" Target="../tags/tag69.xml"/><Relationship Id="rId31" Type="http://schemas.openxmlformats.org/officeDocument/2006/relationships/tags" Target="../tags/tag70.xml"/><Relationship Id="rId32" Type="http://schemas.openxmlformats.org/officeDocument/2006/relationships/tags" Target="../tags/tag71.xml"/><Relationship Id="rId9" Type="http://schemas.openxmlformats.org/officeDocument/2006/relationships/tags" Target="../tags/tag48.xml"/><Relationship Id="rId6" Type="http://schemas.openxmlformats.org/officeDocument/2006/relationships/tags" Target="../tags/tag45.xml"/><Relationship Id="rId7" Type="http://schemas.openxmlformats.org/officeDocument/2006/relationships/tags" Target="../tags/tag46.xml"/><Relationship Id="rId8" Type="http://schemas.openxmlformats.org/officeDocument/2006/relationships/tags" Target="../tags/tag47.xml"/><Relationship Id="rId33" Type="http://schemas.openxmlformats.org/officeDocument/2006/relationships/tags" Target="../tags/tag72.xml"/><Relationship Id="rId34" Type="http://schemas.openxmlformats.org/officeDocument/2006/relationships/tags" Target="../tags/tag73.xml"/><Relationship Id="rId35" Type="http://schemas.openxmlformats.org/officeDocument/2006/relationships/tags" Target="../tags/tag74.xml"/><Relationship Id="rId36" Type="http://schemas.openxmlformats.org/officeDocument/2006/relationships/tags" Target="../tags/tag75.xml"/><Relationship Id="rId10" Type="http://schemas.openxmlformats.org/officeDocument/2006/relationships/tags" Target="../tags/tag49.xml"/><Relationship Id="rId11" Type="http://schemas.openxmlformats.org/officeDocument/2006/relationships/tags" Target="../tags/tag50.xml"/><Relationship Id="rId12" Type="http://schemas.openxmlformats.org/officeDocument/2006/relationships/tags" Target="../tags/tag51.xml"/><Relationship Id="rId13" Type="http://schemas.openxmlformats.org/officeDocument/2006/relationships/tags" Target="../tags/tag52.xml"/><Relationship Id="rId14" Type="http://schemas.openxmlformats.org/officeDocument/2006/relationships/tags" Target="../tags/tag53.xml"/><Relationship Id="rId15" Type="http://schemas.openxmlformats.org/officeDocument/2006/relationships/tags" Target="../tags/tag54.xml"/><Relationship Id="rId16" Type="http://schemas.openxmlformats.org/officeDocument/2006/relationships/tags" Target="../tags/tag55.xml"/><Relationship Id="rId17" Type="http://schemas.openxmlformats.org/officeDocument/2006/relationships/tags" Target="../tags/tag56.xml"/><Relationship Id="rId18" Type="http://schemas.openxmlformats.org/officeDocument/2006/relationships/tags" Target="../tags/tag57.xml"/><Relationship Id="rId19" Type="http://schemas.openxmlformats.org/officeDocument/2006/relationships/tags" Target="../tags/tag58.xml"/><Relationship Id="rId37" Type="http://schemas.openxmlformats.org/officeDocument/2006/relationships/slideLayout" Target="../slideLayouts/slideLayout3.xml"/><Relationship Id="rId38" Type="http://schemas.openxmlformats.org/officeDocument/2006/relationships/notesSlide" Target="../notesSlides/notesSlide6.xml"/><Relationship Id="rId39" Type="http://schemas.openxmlformats.org/officeDocument/2006/relationships/oleObject" Target="../embeddings/oleObject14.bin"/><Relationship Id="rId40" Type="http://schemas.openxmlformats.org/officeDocument/2006/relationships/image" Target="../media/image52.emf"/><Relationship Id="rId41" Type="http://schemas.openxmlformats.org/officeDocument/2006/relationships/chart" Target="../charts/chart1.xml"/><Relationship Id="rId42" Type="http://schemas.openxmlformats.org/officeDocument/2006/relationships/image" Target="../media/image53.png"/><Relationship Id="rId43" Type="http://schemas.microsoft.com/office/2007/relationships/hdphoto" Target="../media/hdphoto10.wdp"/></Relationships>
</file>

<file path=ppt/slides/_rels/slide60.xml.rels><?xml version="1.0" encoding="UTF-8" standalone="yes"?>
<Relationships xmlns="http://schemas.openxmlformats.org/package/2006/relationships"><Relationship Id="rId13" Type="http://schemas.openxmlformats.org/officeDocument/2006/relationships/tags" Target="../tags/tag1010.xml"/><Relationship Id="rId14" Type="http://schemas.openxmlformats.org/officeDocument/2006/relationships/tags" Target="../tags/tag1011.xml"/><Relationship Id="rId15" Type="http://schemas.openxmlformats.org/officeDocument/2006/relationships/tags" Target="../tags/tag1012.xml"/><Relationship Id="rId16" Type="http://schemas.openxmlformats.org/officeDocument/2006/relationships/tags" Target="../tags/tag1013.xml"/><Relationship Id="rId17" Type="http://schemas.openxmlformats.org/officeDocument/2006/relationships/tags" Target="../tags/tag1014.xml"/><Relationship Id="rId18" Type="http://schemas.openxmlformats.org/officeDocument/2006/relationships/tags" Target="../tags/tag1015.xml"/><Relationship Id="rId19" Type="http://schemas.openxmlformats.org/officeDocument/2006/relationships/tags" Target="../tags/tag1016.xml"/><Relationship Id="rId50" Type="http://schemas.openxmlformats.org/officeDocument/2006/relationships/image" Target="../media/image149.png"/><Relationship Id="rId51" Type="http://schemas.openxmlformats.org/officeDocument/2006/relationships/image" Target="../media/image166.svg"/><Relationship Id="rId52" Type="http://schemas.openxmlformats.org/officeDocument/2006/relationships/image" Target="../media/image150.png"/><Relationship Id="rId53" Type="http://schemas.openxmlformats.org/officeDocument/2006/relationships/image" Target="../media/image168.svg"/><Relationship Id="rId54" Type="http://schemas.openxmlformats.org/officeDocument/2006/relationships/image" Target="../media/image151.png"/><Relationship Id="rId55" Type="http://schemas.openxmlformats.org/officeDocument/2006/relationships/image" Target="../media/image170.svg"/><Relationship Id="rId56" Type="http://schemas.openxmlformats.org/officeDocument/2006/relationships/image" Target="../media/image152.png"/><Relationship Id="rId57" Type="http://schemas.openxmlformats.org/officeDocument/2006/relationships/image" Target="../media/image172.svg"/><Relationship Id="rId40" Type="http://schemas.openxmlformats.org/officeDocument/2006/relationships/slideLayout" Target="../slideLayouts/slideLayout3.xml"/><Relationship Id="rId41" Type="http://schemas.openxmlformats.org/officeDocument/2006/relationships/notesSlide" Target="../notesSlides/notesSlide55.xml"/><Relationship Id="rId42" Type="http://schemas.openxmlformats.org/officeDocument/2006/relationships/oleObject" Target="../embeddings/oleObject65.bin"/><Relationship Id="rId43" Type="http://schemas.openxmlformats.org/officeDocument/2006/relationships/image" Target="../media/image145.emf"/><Relationship Id="rId44" Type="http://schemas.openxmlformats.org/officeDocument/2006/relationships/image" Target="../media/image146.png"/><Relationship Id="rId45" Type="http://schemas.openxmlformats.org/officeDocument/2006/relationships/image" Target="../media/image160.svg"/><Relationship Id="rId46" Type="http://schemas.openxmlformats.org/officeDocument/2006/relationships/image" Target="../media/image147.png"/><Relationship Id="rId47" Type="http://schemas.openxmlformats.org/officeDocument/2006/relationships/image" Target="../media/image162.svg"/><Relationship Id="rId48" Type="http://schemas.openxmlformats.org/officeDocument/2006/relationships/image" Target="../media/image148.png"/><Relationship Id="rId49" Type="http://schemas.openxmlformats.org/officeDocument/2006/relationships/image" Target="../media/image164.svg"/><Relationship Id="rId1" Type="http://schemas.openxmlformats.org/officeDocument/2006/relationships/vmlDrawing" Target="../drawings/vmlDrawing64.vml"/><Relationship Id="rId2" Type="http://schemas.openxmlformats.org/officeDocument/2006/relationships/tags" Target="../tags/tag999.xml"/><Relationship Id="rId3" Type="http://schemas.openxmlformats.org/officeDocument/2006/relationships/tags" Target="../tags/tag1000.xml"/><Relationship Id="rId4" Type="http://schemas.openxmlformats.org/officeDocument/2006/relationships/tags" Target="../tags/tag1001.xml"/><Relationship Id="rId5" Type="http://schemas.openxmlformats.org/officeDocument/2006/relationships/tags" Target="../tags/tag1002.xml"/><Relationship Id="rId6" Type="http://schemas.openxmlformats.org/officeDocument/2006/relationships/tags" Target="../tags/tag1003.xml"/><Relationship Id="rId7" Type="http://schemas.openxmlformats.org/officeDocument/2006/relationships/tags" Target="../tags/tag1004.xml"/><Relationship Id="rId8" Type="http://schemas.openxmlformats.org/officeDocument/2006/relationships/tags" Target="../tags/tag1005.xml"/><Relationship Id="rId9" Type="http://schemas.openxmlformats.org/officeDocument/2006/relationships/tags" Target="../tags/tag1006.xml"/><Relationship Id="rId30" Type="http://schemas.openxmlformats.org/officeDocument/2006/relationships/tags" Target="../tags/tag1027.xml"/><Relationship Id="rId31" Type="http://schemas.openxmlformats.org/officeDocument/2006/relationships/tags" Target="../tags/tag1028.xml"/><Relationship Id="rId32" Type="http://schemas.openxmlformats.org/officeDocument/2006/relationships/tags" Target="../tags/tag1029.xml"/><Relationship Id="rId33" Type="http://schemas.openxmlformats.org/officeDocument/2006/relationships/tags" Target="../tags/tag1030.xml"/><Relationship Id="rId34" Type="http://schemas.openxmlformats.org/officeDocument/2006/relationships/tags" Target="../tags/tag1031.xml"/><Relationship Id="rId35" Type="http://schemas.openxmlformats.org/officeDocument/2006/relationships/tags" Target="../tags/tag1032.xml"/><Relationship Id="rId36" Type="http://schemas.openxmlformats.org/officeDocument/2006/relationships/tags" Target="../tags/tag1033.xml"/><Relationship Id="rId37" Type="http://schemas.openxmlformats.org/officeDocument/2006/relationships/tags" Target="../tags/tag1034.xml"/><Relationship Id="rId38" Type="http://schemas.openxmlformats.org/officeDocument/2006/relationships/tags" Target="../tags/tag1035.xml"/><Relationship Id="rId39" Type="http://schemas.openxmlformats.org/officeDocument/2006/relationships/tags" Target="../tags/tag1036.xml"/><Relationship Id="rId20" Type="http://schemas.openxmlformats.org/officeDocument/2006/relationships/tags" Target="../tags/tag1017.xml"/><Relationship Id="rId21" Type="http://schemas.openxmlformats.org/officeDocument/2006/relationships/tags" Target="../tags/tag1018.xml"/><Relationship Id="rId22" Type="http://schemas.openxmlformats.org/officeDocument/2006/relationships/tags" Target="../tags/tag1019.xml"/><Relationship Id="rId23" Type="http://schemas.openxmlformats.org/officeDocument/2006/relationships/tags" Target="../tags/tag1020.xml"/><Relationship Id="rId24" Type="http://schemas.openxmlformats.org/officeDocument/2006/relationships/tags" Target="../tags/tag1021.xml"/><Relationship Id="rId25" Type="http://schemas.openxmlformats.org/officeDocument/2006/relationships/tags" Target="../tags/tag1022.xml"/><Relationship Id="rId26" Type="http://schemas.openxmlformats.org/officeDocument/2006/relationships/tags" Target="../tags/tag1023.xml"/><Relationship Id="rId27" Type="http://schemas.openxmlformats.org/officeDocument/2006/relationships/tags" Target="../tags/tag1024.xml"/><Relationship Id="rId28" Type="http://schemas.openxmlformats.org/officeDocument/2006/relationships/tags" Target="../tags/tag1025.xml"/><Relationship Id="rId29" Type="http://schemas.openxmlformats.org/officeDocument/2006/relationships/tags" Target="../tags/tag1026.xml"/><Relationship Id="rId10" Type="http://schemas.openxmlformats.org/officeDocument/2006/relationships/tags" Target="../tags/tag1007.xml"/><Relationship Id="rId11" Type="http://schemas.openxmlformats.org/officeDocument/2006/relationships/tags" Target="../tags/tag1008.xml"/><Relationship Id="rId12" Type="http://schemas.openxmlformats.org/officeDocument/2006/relationships/tags" Target="../tags/tag1009.xml"/></Relationships>
</file>

<file path=ppt/slides/_rels/slide61.xml.rels><?xml version="1.0" encoding="UTF-8" standalone="yes"?>
<Relationships xmlns="http://schemas.openxmlformats.org/package/2006/relationships"><Relationship Id="rId13" Type="http://schemas.openxmlformats.org/officeDocument/2006/relationships/tags" Target="../tags/tag1048.xml"/><Relationship Id="rId14" Type="http://schemas.openxmlformats.org/officeDocument/2006/relationships/tags" Target="../tags/tag1049.xml"/><Relationship Id="rId15" Type="http://schemas.openxmlformats.org/officeDocument/2006/relationships/tags" Target="../tags/tag1050.xml"/><Relationship Id="rId16" Type="http://schemas.openxmlformats.org/officeDocument/2006/relationships/tags" Target="../tags/tag1051.xml"/><Relationship Id="rId17" Type="http://schemas.openxmlformats.org/officeDocument/2006/relationships/tags" Target="../tags/tag1052.xml"/><Relationship Id="rId18" Type="http://schemas.openxmlformats.org/officeDocument/2006/relationships/tags" Target="../tags/tag1053.xml"/><Relationship Id="rId19" Type="http://schemas.openxmlformats.org/officeDocument/2006/relationships/tags" Target="../tags/tag1054.xml"/><Relationship Id="rId50" Type="http://schemas.openxmlformats.org/officeDocument/2006/relationships/image" Target="../media/image156.png"/><Relationship Id="rId51" Type="http://schemas.openxmlformats.org/officeDocument/2006/relationships/image" Target="../media/image180.svg"/><Relationship Id="rId52" Type="http://schemas.openxmlformats.org/officeDocument/2006/relationships/image" Target="../media/image157.png"/><Relationship Id="rId53" Type="http://schemas.openxmlformats.org/officeDocument/2006/relationships/image" Target="../media/image182.svg"/><Relationship Id="rId54" Type="http://schemas.openxmlformats.org/officeDocument/2006/relationships/image" Target="../media/image158.png"/><Relationship Id="rId55" Type="http://schemas.openxmlformats.org/officeDocument/2006/relationships/image" Target="../media/image184.svg"/><Relationship Id="rId56" Type="http://schemas.openxmlformats.org/officeDocument/2006/relationships/image" Target="../media/image159.png"/><Relationship Id="rId57" Type="http://schemas.openxmlformats.org/officeDocument/2006/relationships/image" Target="../media/image186.svg"/><Relationship Id="rId40" Type="http://schemas.openxmlformats.org/officeDocument/2006/relationships/slideLayout" Target="../slideLayouts/slideLayout3.xml"/><Relationship Id="rId41" Type="http://schemas.openxmlformats.org/officeDocument/2006/relationships/notesSlide" Target="../notesSlides/notesSlide56.xml"/><Relationship Id="rId42" Type="http://schemas.openxmlformats.org/officeDocument/2006/relationships/oleObject" Target="../embeddings/oleObject66.bin"/><Relationship Id="rId43" Type="http://schemas.openxmlformats.org/officeDocument/2006/relationships/image" Target="../media/image145.emf"/><Relationship Id="rId44" Type="http://schemas.openxmlformats.org/officeDocument/2006/relationships/image" Target="../media/image153.png"/><Relationship Id="rId45" Type="http://schemas.openxmlformats.org/officeDocument/2006/relationships/image" Target="../media/image174.svg"/><Relationship Id="rId46" Type="http://schemas.openxmlformats.org/officeDocument/2006/relationships/image" Target="../media/image154.png"/><Relationship Id="rId47" Type="http://schemas.openxmlformats.org/officeDocument/2006/relationships/image" Target="../media/image176.svg"/><Relationship Id="rId48" Type="http://schemas.openxmlformats.org/officeDocument/2006/relationships/image" Target="../media/image155.png"/><Relationship Id="rId49" Type="http://schemas.openxmlformats.org/officeDocument/2006/relationships/image" Target="../media/image178.svg"/><Relationship Id="rId1" Type="http://schemas.openxmlformats.org/officeDocument/2006/relationships/vmlDrawing" Target="../drawings/vmlDrawing65.vml"/><Relationship Id="rId2" Type="http://schemas.openxmlformats.org/officeDocument/2006/relationships/tags" Target="../tags/tag1037.xml"/><Relationship Id="rId3" Type="http://schemas.openxmlformats.org/officeDocument/2006/relationships/tags" Target="../tags/tag1038.xml"/><Relationship Id="rId4" Type="http://schemas.openxmlformats.org/officeDocument/2006/relationships/tags" Target="../tags/tag1039.xml"/><Relationship Id="rId5" Type="http://schemas.openxmlformats.org/officeDocument/2006/relationships/tags" Target="../tags/tag1040.xml"/><Relationship Id="rId6" Type="http://schemas.openxmlformats.org/officeDocument/2006/relationships/tags" Target="../tags/tag1041.xml"/><Relationship Id="rId7" Type="http://schemas.openxmlformats.org/officeDocument/2006/relationships/tags" Target="../tags/tag1042.xml"/><Relationship Id="rId8" Type="http://schemas.openxmlformats.org/officeDocument/2006/relationships/tags" Target="../tags/tag1043.xml"/><Relationship Id="rId9" Type="http://schemas.openxmlformats.org/officeDocument/2006/relationships/tags" Target="../tags/tag1044.xml"/><Relationship Id="rId30" Type="http://schemas.openxmlformats.org/officeDocument/2006/relationships/tags" Target="../tags/tag1065.xml"/><Relationship Id="rId31" Type="http://schemas.openxmlformats.org/officeDocument/2006/relationships/tags" Target="../tags/tag1066.xml"/><Relationship Id="rId32" Type="http://schemas.openxmlformats.org/officeDocument/2006/relationships/tags" Target="../tags/tag1067.xml"/><Relationship Id="rId33" Type="http://schemas.openxmlformats.org/officeDocument/2006/relationships/tags" Target="../tags/tag1068.xml"/><Relationship Id="rId34" Type="http://schemas.openxmlformats.org/officeDocument/2006/relationships/tags" Target="../tags/tag1069.xml"/><Relationship Id="rId35" Type="http://schemas.openxmlformats.org/officeDocument/2006/relationships/tags" Target="../tags/tag1070.xml"/><Relationship Id="rId36" Type="http://schemas.openxmlformats.org/officeDocument/2006/relationships/tags" Target="../tags/tag1071.xml"/><Relationship Id="rId37" Type="http://schemas.openxmlformats.org/officeDocument/2006/relationships/tags" Target="../tags/tag1072.xml"/><Relationship Id="rId38" Type="http://schemas.openxmlformats.org/officeDocument/2006/relationships/tags" Target="../tags/tag1073.xml"/><Relationship Id="rId39" Type="http://schemas.openxmlformats.org/officeDocument/2006/relationships/tags" Target="../tags/tag1074.xml"/><Relationship Id="rId20" Type="http://schemas.openxmlformats.org/officeDocument/2006/relationships/tags" Target="../tags/tag1055.xml"/><Relationship Id="rId21" Type="http://schemas.openxmlformats.org/officeDocument/2006/relationships/tags" Target="../tags/tag1056.xml"/><Relationship Id="rId22" Type="http://schemas.openxmlformats.org/officeDocument/2006/relationships/tags" Target="../tags/tag1057.xml"/><Relationship Id="rId23" Type="http://schemas.openxmlformats.org/officeDocument/2006/relationships/tags" Target="../tags/tag1058.xml"/><Relationship Id="rId24" Type="http://schemas.openxmlformats.org/officeDocument/2006/relationships/tags" Target="../tags/tag1059.xml"/><Relationship Id="rId25" Type="http://schemas.openxmlformats.org/officeDocument/2006/relationships/tags" Target="../tags/tag1060.xml"/><Relationship Id="rId26" Type="http://schemas.openxmlformats.org/officeDocument/2006/relationships/tags" Target="../tags/tag1061.xml"/><Relationship Id="rId27" Type="http://schemas.openxmlformats.org/officeDocument/2006/relationships/tags" Target="../tags/tag1062.xml"/><Relationship Id="rId28" Type="http://schemas.openxmlformats.org/officeDocument/2006/relationships/tags" Target="../tags/tag1063.xml"/><Relationship Id="rId29" Type="http://schemas.openxmlformats.org/officeDocument/2006/relationships/tags" Target="../tags/tag1064.xml"/><Relationship Id="rId10" Type="http://schemas.openxmlformats.org/officeDocument/2006/relationships/tags" Target="../tags/tag1045.xml"/><Relationship Id="rId11" Type="http://schemas.openxmlformats.org/officeDocument/2006/relationships/tags" Target="../tags/tag1046.xml"/><Relationship Id="rId12" Type="http://schemas.openxmlformats.org/officeDocument/2006/relationships/tags" Target="../tags/tag1047.xml"/></Relationships>
</file>

<file path=ppt/slides/_rels/slide62.xml.rels><?xml version="1.0" encoding="UTF-8" standalone="yes"?>
<Relationships xmlns="http://schemas.openxmlformats.org/package/2006/relationships"><Relationship Id="rId13" Type="http://schemas.openxmlformats.org/officeDocument/2006/relationships/tags" Target="../tags/tag1086.xml"/><Relationship Id="rId14" Type="http://schemas.openxmlformats.org/officeDocument/2006/relationships/tags" Target="../tags/tag1087.xml"/><Relationship Id="rId15" Type="http://schemas.openxmlformats.org/officeDocument/2006/relationships/tags" Target="../tags/tag1088.xml"/><Relationship Id="rId16" Type="http://schemas.openxmlformats.org/officeDocument/2006/relationships/tags" Target="../tags/tag1089.xml"/><Relationship Id="rId17" Type="http://schemas.openxmlformats.org/officeDocument/2006/relationships/tags" Target="../tags/tag1090.xml"/><Relationship Id="rId18" Type="http://schemas.openxmlformats.org/officeDocument/2006/relationships/tags" Target="../tags/tag1091.xml"/><Relationship Id="rId19" Type="http://schemas.openxmlformats.org/officeDocument/2006/relationships/tags" Target="../tags/tag1092.xml"/><Relationship Id="rId50" Type="http://schemas.openxmlformats.org/officeDocument/2006/relationships/image" Target="../media/image149.png"/><Relationship Id="rId51" Type="http://schemas.openxmlformats.org/officeDocument/2006/relationships/image" Target="../media/image166.svg"/><Relationship Id="rId52" Type="http://schemas.openxmlformats.org/officeDocument/2006/relationships/image" Target="../media/image150.png"/><Relationship Id="rId53" Type="http://schemas.openxmlformats.org/officeDocument/2006/relationships/image" Target="../media/image168.svg"/><Relationship Id="rId54" Type="http://schemas.openxmlformats.org/officeDocument/2006/relationships/image" Target="../media/image151.png"/><Relationship Id="rId55" Type="http://schemas.openxmlformats.org/officeDocument/2006/relationships/image" Target="../media/image170.svg"/><Relationship Id="rId56" Type="http://schemas.openxmlformats.org/officeDocument/2006/relationships/image" Target="../media/image152.png"/><Relationship Id="rId57" Type="http://schemas.openxmlformats.org/officeDocument/2006/relationships/image" Target="../media/image172.svg"/><Relationship Id="rId40" Type="http://schemas.openxmlformats.org/officeDocument/2006/relationships/slideLayout" Target="../slideLayouts/slideLayout3.xml"/><Relationship Id="rId41" Type="http://schemas.openxmlformats.org/officeDocument/2006/relationships/notesSlide" Target="../notesSlides/notesSlide57.xml"/><Relationship Id="rId42" Type="http://schemas.openxmlformats.org/officeDocument/2006/relationships/oleObject" Target="../embeddings/oleObject67.bin"/><Relationship Id="rId43" Type="http://schemas.openxmlformats.org/officeDocument/2006/relationships/image" Target="../media/image145.emf"/><Relationship Id="rId44" Type="http://schemas.openxmlformats.org/officeDocument/2006/relationships/image" Target="../media/image146.png"/><Relationship Id="rId45" Type="http://schemas.openxmlformats.org/officeDocument/2006/relationships/image" Target="../media/image160.svg"/><Relationship Id="rId46" Type="http://schemas.openxmlformats.org/officeDocument/2006/relationships/image" Target="../media/image147.png"/><Relationship Id="rId47" Type="http://schemas.openxmlformats.org/officeDocument/2006/relationships/image" Target="../media/image162.svg"/><Relationship Id="rId48" Type="http://schemas.openxmlformats.org/officeDocument/2006/relationships/image" Target="../media/image148.png"/><Relationship Id="rId49" Type="http://schemas.openxmlformats.org/officeDocument/2006/relationships/image" Target="../media/image164.svg"/><Relationship Id="rId1" Type="http://schemas.openxmlformats.org/officeDocument/2006/relationships/vmlDrawing" Target="../drawings/vmlDrawing66.vml"/><Relationship Id="rId2" Type="http://schemas.openxmlformats.org/officeDocument/2006/relationships/tags" Target="../tags/tag1075.xml"/><Relationship Id="rId3" Type="http://schemas.openxmlformats.org/officeDocument/2006/relationships/tags" Target="../tags/tag1076.xml"/><Relationship Id="rId4" Type="http://schemas.openxmlformats.org/officeDocument/2006/relationships/tags" Target="../tags/tag1077.xml"/><Relationship Id="rId5" Type="http://schemas.openxmlformats.org/officeDocument/2006/relationships/tags" Target="../tags/tag1078.xml"/><Relationship Id="rId6" Type="http://schemas.openxmlformats.org/officeDocument/2006/relationships/tags" Target="../tags/tag1079.xml"/><Relationship Id="rId7" Type="http://schemas.openxmlformats.org/officeDocument/2006/relationships/tags" Target="../tags/tag1080.xml"/><Relationship Id="rId8" Type="http://schemas.openxmlformats.org/officeDocument/2006/relationships/tags" Target="../tags/tag1081.xml"/><Relationship Id="rId9" Type="http://schemas.openxmlformats.org/officeDocument/2006/relationships/tags" Target="../tags/tag1082.xml"/><Relationship Id="rId30" Type="http://schemas.openxmlformats.org/officeDocument/2006/relationships/tags" Target="../tags/tag1103.xml"/><Relationship Id="rId31" Type="http://schemas.openxmlformats.org/officeDocument/2006/relationships/tags" Target="../tags/tag1104.xml"/><Relationship Id="rId32" Type="http://schemas.openxmlformats.org/officeDocument/2006/relationships/tags" Target="../tags/tag1105.xml"/><Relationship Id="rId33" Type="http://schemas.openxmlformats.org/officeDocument/2006/relationships/tags" Target="../tags/tag1106.xml"/><Relationship Id="rId34" Type="http://schemas.openxmlformats.org/officeDocument/2006/relationships/tags" Target="../tags/tag1107.xml"/><Relationship Id="rId35" Type="http://schemas.openxmlformats.org/officeDocument/2006/relationships/tags" Target="../tags/tag1108.xml"/><Relationship Id="rId36" Type="http://schemas.openxmlformats.org/officeDocument/2006/relationships/tags" Target="../tags/tag1109.xml"/><Relationship Id="rId37" Type="http://schemas.openxmlformats.org/officeDocument/2006/relationships/tags" Target="../tags/tag1110.xml"/><Relationship Id="rId38" Type="http://schemas.openxmlformats.org/officeDocument/2006/relationships/tags" Target="../tags/tag1111.xml"/><Relationship Id="rId39" Type="http://schemas.openxmlformats.org/officeDocument/2006/relationships/tags" Target="../tags/tag1112.xml"/><Relationship Id="rId20" Type="http://schemas.openxmlformats.org/officeDocument/2006/relationships/tags" Target="../tags/tag1093.xml"/><Relationship Id="rId21" Type="http://schemas.openxmlformats.org/officeDocument/2006/relationships/tags" Target="../tags/tag1094.xml"/><Relationship Id="rId22" Type="http://schemas.openxmlformats.org/officeDocument/2006/relationships/tags" Target="../tags/tag1095.xml"/><Relationship Id="rId23" Type="http://schemas.openxmlformats.org/officeDocument/2006/relationships/tags" Target="../tags/tag1096.xml"/><Relationship Id="rId24" Type="http://schemas.openxmlformats.org/officeDocument/2006/relationships/tags" Target="../tags/tag1097.xml"/><Relationship Id="rId25" Type="http://schemas.openxmlformats.org/officeDocument/2006/relationships/tags" Target="../tags/tag1098.xml"/><Relationship Id="rId26" Type="http://schemas.openxmlformats.org/officeDocument/2006/relationships/tags" Target="../tags/tag1099.xml"/><Relationship Id="rId27" Type="http://schemas.openxmlformats.org/officeDocument/2006/relationships/tags" Target="../tags/tag1100.xml"/><Relationship Id="rId28" Type="http://schemas.openxmlformats.org/officeDocument/2006/relationships/tags" Target="../tags/tag1101.xml"/><Relationship Id="rId29" Type="http://schemas.openxmlformats.org/officeDocument/2006/relationships/tags" Target="../tags/tag1102.xml"/><Relationship Id="rId10" Type="http://schemas.openxmlformats.org/officeDocument/2006/relationships/tags" Target="../tags/tag1083.xml"/><Relationship Id="rId11" Type="http://schemas.openxmlformats.org/officeDocument/2006/relationships/tags" Target="../tags/tag1084.xml"/><Relationship Id="rId12" Type="http://schemas.openxmlformats.org/officeDocument/2006/relationships/tags" Target="../tags/tag1085.xml"/></Relationships>
</file>

<file path=ppt/slides/_rels/slide63.xml.rels><?xml version="1.0" encoding="UTF-8" standalone="yes"?>
<Relationships xmlns="http://schemas.openxmlformats.org/package/2006/relationships"><Relationship Id="rId13" Type="http://schemas.openxmlformats.org/officeDocument/2006/relationships/tags" Target="../tags/tag1124.xml"/><Relationship Id="rId14" Type="http://schemas.openxmlformats.org/officeDocument/2006/relationships/tags" Target="../tags/tag1125.xml"/><Relationship Id="rId15" Type="http://schemas.openxmlformats.org/officeDocument/2006/relationships/tags" Target="../tags/tag1126.xml"/><Relationship Id="rId16" Type="http://schemas.openxmlformats.org/officeDocument/2006/relationships/tags" Target="../tags/tag1127.xml"/><Relationship Id="rId17" Type="http://schemas.openxmlformats.org/officeDocument/2006/relationships/tags" Target="../tags/tag1128.xml"/><Relationship Id="rId18" Type="http://schemas.openxmlformats.org/officeDocument/2006/relationships/tags" Target="../tags/tag1129.xml"/><Relationship Id="rId19" Type="http://schemas.openxmlformats.org/officeDocument/2006/relationships/tags" Target="../tags/tag1130.xml"/><Relationship Id="rId50" Type="http://schemas.openxmlformats.org/officeDocument/2006/relationships/image" Target="../media/image156.png"/><Relationship Id="rId51" Type="http://schemas.openxmlformats.org/officeDocument/2006/relationships/image" Target="../media/image180.svg"/><Relationship Id="rId52" Type="http://schemas.openxmlformats.org/officeDocument/2006/relationships/image" Target="../media/image157.png"/><Relationship Id="rId53" Type="http://schemas.openxmlformats.org/officeDocument/2006/relationships/image" Target="../media/image182.svg"/><Relationship Id="rId54" Type="http://schemas.openxmlformats.org/officeDocument/2006/relationships/image" Target="../media/image158.png"/><Relationship Id="rId55" Type="http://schemas.openxmlformats.org/officeDocument/2006/relationships/image" Target="../media/image184.svg"/><Relationship Id="rId56" Type="http://schemas.openxmlformats.org/officeDocument/2006/relationships/image" Target="../media/image159.png"/><Relationship Id="rId57" Type="http://schemas.openxmlformats.org/officeDocument/2006/relationships/image" Target="../media/image186.svg"/><Relationship Id="rId40" Type="http://schemas.openxmlformats.org/officeDocument/2006/relationships/slideLayout" Target="../slideLayouts/slideLayout3.xml"/><Relationship Id="rId41" Type="http://schemas.openxmlformats.org/officeDocument/2006/relationships/notesSlide" Target="../notesSlides/notesSlide58.xml"/><Relationship Id="rId42" Type="http://schemas.openxmlformats.org/officeDocument/2006/relationships/oleObject" Target="../embeddings/oleObject68.bin"/><Relationship Id="rId43" Type="http://schemas.openxmlformats.org/officeDocument/2006/relationships/image" Target="../media/image145.emf"/><Relationship Id="rId44" Type="http://schemas.openxmlformats.org/officeDocument/2006/relationships/image" Target="../media/image153.png"/><Relationship Id="rId45" Type="http://schemas.openxmlformats.org/officeDocument/2006/relationships/image" Target="../media/image174.svg"/><Relationship Id="rId46" Type="http://schemas.openxmlformats.org/officeDocument/2006/relationships/image" Target="../media/image154.png"/><Relationship Id="rId47" Type="http://schemas.openxmlformats.org/officeDocument/2006/relationships/image" Target="../media/image176.svg"/><Relationship Id="rId48" Type="http://schemas.openxmlformats.org/officeDocument/2006/relationships/image" Target="../media/image155.png"/><Relationship Id="rId49" Type="http://schemas.openxmlformats.org/officeDocument/2006/relationships/image" Target="../media/image178.svg"/><Relationship Id="rId1" Type="http://schemas.openxmlformats.org/officeDocument/2006/relationships/vmlDrawing" Target="../drawings/vmlDrawing67.vml"/><Relationship Id="rId2" Type="http://schemas.openxmlformats.org/officeDocument/2006/relationships/tags" Target="../tags/tag1113.xml"/><Relationship Id="rId3" Type="http://schemas.openxmlformats.org/officeDocument/2006/relationships/tags" Target="../tags/tag1114.xml"/><Relationship Id="rId4" Type="http://schemas.openxmlformats.org/officeDocument/2006/relationships/tags" Target="../tags/tag1115.xml"/><Relationship Id="rId5" Type="http://schemas.openxmlformats.org/officeDocument/2006/relationships/tags" Target="../tags/tag1116.xml"/><Relationship Id="rId6" Type="http://schemas.openxmlformats.org/officeDocument/2006/relationships/tags" Target="../tags/tag1117.xml"/><Relationship Id="rId7" Type="http://schemas.openxmlformats.org/officeDocument/2006/relationships/tags" Target="../tags/tag1118.xml"/><Relationship Id="rId8" Type="http://schemas.openxmlformats.org/officeDocument/2006/relationships/tags" Target="../tags/tag1119.xml"/><Relationship Id="rId9" Type="http://schemas.openxmlformats.org/officeDocument/2006/relationships/tags" Target="../tags/tag1120.xml"/><Relationship Id="rId30" Type="http://schemas.openxmlformats.org/officeDocument/2006/relationships/tags" Target="../tags/tag1141.xml"/><Relationship Id="rId31" Type="http://schemas.openxmlformats.org/officeDocument/2006/relationships/tags" Target="../tags/tag1142.xml"/><Relationship Id="rId32" Type="http://schemas.openxmlformats.org/officeDocument/2006/relationships/tags" Target="../tags/tag1143.xml"/><Relationship Id="rId33" Type="http://schemas.openxmlformats.org/officeDocument/2006/relationships/tags" Target="../tags/tag1144.xml"/><Relationship Id="rId34" Type="http://schemas.openxmlformats.org/officeDocument/2006/relationships/tags" Target="../tags/tag1145.xml"/><Relationship Id="rId35" Type="http://schemas.openxmlformats.org/officeDocument/2006/relationships/tags" Target="../tags/tag1146.xml"/><Relationship Id="rId36" Type="http://schemas.openxmlformats.org/officeDocument/2006/relationships/tags" Target="../tags/tag1147.xml"/><Relationship Id="rId37" Type="http://schemas.openxmlformats.org/officeDocument/2006/relationships/tags" Target="../tags/tag1148.xml"/><Relationship Id="rId38" Type="http://schemas.openxmlformats.org/officeDocument/2006/relationships/tags" Target="../tags/tag1149.xml"/><Relationship Id="rId39" Type="http://schemas.openxmlformats.org/officeDocument/2006/relationships/tags" Target="../tags/tag1150.xml"/><Relationship Id="rId20" Type="http://schemas.openxmlformats.org/officeDocument/2006/relationships/tags" Target="../tags/tag1131.xml"/><Relationship Id="rId21" Type="http://schemas.openxmlformats.org/officeDocument/2006/relationships/tags" Target="../tags/tag1132.xml"/><Relationship Id="rId22" Type="http://schemas.openxmlformats.org/officeDocument/2006/relationships/tags" Target="../tags/tag1133.xml"/><Relationship Id="rId23" Type="http://schemas.openxmlformats.org/officeDocument/2006/relationships/tags" Target="../tags/tag1134.xml"/><Relationship Id="rId24" Type="http://schemas.openxmlformats.org/officeDocument/2006/relationships/tags" Target="../tags/tag1135.xml"/><Relationship Id="rId25" Type="http://schemas.openxmlformats.org/officeDocument/2006/relationships/tags" Target="../tags/tag1136.xml"/><Relationship Id="rId26" Type="http://schemas.openxmlformats.org/officeDocument/2006/relationships/tags" Target="../tags/tag1137.xml"/><Relationship Id="rId27" Type="http://schemas.openxmlformats.org/officeDocument/2006/relationships/tags" Target="../tags/tag1138.xml"/><Relationship Id="rId28" Type="http://schemas.openxmlformats.org/officeDocument/2006/relationships/tags" Target="../tags/tag1139.xml"/><Relationship Id="rId29" Type="http://schemas.openxmlformats.org/officeDocument/2006/relationships/tags" Target="../tags/tag1140.xml"/><Relationship Id="rId10" Type="http://schemas.openxmlformats.org/officeDocument/2006/relationships/tags" Target="../tags/tag1121.xml"/><Relationship Id="rId11" Type="http://schemas.openxmlformats.org/officeDocument/2006/relationships/tags" Target="../tags/tag1122.xml"/><Relationship Id="rId12" Type="http://schemas.openxmlformats.org/officeDocument/2006/relationships/tags" Target="../tags/tag1123.xml"/></Relationships>
</file>

<file path=ppt/slides/_rels/slide64.xml.rels><?xml version="1.0" encoding="UTF-8" standalone="yes"?>
<Relationships xmlns="http://schemas.openxmlformats.org/package/2006/relationships"><Relationship Id="rId13" Type="http://schemas.openxmlformats.org/officeDocument/2006/relationships/tags" Target="../tags/tag1162.xml"/><Relationship Id="rId14" Type="http://schemas.openxmlformats.org/officeDocument/2006/relationships/tags" Target="../tags/tag1163.xml"/><Relationship Id="rId15" Type="http://schemas.openxmlformats.org/officeDocument/2006/relationships/tags" Target="../tags/tag1164.xml"/><Relationship Id="rId16" Type="http://schemas.openxmlformats.org/officeDocument/2006/relationships/tags" Target="../tags/tag1165.xml"/><Relationship Id="rId17" Type="http://schemas.openxmlformats.org/officeDocument/2006/relationships/tags" Target="../tags/tag1166.xml"/><Relationship Id="rId18" Type="http://schemas.openxmlformats.org/officeDocument/2006/relationships/tags" Target="../tags/tag1167.xml"/><Relationship Id="rId19" Type="http://schemas.openxmlformats.org/officeDocument/2006/relationships/tags" Target="../tags/tag1168.xml"/><Relationship Id="rId50" Type="http://schemas.openxmlformats.org/officeDocument/2006/relationships/image" Target="../media/image149.png"/><Relationship Id="rId51" Type="http://schemas.openxmlformats.org/officeDocument/2006/relationships/image" Target="../media/image166.svg"/><Relationship Id="rId52" Type="http://schemas.openxmlformats.org/officeDocument/2006/relationships/image" Target="../media/image150.png"/><Relationship Id="rId53" Type="http://schemas.openxmlformats.org/officeDocument/2006/relationships/image" Target="../media/image168.svg"/><Relationship Id="rId54" Type="http://schemas.openxmlformats.org/officeDocument/2006/relationships/image" Target="../media/image151.png"/><Relationship Id="rId55" Type="http://schemas.openxmlformats.org/officeDocument/2006/relationships/image" Target="../media/image170.svg"/><Relationship Id="rId56" Type="http://schemas.openxmlformats.org/officeDocument/2006/relationships/image" Target="../media/image152.png"/><Relationship Id="rId57" Type="http://schemas.openxmlformats.org/officeDocument/2006/relationships/image" Target="../media/image172.svg"/><Relationship Id="rId40" Type="http://schemas.openxmlformats.org/officeDocument/2006/relationships/slideLayout" Target="../slideLayouts/slideLayout3.xml"/><Relationship Id="rId41" Type="http://schemas.openxmlformats.org/officeDocument/2006/relationships/notesSlide" Target="../notesSlides/notesSlide59.xml"/><Relationship Id="rId42" Type="http://schemas.openxmlformats.org/officeDocument/2006/relationships/oleObject" Target="../embeddings/oleObject69.bin"/><Relationship Id="rId43" Type="http://schemas.openxmlformats.org/officeDocument/2006/relationships/image" Target="../media/image145.emf"/><Relationship Id="rId44" Type="http://schemas.openxmlformats.org/officeDocument/2006/relationships/image" Target="../media/image146.png"/><Relationship Id="rId45" Type="http://schemas.openxmlformats.org/officeDocument/2006/relationships/image" Target="../media/image160.svg"/><Relationship Id="rId46" Type="http://schemas.openxmlformats.org/officeDocument/2006/relationships/image" Target="../media/image147.png"/><Relationship Id="rId47" Type="http://schemas.openxmlformats.org/officeDocument/2006/relationships/image" Target="../media/image162.svg"/><Relationship Id="rId48" Type="http://schemas.openxmlformats.org/officeDocument/2006/relationships/image" Target="../media/image148.png"/><Relationship Id="rId49" Type="http://schemas.openxmlformats.org/officeDocument/2006/relationships/image" Target="../media/image164.svg"/><Relationship Id="rId1" Type="http://schemas.openxmlformats.org/officeDocument/2006/relationships/vmlDrawing" Target="../drawings/vmlDrawing68.vml"/><Relationship Id="rId2" Type="http://schemas.openxmlformats.org/officeDocument/2006/relationships/tags" Target="../tags/tag1151.xml"/><Relationship Id="rId3" Type="http://schemas.openxmlformats.org/officeDocument/2006/relationships/tags" Target="../tags/tag1152.xml"/><Relationship Id="rId4" Type="http://schemas.openxmlformats.org/officeDocument/2006/relationships/tags" Target="../tags/tag1153.xml"/><Relationship Id="rId5" Type="http://schemas.openxmlformats.org/officeDocument/2006/relationships/tags" Target="../tags/tag1154.xml"/><Relationship Id="rId6" Type="http://schemas.openxmlformats.org/officeDocument/2006/relationships/tags" Target="../tags/tag1155.xml"/><Relationship Id="rId7" Type="http://schemas.openxmlformats.org/officeDocument/2006/relationships/tags" Target="../tags/tag1156.xml"/><Relationship Id="rId8" Type="http://schemas.openxmlformats.org/officeDocument/2006/relationships/tags" Target="../tags/tag1157.xml"/><Relationship Id="rId9" Type="http://schemas.openxmlformats.org/officeDocument/2006/relationships/tags" Target="../tags/tag1158.xml"/><Relationship Id="rId30" Type="http://schemas.openxmlformats.org/officeDocument/2006/relationships/tags" Target="../tags/tag1179.xml"/><Relationship Id="rId31" Type="http://schemas.openxmlformats.org/officeDocument/2006/relationships/tags" Target="../tags/tag1180.xml"/><Relationship Id="rId32" Type="http://schemas.openxmlformats.org/officeDocument/2006/relationships/tags" Target="../tags/tag1181.xml"/><Relationship Id="rId33" Type="http://schemas.openxmlformats.org/officeDocument/2006/relationships/tags" Target="../tags/tag1182.xml"/><Relationship Id="rId34" Type="http://schemas.openxmlformats.org/officeDocument/2006/relationships/tags" Target="../tags/tag1183.xml"/><Relationship Id="rId35" Type="http://schemas.openxmlformats.org/officeDocument/2006/relationships/tags" Target="../tags/tag1184.xml"/><Relationship Id="rId36" Type="http://schemas.openxmlformats.org/officeDocument/2006/relationships/tags" Target="../tags/tag1185.xml"/><Relationship Id="rId37" Type="http://schemas.openxmlformats.org/officeDocument/2006/relationships/tags" Target="../tags/tag1186.xml"/><Relationship Id="rId38" Type="http://schemas.openxmlformats.org/officeDocument/2006/relationships/tags" Target="../tags/tag1187.xml"/><Relationship Id="rId39" Type="http://schemas.openxmlformats.org/officeDocument/2006/relationships/tags" Target="../tags/tag1188.xml"/><Relationship Id="rId20" Type="http://schemas.openxmlformats.org/officeDocument/2006/relationships/tags" Target="../tags/tag1169.xml"/><Relationship Id="rId21" Type="http://schemas.openxmlformats.org/officeDocument/2006/relationships/tags" Target="../tags/tag1170.xml"/><Relationship Id="rId22" Type="http://schemas.openxmlformats.org/officeDocument/2006/relationships/tags" Target="../tags/tag1171.xml"/><Relationship Id="rId23" Type="http://schemas.openxmlformats.org/officeDocument/2006/relationships/tags" Target="../tags/tag1172.xml"/><Relationship Id="rId24" Type="http://schemas.openxmlformats.org/officeDocument/2006/relationships/tags" Target="../tags/tag1173.xml"/><Relationship Id="rId25" Type="http://schemas.openxmlformats.org/officeDocument/2006/relationships/tags" Target="../tags/tag1174.xml"/><Relationship Id="rId26" Type="http://schemas.openxmlformats.org/officeDocument/2006/relationships/tags" Target="../tags/tag1175.xml"/><Relationship Id="rId27" Type="http://schemas.openxmlformats.org/officeDocument/2006/relationships/tags" Target="../tags/tag1176.xml"/><Relationship Id="rId28" Type="http://schemas.openxmlformats.org/officeDocument/2006/relationships/tags" Target="../tags/tag1177.xml"/><Relationship Id="rId29" Type="http://schemas.openxmlformats.org/officeDocument/2006/relationships/tags" Target="../tags/tag1178.xml"/><Relationship Id="rId10" Type="http://schemas.openxmlformats.org/officeDocument/2006/relationships/tags" Target="../tags/tag1159.xml"/><Relationship Id="rId11" Type="http://schemas.openxmlformats.org/officeDocument/2006/relationships/tags" Target="../tags/tag1160.xml"/><Relationship Id="rId12" Type="http://schemas.openxmlformats.org/officeDocument/2006/relationships/tags" Target="../tags/tag1161.xml"/></Relationships>
</file>

<file path=ppt/slides/_rels/slide65.xml.rels><?xml version="1.0" encoding="UTF-8" standalone="yes"?>
<Relationships xmlns="http://schemas.openxmlformats.org/package/2006/relationships"><Relationship Id="rId13" Type="http://schemas.openxmlformats.org/officeDocument/2006/relationships/tags" Target="../tags/tag1200.xml"/><Relationship Id="rId14" Type="http://schemas.openxmlformats.org/officeDocument/2006/relationships/tags" Target="../tags/tag1201.xml"/><Relationship Id="rId15" Type="http://schemas.openxmlformats.org/officeDocument/2006/relationships/tags" Target="../tags/tag1202.xml"/><Relationship Id="rId16" Type="http://schemas.openxmlformats.org/officeDocument/2006/relationships/tags" Target="../tags/tag1203.xml"/><Relationship Id="rId17" Type="http://schemas.openxmlformats.org/officeDocument/2006/relationships/tags" Target="../tags/tag1204.xml"/><Relationship Id="rId18" Type="http://schemas.openxmlformats.org/officeDocument/2006/relationships/tags" Target="../tags/tag1205.xml"/><Relationship Id="rId19" Type="http://schemas.openxmlformats.org/officeDocument/2006/relationships/tags" Target="../tags/tag1206.xml"/><Relationship Id="rId50" Type="http://schemas.openxmlformats.org/officeDocument/2006/relationships/image" Target="../media/image156.png"/><Relationship Id="rId51" Type="http://schemas.openxmlformats.org/officeDocument/2006/relationships/image" Target="../media/image180.svg"/><Relationship Id="rId52" Type="http://schemas.openxmlformats.org/officeDocument/2006/relationships/image" Target="../media/image157.png"/><Relationship Id="rId53" Type="http://schemas.openxmlformats.org/officeDocument/2006/relationships/image" Target="../media/image182.svg"/><Relationship Id="rId54" Type="http://schemas.openxmlformats.org/officeDocument/2006/relationships/image" Target="../media/image158.png"/><Relationship Id="rId55" Type="http://schemas.openxmlformats.org/officeDocument/2006/relationships/image" Target="../media/image184.svg"/><Relationship Id="rId56" Type="http://schemas.openxmlformats.org/officeDocument/2006/relationships/image" Target="../media/image159.png"/><Relationship Id="rId57" Type="http://schemas.openxmlformats.org/officeDocument/2006/relationships/image" Target="../media/image186.svg"/><Relationship Id="rId40" Type="http://schemas.openxmlformats.org/officeDocument/2006/relationships/slideLayout" Target="../slideLayouts/slideLayout3.xml"/><Relationship Id="rId41" Type="http://schemas.openxmlformats.org/officeDocument/2006/relationships/notesSlide" Target="../notesSlides/notesSlide60.xml"/><Relationship Id="rId42" Type="http://schemas.openxmlformats.org/officeDocument/2006/relationships/oleObject" Target="../embeddings/oleObject70.bin"/><Relationship Id="rId43" Type="http://schemas.openxmlformats.org/officeDocument/2006/relationships/image" Target="../media/image145.emf"/><Relationship Id="rId44" Type="http://schemas.openxmlformats.org/officeDocument/2006/relationships/image" Target="../media/image153.png"/><Relationship Id="rId45" Type="http://schemas.openxmlformats.org/officeDocument/2006/relationships/image" Target="../media/image174.svg"/><Relationship Id="rId46" Type="http://schemas.openxmlformats.org/officeDocument/2006/relationships/image" Target="../media/image154.png"/><Relationship Id="rId47" Type="http://schemas.openxmlformats.org/officeDocument/2006/relationships/image" Target="../media/image176.svg"/><Relationship Id="rId48" Type="http://schemas.openxmlformats.org/officeDocument/2006/relationships/image" Target="../media/image155.png"/><Relationship Id="rId49" Type="http://schemas.openxmlformats.org/officeDocument/2006/relationships/image" Target="../media/image178.svg"/><Relationship Id="rId1" Type="http://schemas.openxmlformats.org/officeDocument/2006/relationships/vmlDrawing" Target="../drawings/vmlDrawing69.vml"/><Relationship Id="rId2" Type="http://schemas.openxmlformats.org/officeDocument/2006/relationships/tags" Target="../tags/tag1189.xml"/><Relationship Id="rId3" Type="http://schemas.openxmlformats.org/officeDocument/2006/relationships/tags" Target="../tags/tag1190.xml"/><Relationship Id="rId4" Type="http://schemas.openxmlformats.org/officeDocument/2006/relationships/tags" Target="../tags/tag1191.xml"/><Relationship Id="rId5" Type="http://schemas.openxmlformats.org/officeDocument/2006/relationships/tags" Target="../tags/tag1192.xml"/><Relationship Id="rId6" Type="http://schemas.openxmlformats.org/officeDocument/2006/relationships/tags" Target="../tags/tag1193.xml"/><Relationship Id="rId7" Type="http://schemas.openxmlformats.org/officeDocument/2006/relationships/tags" Target="../tags/tag1194.xml"/><Relationship Id="rId8" Type="http://schemas.openxmlformats.org/officeDocument/2006/relationships/tags" Target="../tags/tag1195.xml"/><Relationship Id="rId9" Type="http://schemas.openxmlformats.org/officeDocument/2006/relationships/tags" Target="../tags/tag1196.xml"/><Relationship Id="rId30" Type="http://schemas.openxmlformats.org/officeDocument/2006/relationships/tags" Target="../tags/tag1217.xml"/><Relationship Id="rId31" Type="http://schemas.openxmlformats.org/officeDocument/2006/relationships/tags" Target="../tags/tag1218.xml"/><Relationship Id="rId32" Type="http://schemas.openxmlformats.org/officeDocument/2006/relationships/tags" Target="../tags/tag1219.xml"/><Relationship Id="rId33" Type="http://schemas.openxmlformats.org/officeDocument/2006/relationships/tags" Target="../tags/tag1220.xml"/><Relationship Id="rId34" Type="http://schemas.openxmlformats.org/officeDocument/2006/relationships/tags" Target="../tags/tag1221.xml"/><Relationship Id="rId35" Type="http://schemas.openxmlformats.org/officeDocument/2006/relationships/tags" Target="../tags/tag1222.xml"/><Relationship Id="rId36" Type="http://schemas.openxmlformats.org/officeDocument/2006/relationships/tags" Target="../tags/tag1223.xml"/><Relationship Id="rId37" Type="http://schemas.openxmlformats.org/officeDocument/2006/relationships/tags" Target="../tags/tag1224.xml"/><Relationship Id="rId38" Type="http://schemas.openxmlformats.org/officeDocument/2006/relationships/tags" Target="../tags/tag1225.xml"/><Relationship Id="rId39" Type="http://schemas.openxmlformats.org/officeDocument/2006/relationships/tags" Target="../tags/tag1226.xml"/><Relationship Id="rId20" Type="http://schemas.openxmlformats.org/officeDocument/2006/relationships/tags" Target="../tags/tag1207.xml"/><Relationship Id="rId21" Type="http://schemas.openxmlformats.org/officeDocument/2006/relationships/tags" Target="../tags/tag1208.xml"/><Relationship Id="rId22" Type="http://schemas.openxmlformats.org/officeDocument/2006/relationships/tags" Target="../tags/tag1209.xml"/><Relationship Id="rId23" Type="http://schemas.openxmlformats.org/officeDocument/2006/relationships/tags" Target="../tags/tag1210.xml"/><Relationship Id="rId24" Type="http://schemas.openxmlformats.org/officeDocument/2006/relationships/tags" Target="../tags/tag1211.xml"/><Relationship Id="rId25" Type="http://schemas.openxmlformats.org/officeDocument/2006/relationships/tags" Target="../tags/tag1212.xml"/><Relationship Id="rId26" Type="http://schemas.openxmlformats.org/officeDocument/2006/relationships/tags" Target="../tags/tag1213.xml"/><Relationship Id="rId27" Type="http://schemas.openxmlformats.org/officeDocument/2006/relationships/tags" Target="../tags/tag1214.xml"/><Relationship Id="rId28" Type="http://schemas.openxmlformats.org/officeDocument/2006/relationships/tags" Target="../tags/tag1215.xml"/><Relationship Id="rId29" Type="http://schemas.openxmlformats.org/officeDocument/2006/relationships/tags" Target="../tags/tag1216.xml"/><Relationship Id="rId10" Type="http://schemas.openxmlformats.org/officeDocument/2006/relationships/tags" Target="../tags/tag1197.xml"/><Relationship Id="rId11" Type="http://schemas.openxmlformats.org/officeDocument/2006/relationships/tags" Target="../tags/tag1198.xml"/><Relationship Id="rId12" Type="http://schemas.openxmlformats.org/officeDocument/2006/relationships/tags" Target="../tags/tag1199.xml"/></Relationships>
</file>

<file path=ppt/slides/_rels/slide66.xml.rels><?xml version="1.0" encoding="UTF-8" standalone="yes"?>
<Relationships xmlns="http://schemas.openxmlformats.org/package/2006/relationships"><Relationship Id="rId13" Type="http://schemas.openxmlformats.org/officeDocument/2006/relationships/tags" Target="../tags/tag1238.xml"/><Relationship Id="rId14" Type="http://schemas.openxmlformats.org/officeDocument/2006/relationships/tags" Target="../tags/tag1239.xml"/><Relationship Id="rId15" Type="http://schemas.openxmlformats.org/officeDocument/2006/relationships/tags" Target="../tags/tag1240.xml"/><Relationship Id="rId16" Type="http://schemas.openxmlformats.org/officeDocument/2006/relationships/tags" Target="../tags/tag1241.xml"/><Relationship Id="rId17" Type="http://schemas.openxmlformats.org/officeDocument/2006/relationships/tags" Target="../tags/tag1242.xml"/><Relationship Id="rId18" Type="http://schemas.openxmlformats.org/officeDocument/2006/relationships/tags" Target="../tags/tag1243.xml"/><Relationship Id="rId19" Type="http://schemas.openxmlformats.org/officeDocument/2006/relationships/tags" Target="../tags/tag1244.xml"/><Relationship Id="rId50" Type="http://schemas.openxmlformats.org/officeDocument/2006/relationships/image" Target="../media/image156.png"/><Relationship Id="rId51" Type="http://schemas.openxmlformats.org/officeDocument/2006/relationships/image" Target="../media/image180.svg"/><Relationship Id="rId52" Type="http://schemas.openxmlformats.org/officeDocument/2006/relationships/image" Target="../media/image157.png"/><Relationship Id="rId53" Type="http://schemas.openxmlformats.org/officeDocument/2006/relationships/image" Target="../media/image182.svg"/><Relationship Id="rId54" Type="http://schemas.openxmlformats.org/officeDocument/2006/relationships/image" Target="../media/image158.png"/><Relationship Id="rId55" Type="http://schemas.openxmlformats.org/officeDocument/2006/relationships/image" Target="../media/image184.svg"/><Relationship Id="rId56" Type="http://schemas.openxmlformats.org/officeDocument/2006/relationships/image" Target="../media/image159.png"/><Relationship Id="rId57" Type="http://schemas.openxmlformats.org/officeDocument/2006/relationships/image" Target="../media/image186.svg"/><Relationship Id="rId40" Type="http://schemas.openxmlformats.org/officeDocument/2006/relationships/slideLayout" Target="../slideLayouts/slideLayout3.xml"/><Relationship Id="rId41" Type="http://schemas.openxmlformats.org/officeDocument/2006/relationships/notesSlide" Target="../notesSlides/notesSlide61.xml"/><Relationship Id="rId42" Type="http://schemas.openxmlformats.org/officeDocument/2006/relationships/oleObject" Target="../embeddings/oleObject71.bin"/><Relationship Id="rId43" Type="http://schemas.openxmlformats.org/officeDocument/2006/relationships/image" Target="../media/image145.emf"/><Relationship Id="rId44" Type="http://schemas.openxmlformats.org/officeDocument/2006/relationships/image" Target="../media/image153.png"/><Relationship Id="rId45" Type="http://schemas.openxmlformats.org/officeDocument/2006/relationships/image" Target="../media/image174.svg"/><Relationship Id="rId46" Type="http://schemas.openxmlformats.org/officeDocument/2006/relationships/image" Target="../media/image154.png"/><Relationship Id="rId47" Type="http://schemas.openxmlformats.org/officeDocument/2006/relationships/image" Target="../media/image176.svg"/><Relationship Id="rId48" Type="http://schemas.openxmlformats.org/officeDocument/2006/relationships/image" Target="../media/image155.png"/><Relationship Id="rId49" Type="http://schemas.openxmlformats.org/officeDocument/2006/relationships/image" Target="../media/image178.svg"/><Relationship Id="rId1" Type="http://schemas.openxmlformats.org/officeDocument/2006/relationships/vmlDrawing" Target="../drawings/vmlDrawing70.vml"/><Relationship Id="rId2" Type="http://schemas.openxmlformats.org/officeDocument/2006/relationships/tags" Target="../tags/tag1227.xml"/><Relationship Id="rId3" Type="http://schemas.openxmlformats.org/officeDocument/2006/relationships/tags" Target="../tags/tag1228.xml"/><Relationship Id="rId4" Type="http://schemas.openxmlformats.org/officeDocument/2006/relationships/tags" Target="../tags/tag1229.xml"/><Relationship Id="rId5" Type="http://schemas.openxmlformats.org/officeDocument/2006/relationships/tags" Target="../tags/tag1230.xml"/><Relationship Id="rId6" Type="http://schemas.openxmlformats.org/officeDocument/2006/relationships/tags" Target="../tags/tag1231.xml"/><Relationship Id="rId7" Type="http://schemas.openxmlformats.org/officeDocument/2006/relationships/tags" Target="../tags/tag1232.xml"/><Relationship Id="rId8" Type="http://schemas.openxmlformats.org/officeDocument/2006/relationships/tags" Target="../tags/tag1233.xml"/><Relationship Id="rId9" Type="http://schemas.openxmlformats.org/officeDocument/2006/relationships/tags" Target="../tags/tag1234.xml"/><Relationship Id="rId30" Type="http://schemas.openxmlformats.org/officeDocument/2006/relationships/tags" Target="../tags/tag1255.xml"/><Relationship Id="rId31" Type="http://schemas.openxmlformats.org/officeDocument/2006/relationships/tags" Target="../tags/tag1256.xml"/><Relationship Id="rId32" Type="http://schemas.openxmlformats.org/officeDocument/2006/relationships/tags" Target="../tags/tag1257.xml"/><Relationship Id="rId33" Type="http://schemas.openxmlformats.org/officeDocument/2006/relationships/tags" Target="../tags/tag1258.xml"/><Relationship Id="rId34" Type="http://schemas.openxmlformats.org/officeDocument/2006/relationships/tags" Target="../tags/tag1259.xml"/><Relationship Id="rId35" Type="http://schemas.openxmlformats.org/officeDocument/2006/relationships/tags" Target="../tags/tag1260.xml"/><Relationship Id="rId36" Type="http://schemas.openxmlformats.org/officeDocument/2006/relationships/tags" Target="../tags/tag1261.xml"/><Relationship Id="rId37" Type="http://schemas.openxmlformats.org/officeDocument/2006/relationships/tags" Target="../tags/tag1262.xml"/><Relationship Id="rId38" Type="http://schemas.openxmlformats.org/officeDocument/2006/relationships/tags" Target="../tags/tag1263.xml"/><Relationship Id="rId39" Type="http://schemas.openxmlformats.org/officeDocument/2006/relationships/tags" Target="../tags/tag1264.xml"/><Relationship Id="rId20" Type="http://schemas.openxmlformats.org/officeDocument/2006/relationships/tags" Target="../tags/tag1245.xml"/><Relationship Id="rId21" Type="http://schemas.openxmlformats.org/officeDocument/2006/relationships/tags" Target="../tags/tag1246.xml"/><Relationship Id="rId22" Type="http://schemas.openxmlformats.org/officeDocument/2006/relationships/tags" Target="../tags/tag1247.xml"/><Relationship Id="rId23" Type="http://schemas.openxmlformats.org/officeDocument/2006/relationships/tags" Target="../tags/tag1248.xml"/><Relationship Id="rId24" Type="http://schemas.openxmlformats.org/officeDocument/2006/relationships/tags" Target="../tags/tag1249.xml"/><Relationship Id="rId25" Type="http://schemas.openxmlformats.org/officeDocument/2006/relationships/tags" Target="../tags/tag1250.xml"/><Relationship Id="rId26" Type="http://schemas.openxmlformats.org/officeDocument/2006/relationships/tags" Target="../tags/tag1251.xml"/><Relationship Id="rId27" Type="http://schemas.openxmlformats.org/officeDocument/2006/relationships/tags" Target="../tags/tag1252.xml"/><Relationship Id="rId28" Type="http://schemas.openxmlformats.org/officeDocument/2006/relationships/tags" Target="../tags/tag1253.xml"/><Relationship Id="rId29" Type="http://schemas.openxmlformats.org/officeDocument/2006/relationships/tags" Target="../tags/tag1254.xml"/><Relationship Id="rId10" Type="http://schemas.openxmlformats.org/officeDocument/2006/relationships/tags" Target="../tags/tag1235.xml"/><Relationship Id="rId11" Type="http://schemas.openxmlformats.org/officeDocument/2006/relationships/tags" Target="../tags/tag1236.xml"/><Relationship Id="rId12" Type="http://schemas.openxmlformats.org/officeDocument/2006/relationships/tags" Target="../tags/tag1237.xml"/></Relationships>
</file>

<file path=ppt/slides/_rels/slide67.xml.rels><?xml version="1.0" encoding="UTF-8" standalone="yes"?>
<Relationships xmlns="http://schemas.openxmlformats.org/package/2006/relationships"><Relationship Id="rId3" Type="http://schemas.openxmlformats.org/officeDocument/2006/relationships/tags" Target="../tags/tag1266.xml"/><Relationship Id="rId4" Type="http://schemas.openxmlformats.org/officeDocument/2006/relationships/slideLayout" Target="../slideLayouts/slideLayout3.xml"/><Relationship Id="rId5" Type="http://schemas.openxmlformats.org/officeDocument/2006/relationships/notesSlide" Target="../notesSlides/notesSlide62.xml"/><Relationship Id="rId6" Type="http://schemas.openxmlformats.org/officeDocument/2006/relationships/oleObject" Target="../embeddings/oleObject72.bin"/><Relationship Id="rId7" Type="http://schemas.openxmlformats.org/officeDocument/2006/relationships/image" Target="../media/image97.emf"/><Relationship Id="rId1" Type="http://schemas.openxmlformats.org/officeDocument/2006/relationships/vmlDrawing" Target="../drawings/vmlDrawing71.vml"/><Relationship Id="rId2" Type="http://schemas.openxmlformats.org/officeDocument/2006/relationships/tags" Target="../tags/tag1265.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4.xml"/><Relationship Id="rId4" Type="http://schemas.openxmlformats.org/officeDocument/2006/relationships/oleObject" Target="../embeddings/oleObject73.bin"/><Relationship Id="rId5" Type="http://schemas.openxmlformats.org/officeDocument/2006/relationships/image" Target="../media/image3.emf"/><Relationship Id="rId1" Type="http://schemas.openxmlformats.org/officeDocument/2006/relationships/vmlDrawing" Target="../drawings/vmlDrawing72.vml"/><Relationship Id="rId2" Type="http://schemas.openxmlformats.org/officeDocument/2006/relationships/tags" Target="../tags/tag126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tags" Target="../tags/tag77.xml"/><Relationship Id="rId4" Type="http://schemas.openxmlformats.org/officeDocument/2006/relationships/slideLayout" Target="../slideLayouts/slideLayout3.xml"/><Relationship Id="rId5" Type="http://schemas.openxmlformats.org/officeDocument/2006/relationships/notesSlide" Target="../notesSlides/notesSlide8.xml"/><Relationship Id="rId6" Type="http://schemas.openxmlformats.org/officeDocument/2006/relationships/oleObject" Target="../embeddings/oleObject15.bin"/><Relationship Id="rId7" Type="http://schemas.openxmlformats.org/officeDocument/2006/relationships/image" Target="../media/image41.emf"/><Relationship Id="rId8" Type="http://schemas.openxmlformats.org/officeDocument/2006/relationships/image" Target="../media/image54.jpg"/><Relationship Id="rId9" Type="http://schemas.openxmlformats.org/officeDocument/2006/relationships/image" Target="../media/image55.jpeg"/><Relationship Id="rId10" Type="http://schemas.openxmlformats.org/officeDocument/2006/relationships/image" Target="../media/image56.jpg"/><Relationship Id="rId1" Type="http://schemas.openxmlformats.org/officeDocument/2006/relationships/vmlDrawing" Target="../drawings/vmlDrawing15.vml"/><Relationship Id="rId2" Type="http://schemas.openxmlformats.org/officeDocument/2006/relationships/tags" Target="../tags/tag76.xml"/></Relationships>
</file>

<file path=ppt/slides/_rels/slide9.xml.rels><?xml version="1.0" encoding="UTF-8" standalone="yes"?>
<Relationships xmlns="http://schemas.openxmlformats.org/package/2006/relationships"><Relationship Id="rId9" Type="http://schemas.openxmlformats.org/officeDocument/2006/relationships/tags" Target="../tags/tag85.xml"/><Relationship Id="rId20" Type="http://schemas.openxmlformats.org/officeDocument/2006/relationships/oleObject" Target="../embeddings/oleObject16.bin"/><Relationship Id="rId21" Type="http://schemas.openxmlformats.org/officeDocument/2006/relationships/image" Target="../media/image52.emf"/><Relationship Id="rId22" Type="http://schemas.openxmlformats.org/officeDocument/2006/relationships/image" Target="../media/image57.png"/><Relationship Id="rId23" Type="http://schemas.openxmlformats.org/officeDocument/2006/relationships/image" Target="../media/image58.png"/><Relationship Id="rId24" Type="http://schemas.microsoft.com/office/2007/relationships/hdphoto" Target="../media/hdphoto11.wdp"/><Relationship Id="rId25" Type="http://schemas.openxmlformats.org/officeDocument/2006/relationships/image" Target="../media/image59.png"/><Relationship Id="rId26" Type="http://schemas.microsoft.com/office/2007/relationships/hdphoto" Target="../media/hdphoto12.wdp"/><Relationship Id="rId27" Type="http://schemas.openxmlformats.org/officeDocument/2006/relationships/image" Target="../media/image60.png"/><Relationship Id="rId28" Type="http://schemas.microsoft.com/office/2007/relationships/hdphoto" Target="../media/hdphoto13.wdp"/><Relationship Id="rId29" Type="http://schemas.openxmlformats.org/officeDocument/2006/relationships/image" Target="../media/image61.png"/><Relationship Id="rId30" Type="http://schemas.microsoft.com/office/2007/relationships/hdphoto" Target="../media/hdphoto14.wdp"/><Relationship Id="rId31" Type="http://schemas.openxmlformats.org/officeDocument/2006/relationships/image" Target="../media/image62.png"/><Relationship Id="rId32" Type="http://schemas.microsoft.com/office/2007/relationships/hdphoto" Target="../media/hdphoto15.wdp"/><Relationship Id="rId10" Type="http://schemas.openxmlformats.org/officeDocument/2006/relationships/tags" Target="../tags/tag86.xml"/><Relationship Id="rId11" Type="http://schemas.openxmlformats.org/officeDocument/2006/relationships/tags" Target="../tags/tag87.xml"/><Relationship Id="rId12" Type="http://schemas.openxmlformats.org/officeDocument/2006/relationships/tags" Target="../tags/tag88.xml"/><Relationship Id="rId13" Type="http://schemas.openxmlformats.org/officeDocument/2006/relationships/tags" Target="../tags/tag89.xml"/><Relationship Id="rId14" Type="http://schemas.openxmlformats.org/officeDocument/2006/relationships/tags" Target="../tags/tag90.xml"/><Relationship Id="rId15" Type="http://schemas.openxmlformats.org/officeDocument/2006/relationships/tags" Target="../tags/tag91.xml"/><Relationship Id="rId16" Type="http://schemas.openxmlformats.org/officeDocument/2006/relationships/tags" Target="../tags/tag92.xml"/><Relationship Id="rId17" Type="http://schemas.openxmlformats.org/officeDocument/2006/relationships/tags" Target="../tags/tag93.xml"/><Relationship Id="rId18" Type="http://schemas.openxmlformats.org/officeDocument/2006/relationships/slideLayout" Target="../slideLayouts/slideLayout3.xml"/><Relationship Id="rId19" Type="http://schemas.openxmlformats.org/officeDocument/2006/relationships/notesSlide" Target="../notesSlides/notesSlide9.xml"/><Relationship Id="rId1" Type="http://schemas.openxmlformats.org/officeDocument/2006/relationships/vmlDrawing" Target="../drawings/vmlDrawing16.vml"/><Relationship Id="rId2" Type="http://schemas.openxmlformats.org/officeDocument/2006/relationships/tags" Target="../tags/tag78.xml"/><Relationship Id="rId3" Type="http://schemas.openxmlformats.org/officeDocument/2006/relationships/tags" Target="../tags/tag79.xml"/><Relationship Id="rId4" Type="http://schemas.openxmlformats.org/officeDocument/2006/relationships/tags" Target="../tags/tag80.xml"/><Relationship Id="rId5" Type="http://schemas.openxmlformats.org/officeDocument/2006/relationships/tags" Target="../tags/tag81.xml"/><Relationship Id="rId6" Type="http://schemas.openxmlformats.org/officeDocument/2006/relationships/tags" Target="../tags/tag82.xml"/><Relationship Id="rId7" Type="http://schemas.openxmlformats.org/officeDocument/2006/relationships/tags" Target="../tags/tag83.xml"/><Relationship Id="rId8" Type="http://schemas.openxmlformats.org/officeDocument/2006/relationships/tags" Target="../tags/tag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 9" descr="start_neu.jpg"/>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9144000" cy="6858000"/>
          </a:xfrm>
          <a:prstGeom prst="rect">
            <a:avLst/>
          </a:prstGeom>
        </p:spPr>
      </p:pic>
      <p:graphicFrame>
        <p:nvGraphicFramePr>
          <p:cNvPr id="14" name="Objek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4288" name="think-cell Folie" r:id="rId8" imgW="6350000" imgH="6350000" progId="TCLayout.ActiveDocument.1">
                  <p:embed/>
                </p:oleObj>
              </mc:Choice>
              <mc:Fallback>
                <p:oleObj name="think-cell Folie" r:id="rId8" imgW="6350000" imgH="6350000" progId="TCLayout.ActiveDocument.1">
                  <p:embed/>
                  <p:pic>
                    <p:nvPicPr>
                      <p:cNvPr id="14" name="Objekt 13"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Inhaltsplatzhalter 4"/>
          <p:cNvSpPr>
            <a:spLocks noGrp="1"/>
          </p:cNvSpPr>
          <p:nvPr>
            <p:ph sz="quarter" idx="11"/>
            <p:custDataLst>
              <p:tags r:id="rId3"/>
            </p:custDataLst>
          </p:nvPr>
        </p:nvSpPr>
        <p:spPr>
          <a:xfrm>
            <a:off x="1002422" y="4972080"/>
            <a:ext cx="5441786" cy="329128"/>
          </a:xfrm>
          <a:noFill/>
        </p:spPr>
        <p:txBody>
          <a:bodyPr/>
          <a:lstStyle/>
          <a:p>
            <a:pPr lvl="1"/>
            <a:r>
              <a:rPr lang="de-DE" dirty="0"/>
              <a:t>Gelsenkirchen, 2. November 2019</a:t>
            </a:r>
          </a:p>
        </p:txBody>
      </p:sp>
      <p:pic>
        <p:nvPicPr>
          <p:cNvPr id="8" name="Picture 26" descr="C:\Users\bildwechsel\Desktop\Civity PPT Templates\civity_logo_ppt.jpg"/>
          <p:cNvPicPr>
            <a:picLocks noChangeAspect="1" noChangeArrowheads="1"/>
          </p:cNvPicPr>
          <p:nvPr>
            <p:custDataLst>
              <p:tags r:id="rId4"/>
            </p:custDataLst>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320269" y="6115744"/>
            <a:ext cx="2268000" cy="500656"/>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3"/>
          <p:cNvSpPr txBox="1">
            <a:spLocks/>
          </p:cNvSpPr>
          <p:nvPr/>
        </p:nvSpPr>
        <p:spPr>
          <a:xfrm>
            <a:off x="1002422" y="1237938"/>
            <a:ext cx="5441786" cy="606886"/>
          </a:xfrm>
          <a:prstGeom prst="rect">
            <a:avLst/>
          </a:prstGeom>
          <a:noFill/>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baseline="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15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r>
              <a:rPr lang="de-DE" sz="2300" b="1" dirty="0">
                <a:solidFill>
                  <a:schemeClr val="bg1"/>
                </a:solidFill>
                <a:cs typeface="Gotham Bold" pitchFamily="50" charset="0"/>
              </a:rPr>
              <a:t>civity Management Consultants</a:t>
            </a:r>
          </a:p>
        </p:txBody>
      </p:sp>
      <p:sp>
        <p:nvSpPr>
          <p:cNvPr id="9" name="Inhaltsplatzhalter 3"/>
          <p:cNvSpPr txBox="1">
            <a:spLocks/>
          </p:cNvSpPr>
          <p:nvPr/>
        </p:nvSpPr>
        <p:spPr>
          <a:xfrm>
            <a:off x="949256" y="1958018"/>
            <a:ext cx="7439094" cy="606886"/>
          </a:xfrm>
          <a:prstGeom prst="rect">
            <a:avLst/>
          </a:prstGeom>
          <a:noFill/>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baseline="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15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r>
              <a:rPr lang="de-DE" sz="4000" dirty="0">
                <a:solidFill>
                  <a:srgbClr val="B91215"/>
                </a:solidFill>
                <a:latin typeface="Gotham Light" pitchFamily="50" charset="0"/>
                <a:cs typeface="Gotham Light" pitchFamily="50" charset="0"/>
              </a:rPr>
              <a:t>Der „Wiener Weg“ und die 365-Euro-Jahreskarte: Lernerfahrungen für eine Mobilität mit Zukunft</a:t>
            </a:r>
          </a:p>
        </p:txBody>
      </p:sp>
      <p:sp>
        <p:nvSpPr>
          <p:cNvPr id="2" name="Inhaltsplatzhalter 1"/>
          <p:cNvSpPr>
            <a:spLocks noGrp="1"/>
          </p:cNvSpPr>
          <p:nvPr>
            <p:ph sz="quarter" idx="10"/>
          </p:nvPr>
        </p:nvSpPr>
        <p:spPr>
          <a:xfrm>
            <a:off x="971600" y="4365104"/>
            <a:ext cx="5441786" cy="606886"/>
          </a:xfrm>
        </p:spPr>
        <p:txBody>
          <a:bodyPr/>
          <a:lstStyle/>
          <a:p>
            <a:r>
              <a:rPr lang="de-DE" dirty="0">
                <a:solidFill>
                  <a:schemeClr val="tx1"/>
                </a:solidFill>
              </a:rPr>
              <a:t>Bundesarbeitsgemeinschaft Mobilität &amp; Verkehr</a:t>
            </a:r>
          </a:p>
          <a:p>
            <a:r>
              <a:rPr lang="de-DE" dirty="0">
                <a:solidFill>
                  <a:schemeClr val="tx1"/>
                </a:solidFill>
              </a:rPr>
              <a:t>Bündnis 90/Die Grünen</a:t>
            </a:r>
          </a:p>
        </p:txBody>
      </p:sp>
    </p:spTree>
    <p:extLst>
      <p:ext uri="{BB962C8B-B14F-4D97-AF65-F5344CB8AC3E}">
        <p14:creationId xmlns:p14="http://schemas.microsoft.com/office/powerpoint/2010/main" val="1349179238"/>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1450" name="think-cell Folie" r:id="rId7" imgW="270" imgH="270" progId="TCLayout.ActiveDocument.1">
                  <p:embed/>
                </p:oleObj>
              </mc:Choice>
              <mc:Fallback>
                <p:oleObj name="think-cell Folie" r:id="rId7" imgW="270" imgH="270" progId="TCLayout.ActiveDocument.1">
                  <p:embed/>
                  <p:pic>
                    <p:nvPicPr>
                      <p:cNvPr id="6" name="Objekt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FD18AB81-62FB-4C8D-8B5E-A4ED27A98461}"/>
              </a:ext>
            </a:extLst>
          </p:cNvPr>
          <p:cNvSpPr>
            <a:spLocks noGrp="1"/>
          </p:cNvSpPr>
          <p:nvPr>
            <p:ph type="title"/>
          </p:nvPr>
        </p:nvSpPr>
        <p:spPr>
          <a:xfrm>
            <a:off x="446995" y="281196"/>
            <a:ext cx="8243259" cy="648072"/>
          </a:xfrm>
        </p:spPr>
        <p:txBody>
          <a:bodyPr/>
          <a:lstStyle/>
          <a:p>
            <a:r>
              <a:rPr lang="de-DE" dirty="0"/>
              <a:t>Es ist </a:t>
            </a:r>
            <a:r>
              <a:rPr lang="de-DE" i="1" dirty="0"/>
              <a:t>kein</a:t>
            </a:r>
            <a:r>
              <a:rPr lang="de-DE" dirty="0"/>
              <a:t> </a:t>
            </a:r>
            <a:r>
              <a:rPr lang="de-DE" i="1" dirty="0"/>
              <a:t>signifikanter</a:t>
            </a:r>
            <a:r>
              <a:rPr lang="de-DE" dirty="0"/>
              <a:t> Zusammenhang zwischen der Preisabsenkung und der Modal-Split-Entwicklung erkennbar</a:t>
            </a:r>
          </a:p>
        </p:txBody>
      </p:sp>
      <p:sp>
        <p:nvSpPr>
          <p:cNvPr id="3" name="Inhaltsplatzhalter 2">
            <a:extLst>
              <a:ext uri="{FF2B5EF4-FFF2-40B4-BE49-F238E27FC236}">
                <a16:creationId xmlns:a16="http://schemas.microsoft.com/office/drawing/2014/main" xmlns="" id="{A9C37537-2B9C-45AD-B573-E53FF097A288}"/>
              </a:ext>
            </a:extLst>
          </p:cNvPr>
          <p:cNvSpPr>
            <a:spLocks noGrp="1"/>
          </p:cNvSpPr>
          <p:nvPr>
            <p:ph idx="1"/>
          </p:nvPr>
        </p:nvSpPr>
        <p:spPr>
          <a:xfrm>
            <a:off x="451758" y="1083558"/>
            <a:ext cx="6635010" cy="292316"/>
          </a:xfrm>
        </p:spPr>
        <p:txBody>
          <a:bodyPr/>
          <a:lstStyle/>
          <a:p>
            <a:r>
              <a:rPr lang="de-DE" dirty="0"/>
              <a:t>Effekte der Tarifreform</a:t>
            </a:r>
          </a:p>
        </p:txBody>
      </p:sp>
      <p:sp>
        <p:nvSpPr>
          <p:cNvPr id="4" name="Foliennummernplatzhalter 3">
            <a:extLst>
              <a:ext uri="{FF2B5EF4-FFF2-40B4-BE49-F238E27FC236}">
                <a16:creationId xmlns:a16="http://schemas.microsoft.com/office/drawing/2014/main" xmlns="" id="{B7EF17C9-3399-4461-A2FC-C726A1BD7D85}"/>
              </a:ext>
            </a:extLst>
          </p:cNvPr>
          <p:cNvSpPr>
            <a:spLocks noGrp="1"/>
          </p:cNvSpPr>
          <p:nvPr>
            <p:ph type="sldNum" sz="quarter" idx="11"/>
          </p:nvPr>
        </p:nvSpPr>
        <p:spPr/>
        <p:txBody>
          <a:bodyPr/>
          <a:lstStyle/>
          <a:p>
            <a:fld id="{CD21EFEB-933F-4F46-A5AD-B6372944D9E5}" type="slidenum">
              <a:rPr lang="de-DE" smtClean="0"/>
              <a:pPr/>
              <a:t>10</a:t>
            </a:fld>
            <a:endParaRPr lang="de-DE" dirty="0"/>
          </a:p>
        </p:txBody>
      </p:sp>
      <p:sp>
        <p:nvSpPr>
          <p:cNvPr id="8" name="Inhaltsplatzhalter 2">
            <a:extLst>
              <a:ext uri="{FF2B5EF4-FFF2-40B4-BE49-F238E27FC236}">
                <a16:creationId xmlns:a16="http://schemas.microsoft.com/office/drawing/2014/main" xmlns="" id="{5C5EE35F-CEB5-4A68-8AB1-EB901D2226B6}"/>
              </a:ext>
            </a:extLst>
          </p:cNvPr>
          <p:cNvSpPr txBox="1">
            <a:spLocks/>
          </p:cNvSpPr>
          <p:nvPr/>
        </p:nvSpPr>
        <p:spPr>
          <a:xfrm>
            <a:off x="5916612" y="2061022"/>
            <a:ext cx="2773643"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Modal Split Anteil des öffentlichen Verkehrs seit mehreren Jahren auf konstant hohem Niveau </a:t>
            </a:r>
          </a:p>
          <a:p>
            <a:pPr lvl="2"/>
            <a:r>
              <a:rPr lang="de-DE" sz="1400" dirty="0"/>
              <a:t>Nur leichter Modal Split Effekt durch die Kombination aus Preisabsenkung bei der Jahreskarte auf 365,- € und der Intensivierung der Parkraumbewirtschaftung</a:t>
            </a:r>
          </a:p>
        </p:txBody>
      </p:sp>
      <p:sp>
        <p:nvSpPr>
          <p:cNvPr id="9" name="Rechteck 8">
            <a:extLst>
              <a:ext uri="{FF2B5EF4-FFF2-40B4-BE49-F238E27FC236}">
                <a16:creationId xmlns:a16="http://schemas.microsoft.com/office/drawing/2014/main" xmlns="" id="{5DEC85F3-3AD0-41A3-927F-ADF5B3361CD7}"/>
              </a:ext>
            </a:extLst>
          </p:cNvPr>
          <p:cNvSpPr/>
          <p:nvPr/>
        </p:nvSpPr>
        <p:spPr>
          <a:xfrm>
            <a:off x="444500" y="1734565"/>
            <a:ext cx="4847580"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de-DE" sz="1400" b="1" dirty="0">
                <a:solidFill>
                  <a:schemeClr val="tx1"/>
                </a:solidFill>
              </a:rPr>
              <a:t>Modal Split </a:t>
            </a:r>
          </a:p>
          <a:p>
            <a:pPr algn="l">
              <a:spcBef>
                <a:spcPts val="600"/>
              </a:spcBef>
            </a:pPr>
            <a:r>
              <a:rPr lang="de-DE" sz="1400" dirty="0">
                <a:solidFill>
                  <a:schemeClr val="tx1"/>
                </a:solidFill>
              </a:rPr>
              <a:t>Einwohner der Stadt Wien</a:t>
            </a:r>
          </a:p>
        </p:txBody>
      </p:sp>
      <p:sp>
        <p:nvSpPr>
          <p:cNvPr id="10" name="Rechteck 9">
            <a:extLst>
              <a:ext uri="{FF2B5EF4-FFF2-40B4-BE49-F238E27FC236}">
                <a16:creationId xmlns:a16="http://schemas.microsoft.com/office/drawing/2014/main" xmlns="" id="{85C25577-4ED1-43B1-BD5C-5A524B11B83D}"/>
              </a:ext>
            </a:extLst>
          </p:cNvPr>
          <p:cNvSpPr/>
          <p:nvPr/>
        </p:nvSpPr>
        <p:spPr>
          <a:xfrm>
            <a:off x="5916613"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Erläuterung</a:t>
            </a:r>
          </a:p>
        </p:txBody>
      </p:sp>
      <p:cxnSp>
        <p:nvCxnSpPr>
          <p:cNvPr id="11" name="Gerade Verbindung 6">
            <a:extLst>
              <a:ext uri="{FF2B5EF4-FFF2-40B4-BE49-F238E27FC236}">
                <a16:creationId xmlns:a16="http://schemas.microsoft.com/office/drawing/2014/main" xmlns="" id="{E2014845-73AB-43C0-9ABC-28BDC03AA516}"/>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9">
            <a:extLst>
              <a:ext uri="{FF2B5EF4-FFF2-40B4-BE49-F238E27FC236}">
                <a16:creationId xmlns:a16="http://schemas.microsoft.com/office/drawing/2014/main" xmlns="" id="{1E0FBAFA-97B2-4146-9B65-3525ED330557}"/>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8" name="Gerade Verbindung 6">
            <a:extLst>
              <a:ext uri="{FF2B5EF4-FFF2-40B4-BE49-F238E27FC236}">
                <a16:creationId xmlns:a16="http://schemas.microsoft.com/office/drawing/2014/main" xmlns="" id="{988953C1-81C7-4A06-B5D5-D9882BA8CD08}"/>
              </a:ext>
            </a:extLst>
          </p:cNvPr>
          <p:cNvCxnSpPr/>
          <p:nvPr>
            <p:custDataLst>
              <p:tags r:id="rId4"/>
            </p:custDataLst>
          </p:nvPr>
        </p:nvCxnSpPr>
        <p:spPr>
          <a:xfrm>
            <a:off x="539552" y="5661248"/>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xmlns="" id="{12EC42EE-908B-4CD9-A944-1D5C1C7BE29D}"/>
              </a:ext>
            </a:extLst>
          </p:cNvPr>
          <p:cNvSpPr txBox="1"/>
          <p:nvPr/>
        </p:nvSpPr>
        <p:spPr>
          <a:xfrm>
            <a:off x="451758" y="5847075"/>
            <a:ext cx="8164800" cy="246221"/>
          </a:xfrm>
          <a:prstGeom prst="rect">
            <a:avLst/>
          </a:prstGeom>
          <a:noFill/>
        </p:spPr>
        <p:txBody>
          <a:bodyPr wrap="square" rtlCol="0">
            <a:spAutoFit/>
          </a:bodyPr>
          <a:lstStyle/>
          <a:p>
            <a:pPr marL="0" lvl="1">
              <a:tabLst>
                <a:tab pos="180975" algn="l"/>
              </a:tabLst>
            </a:pPr>
            <a:r>
              <a:rPr lang="de-DE" sz="1000" dirty="0"/>
              <a:t>Quelle: Geschäftsberichte Wiener Stadtwerke, European </a:t>
            </a:r>
            <a:r>
              <a:rPr lang="de-DE" sz="1000" dirty="0" err="1"/>
              <a:t>Platform</a:t>
            </a:r>
            <a:r>
              <a:rPr lang="de-DE" sz="1000" dirty="0"/>
              <a:t> on Mobility Management (epomm.eu)</a:t>
            </a:r>
          </a:p>
        </p:txBody>
      </p:sp>
      <p:cxnSp>
        <p:nvCxnSpPr>
          <p:cNvPr id="30" name="Gerader Verbinder 49">
            <a:extLst>
              <a:ext uri="{FF2B5EF4-FFF2-40B4-BE49-F238E27FC236}">
                <a16:creationId xmlns:a16="http://schemas.microsoft.com/office/drawing/2014/main" xmlns="" id="{BD1EB174-2BA7-46FE-BCC4-83FC62E88F64}"/>
              </a:ext>
            </a:extLst>
          </p:cNvPr>
          <p:cNvCxnSpPr>
            <a:cxnSpLocks/>
          </p:cNvCxnSpPr>
          <p:nvPr/>
        </p:nvCxnSpPr>
        <p:spPr>
          <a:xfrm flipH="1">
            <a:off x="547218" y="5784279"/>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xmlns="" id="{EFD1EEA5-2E7A-4E4A-8003-B5C264BD68CB}"/>
              </a:ext>
            </a:extLst>
          </p:cNvPr>
          <p:cNvSpPr/>
          <p:nvPr/>
        </p:nvSpPr>
        <p:spPr>
          <a:xfrm>
            <a:off x="887781" y="5661248"/>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Jahreskarte Juni 2012</a:t>
            </a:r>
          </a:p>
        </p:txBody>
      </p:sp>
      <p:grpSp>
        <p:nvGrpSpPr>
          <p:cNvPr id="13" name="Gruppieren 12">
            <a:extLst>
              <a:ext uri="{FF2B5EF4-FFF2-40B4-BE49-F238E27FC236}">
                <a16:creationId xmlns:a16="http://schemas.microsoft.com/office/drawing/2014/main" xmlns="" id="{9BDBFFF7-02EB-4F26-B7BD-A92C5111FC41}"/>
              </a:ext>
            </a:extLst>
          </p:cNvPr>
          <p:cNvGrpSpPr/>
          <p:nvPr/>
        </p:nvGrpSpPr>
        <p:grpSpPr>
          <a:xfrm>
            <a:off x="5473070" y="2780928"/>
            <a:ext cx="395073" cy="395073"/>
            <a:chOff x="8424472" y="2275596"/>
            <a:chExt cx="396000" cy="396000"/>
          </a:xfrm>
        </p:grpSpPr>
        <p:pic>
          <p:nvPicPr>
            <p:cNvPr id="135" name="Grafik 134"/>
            <p:cNvPicPr>
              <a:picLocks noChangeAspect="1"/>
            </p:cNvPicPr>
            <p:nvPr/>
          </p:nvPicPr>
          <p:blipFill>
            <a:blip r:embed="rId9">
              <a:duotone>
                <a:schemeClr val="accent5">
                  <a:shade val="45000"/>
                  <a:satMod val="135000"/>
                </a:schemeClr>
                <a:prstClr val="white"/>
              </a:duotone>
              <a:extLst>
                <a:ext uri="{BEBA8EAE-BF5A-486C-A8C5-ECC9F3942E4B}">
                  <a14:imgProps xmlns:a14="http://schemas.microsoft.com/office/drawing/2010/main">
                    <a14:imgLayer r:embed="rId10">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8467804" y="2312432"/>
              <a:ext cx="316073" cy="316073"/>
            </a:xfrm>
            <a:prstGeom prst="rect">
              <a:avLst/>
            </a:prstGeom>
          </p:spPr>
        </p:pic>
        <p:sp>
          <p:nvSpPr>
            <p:cNvPr id="36" name="Ellipse 35">
              <a:extLst>
                <a:ext uri="{FF2B5EF4-FFF2-40B4-BE49-F238E27FC236}">
                  <a16:creationId xmlns:a16="http://schemas.microsoft.com/office/drawing/2014/main" xmlns="" id="{15FDAE73-FA19-4267-9358-681913CE3EE3}"/>
                </a:ext>
              </a:extLst>
            </p:cNvPr>
            <p:cNvSpPr/>
            <p:nvPr/>
          </p:nvSpPr>
          <p:spPr>
            <a:xfrm>
              <a:off x="8424472" y="2275596"/>
              <a:ext cx="396000" cy="39600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grpSp>
        <p:nvGrpSpPr>
          <p:cNvPr id="14" name="Gruppieren 13">
            <a:extLst>
              <a:ext uri="{FF2B5EF4-FFF2-40B4-BE49-F238E27FC236}">
                <a16:creationId xmlns:a16="http://schemas.microsoft.com/office/drawing/2014/main" xmlns="" id="{799ACDBB-7D6E-45E1-BBA7-16E3238AB2DB}"/>
              </a:ext>
            </a:extLst>
          </p:cNvPr>
          <p:cNvGrpSpPr/>
          <p:nvPr/>
        </p:nvGrpSpPr>
        <p:grpSpPr>
          <a:xfrm>
            <a:off x="5473070" y="3573943"/>
            <a:ext cx="395073" cy="395073"/>
            <a:chOff x="8442642" y="2934521"/>
            <a:chExt cx="396000" cy="396000"/>
          </a:xfrm>
        </p:grpSpPr>
        <p:pic>
          <p:nvPicPr>
            <p:cNvPr id="133" name="Grafik 132"/>
            <p:cNvPicPr>
              <a:picLocks noChangeAspect="1"/>
            </p:cNvPicPr>
            <p:nvPr/>
          </p:nvPicPr>
          <p:blipFill>
            <a:blip r:embed="rId11">
              <a:duotone>
                <a:schemeClr val="accent5">
                  <a:shade val="45000"/>
                  <a:satMod val="135000"/>
                </a:schemeClr>
                <a:prstClr val="white"/>
              </a:duotone>
              <a:extLst>
                <a:ext uri="{BEBA8EAE-BF5A-486C-A8C5-ECC9F3942E4B}">
                  <a14:imgProps xmlns:a14="http://schemas.microsoft.com/office/drawing/2010/main">
                    <a14:imgLayer r:embed="rId12">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8506921" y="2986792"/>
              <a:ext cx="270192" cy="270192"/>
            </a:xfrm>
            <a:prstGeom prst="rect">
              <a:avLst/>
            </a:prstGeom>
          </p:spPr>
        </p:pic>
        <p:sp>
          <p:nvSpPr>
            <p:cNvPr id="37" name="Ellipse 36">
              <a:extLst>
                <a:ext uri="{FF2B5EF4-FFF2-40B4-BE49-F238E27FC236}">
                  <a16:creationId xmlns:a16="http://schemas.microsoft.com/office/drawing/2014/main" xmlns="" id="{3101BABE-2771-4DDC-9EAA-8910B6010941}"/>
                </a:ext>
              </a:extLst>
            </p:cNvPr>
            <p:cNvSpPr/>
            <p:nvPr/>
          </p:nvSpPr>
          <p:spPr>
            <a:xfrm>
              <a:off x="8442642" y="2934521"/>
              <a:ext cx="396000" cy="39600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grpSp>
        <p:nvGrpSpPr>
          <p:cNvPr id="16" name="Gruppieren 15">
            <a:extLst>
              <a:ext uri="{FF2B5EF4-FFF2-40B4-BE49-F238E27FC236}">
                <a16:creationId xmlns:a16="http://schemas.microsoft.com/office/drawing/2014/main" xmlns="" id="{55142B67-FAC1-4A30-8266-9C2D6BCCE428}"/>
              </a:ext>
            </a:extLst>
          </p:cNvPr>
          <p:cNvGrpSpPr/>
          <p:nvPr/>
        </p:nvGrpSpPr>
        <p:grpSpPr>
          <a:xfrm>
            <a:off x="5473070" y="4042039"/>
            <a:ext cx="395073" cy="395073"/>
            <a:chOff x="8442642" y="3798486"/>
            <a:chExt cx="396000" cy="396000"/>
          </a:xfrm>
        </p:grpSpPr>
        <p:pic>
          <p:nvPicPr>
            <p:cNvPr id="136" name="Grafik 135"/>
            <p:cNvPicPr>
              <a:picLocks noChangeAspect="1"/>
            </p:cNvPicPr>
            <p:nvPr/>
          </p:nvPicPr>
          <p:blipFill rotWithShape="1">
            <a:blip r:embed="rId13">
              <a:duotone>
                <a:schemeClr val="accent5">
                  <a:shade val="45000"/>
                  <a:satMod val="135000"/>
                </a:schemeClr>
                <a:prstClr val="white"/>
              </a:duotone>
              <a:extLst>
                <a:ext uri="{BEBA8EAE-BF5A-486C-A8C5-ECC9F3942E4B}">
                  <a14:imgProps xmlns:a14="http://schemas.microsoft.com/office/drawing/2010/main">
                    <a14:imgLayer r:embed="rId14">
                      <a14:imgEffect>
                        <a14:brightnessContrast contrast="-44000"/>
                      </a14:imgEffect>
                    </a14:imgLayer>
                  </a14:imgProps>
                </a:ext>
                <a:ext uri="{28A0092B-C50C-407E-A947-70E740481C1C}">
                  <a14:useLocalDpi xmlns:a14="http://schemas.microsoft.com/office/drawing/2010/main" val="0"/>
                </a:ext>
              </a:extLst>
            </a:blip>
            <a:srcRect t="20987" b="-7451"/>
            <a:stretch/>
          </p:blipFill>
          <p:spPr>
            <a:xfrm>
              <a:off x="8491798" y="3849317"/>
              <a:ext cx="298933" cy="258465"/>
            </a:xfrm>
            <a:prstGeom prst="rect">
              <a:avLst/>
            </a:prstGeom>
          </p:spPr>
        </p:pic>
        <p:sp>
          <p:nvSpPr>
            <p:cNvPr id="38" name="Ellipse 37">
              <a:extLst>
                <a:ext uri="{FF2B5EF4-FFF2-40B4-BE49-F238E27FC236}">
                  <a16:creationId xmlns:a16="http://schemas.microsoft.com/office/drawing/2014/main" xmlns="" id="{282F60A7-39E2-4606-AA0C-4F50D1FDE545}"/>
                </a:ext>
              </a:extLst>
            </p:cNvPr>
            <p:cNvSpPr/>
            <p:nvPr/>
          </p:nvSpPr>
          <p:spPr>
            <a:xfrm>
              <a:off x="8442642" y="3798486"/>
              <a:ext cx="396000" cy="39600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grpSp>
        <p:nvGrpSpPr>
          <p:cNvPr id="17" name="Gruppieren 16">
            <a:extLst>
              <a:ext uri="{FF2B5EF4-FFF2-40B4-BE49-F238E27FC236}">
                <a16:creationId xmlns:a16="http://schemas.microsoft.com/office/drawing/2014/main" xmlns="" id="{C0B21A88-D938-4249-B73C-E849310C9A58}"/>
              </a:ext>
            </a:extLst>
          </p:cNvPr>
          <p:cNvGrpSpPr/>
          <p:nvPr/>
        </p:nvGrpSpPr>
        <p:grpSpPr>
          <a:xfrm>
            <a:off x="5473070" y="4486260"/>
            <a:ext cx="395073" cy="395073"/>
            <a:chOff x="8442642" y="4478422"/>
            <a:chExt cx="396000" cy="396000"/>
          </a:xfrm>
        </p:grpSpPr>
        <p:pic>
          <p:nvPicPr>
            <p:cNvPr id="134" name="Grafik 133"/>
            <p:cNvPicPr>
              <a:picLocks noChangeAspect="1"/>
            </p:cNvPicPr>
            <p:nvPr/>
          </p:nvPicPr>
          <p:blipFill>
            <a:blip r:embed="rId15">
              <a:duotone>
                <a:schemeClr val="accent5">
                  <a:shade val="45000"/>
                  <a:satMod val="135000"/>
                </a:schemeClr>
                <a:prstClr val="white"/>
              </a:duotone>
              <a:extLst>
                <a:ext uri="{BEBA8EAE-BF5A-486C-A8C5-ECC9F3942E4B}">
                  <a14:imgProps xmlns:a14="http://schemas.microsoft.com/office/drawing/2010/main">
                    <a14:imgLayer r:embed="rId16">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8477992" y="4501856"/>
              <a:ext cx="322160" cy="322160"/>
            </a:xfrm>
            <a:prstGeom prst="rect">
              <a:avLst/>
            </a:prstGeom>
          </p:spPr>
        </p:pic>
        <p:sp>
          <p:nvSpPr>
            <p:cNvPr id="39" name="Ellipse 38">
              <a:extLst>
                <a:ext uri="{FF2B5EF4-FFF2-40B4-BE49-F238E27FC236}">
                  <a16:creationId xmlns:a16="http://schemas.microsoft.com/office/drawing/2014/main" xmlns="" id="{C568CE91-9B80-4A52-A56F-78FBFAC8E800}"/>
                </a:ext>
              </a:extLst>
            </p:cNvPr>
            <p:cNvSpPr/>
            <p:nvPr/>
          </p:nvSpPr>
          <p:spPr>
            <a:xfrm>
              <a:off x="8442642" y="4478422"/>
              <a:ext cx="396000" cy="39600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grpSp>
        <p:nvGrpSpPr>
          <p:cNvPr id="19" name="Gruppieren 18">
            <a:extLst>
              <a:ext uri="{FF2B5EF4-FFF2-40B4-BE49-F238E27FC236}">
                <a16:creationId xmlns:a16="http://schemas.microsoft.com/office/drawing/2014/main" xmlns="" id="{1B891A66-72B5-4304-BDF5-54B07129BCE5}"/>
              </a:ext>
            </a:extLst>
          </p:cNvPr>
          <p:cNvGrpSpPr/>
          <p:nvPr/>
        </p:nvGrpSpPr>
        <p:grpSpPr>
          <a:xfrm>
            <a:off x="5473072" y="1628800"/>
            <a:ext cx="395072" cy="395072"/>
            <a:chOff x="5508104" y="1628800"/>
            <a:chExt cx="360040" cy="360040"/>
          </a:xfrm>
        </p:grpSpPr>
        <p:pic>
          <p:nvPicPr>
            <p:cNvPr id="60" name="Grafik 59">
              <a:extLst>
                <a:ext uri="{FF2B5EF4-FFF2-40B4-BE49-F238E27FC236}">
                  <a16:creationId xmlns:a16="http://schemas.microsoft.com/office/drawing/2014/main" xmlns="" id="{426D97B2-9185-449B-B401-BDE3406F94C1}"/>
                </a:ext>
              </a:extLst>
            </p:cNvPr>
            <p:cNvPicPr>
              <a:picLocks noChangeAspect="1"/>
            </p:cNvPicPr>
            <p:nvPr/>
          </p:nvPicPr>
          <p:blipFill>
            <a:blip r:embed="rId17">
              <a:duotone>
                <a:schemeClr val="accent5">
                  <a:shade val="45000"/>
                  <a:satMod val="135000"/>
                </a:schemeClr>
                <a:prstClr val="white"/>
              </a:duotone>
              <a:extLst>
                <a:ext uri="{BEBA8EAE-BF5A-486C-A8C5-ECC9F3942E4B}">
                  <a14:imgProps xmlns:a14="http://schemas.microsoft.com/office/drawing/2010/main">
                    <a14:imgLayer r:embed="rId18">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5572349" y="1694237"/>
              <a:ext cx="237586" cy="237586"/>
            </a:xfrm>
            <a:prstGeom prst="rect">
              <a:avLst/>
            </a:prstGeom>
          </p:spPr>
        </p:pic>
        <p:sp>
          <p:nvSpPr>
            <p:cNvPr id="62" name="Ellipse 61">
              <a:extLst>
                <a:ext uri="{FF2B5EF4-FFF2-40B4-BE49-F238E27FC236}">
                  <a16:creationId xmlns:a16="http://schemas.microsoft.com/office/drawing/2014/main" xmlns="" id="{7BDB8DEB-20E3-435F-BEEF-F02546301A1A}"/>
                </a:ext>
              </a:extLst>
            </p:cNvPr>
            <p:cNvSpPr/>
            <p:nvPr/>
          </p:nvSpPr>
          <p:spPr>
            <a:xfrm>
              <a:off x="5508104" y="162880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sp>
        <p:nvSpPr>
          <p:cNvPr id="7" name="Rechteck 6"/>
          <p:cNvSpPr/>
          <p:nvPr/>
        </p:nvSpPr>
        <p:spPr>
          <a:xfrm>
            <a:off x="11856315" y="1425060"/>
            <a:ext cx="280846" cy="369332"/>
          </a:xfrm>
          <a:prstGeom prst="rect">
            <a:avLst/>
          </a:prstGeom>
        </p:spPr>
        <p:txBody>
          <a:bodyPr wrap="none">
            <a:spAutoFit/>
          </a:bodyPr>
          <a:lstStyle/>
          <a:p>
            <a:r>
              <a:rPr lang="en-GB" sz="1100" dirty="0">
                <a:solidFill>
                  <a:srgbClr val="000000"/>
                </a:solidFill>
                <a:latin typeface="Calibri"/>
              </a:rPr>
              <a:t> </a:t>
            </a:r>
            <a:r>
              <a:rPr lang="en-GB" dirty="0"/>
              <a:t> </a:t>
            </a:r>
          </a:p>
        </p:txBody>
      </p:sp>
      <p:pic>
        <p:nvPicPr>
          <p:cNvPr id="20" name="Grafik 19">
            <a:extLst>
              <a:ext uri="{FF2B5EF4-FFF2-40B4-BE49-F238E27FC236}">
                <a16:creationId xmlns:a16="http://schemas.microsoft.com/office/drawing/2014/main" xmlns="" id="{0D9B58F4-2574-4396-8101-06604AD46343}"/>
              </a:ext>
            </a:extLst>
          </p:cNvPr>
          <p:cNvPicPr>
            <a:picLocks noChangeAspect="1"/>
          </p:cNvPicPr>
          <p:nvPr/>
        </p:nvPicPr>
        <p:blipFill rotWithShape="1">
          <a:blip r:embed="rId19"/>
          <a:srcRect l="74034" t="22973" r="2597" b="56093"/>
          <a:stretch/>
        </p:blipFill>
        <p:spPr>
          <a:xfrm>
            <a:off x="503809" y="2347530"/>
            <a:ext cx="4825029" cy="3025682"/>
          </a:xfrm>
          <a:prstGeom prst="rect">
            <a:avLst/>
          </a:prstGeom>
        </p:spPr>
      </p:pic>
    </p:spTree>
    <p:extLst>
      <p:ext uri="{BB962C8B-B14F-4D97-AF65-F5344CB8AC3E}">
        <p14:creationId xmlns:p14="http://schemas.microsoft.com/office/powerpoint/2010/main" val="395043315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265632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9596" name="think-cell Folie" r:id="rId39" imgW="270" imgH="270" progId="TCLayout.ActiveDocument.1">
                  <p:embed/>
                </p:oleObj>
              </mc:Choice>
              <mc:Fallback>
                <p:oleObj name="think-cell Folie" r:id="rId39" imgW="270" imgH="270" progId="TCLayout.ActiveDocument.1">
                  <p:embed/>
                  <p:pic>
                    <p:nvPicPr>
                      <p:cNvPr id="6" name="Objekt 5" hidden="1"/>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3" name="Rechteck 32" hidden="1">
            <a:extLst>
              <a:ext uri="{FF2B5EF4-FFF2-40B4-BE49-F238E27FC236}">
                <a16:creationId xmlns:a16="http://schemas.microsoft.com/office/drawing/2014/main" xmlns="" id="{617A1329-FB84-4F70-B5B6-F339460BC838}"/>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xmlns="" id="{FD18AB81-62FB-4C8D-8B5E-A4ED27A98461}"/>
              </a:ext>
            </a:extLst>
          </p:cNvPr>
          <p:cNvSpPr>
            <a:spLocks noGrp="1"/>
          </p:cNvSpPr>
          <p:nvPr>
            <p:ph type="title"/>
          </p:nvPr>
        </p:nvSpPr>
        <p:spPr>
          <a:xfrm>
            <a:off x="446996" y="281196"/>
            <a:ext cx="8157254" cy="648072"/>
          </a:xfrm>
        </p:spPr>
        <p:txBody>
          <a:bodyPr/>
          <a:lstStyle/>
          <a:p>
            <a:r>
              <a:rPr lang="de-DE" dirty="0">
                <a:latin typeface="Arial" panose="020B0604020202020204" pitchFamily="34" charset="0"/>
                <a:cs typeface="Arial" panose="020B0604020202020204" pitchFamily="34" charset="0"/>
                <a:sym typeface="Arial" panose="020B0604020202020204" pitchFamily="34" charset="0"/>
              </a:rPr>
              <a:t>Es ist </a:t>
            </a:r>
            <a:r>
              <a:rPr lang="de-DE" i="1" dirty="0">
                <a:latin typeface="Arial" panose="020B0604020202020204" pitchFamily="34" charset="0"/>
                <a:cs typeface="Arial" panose="020B0604020202020204" pitchFamily="34" charset="0"/>
                <a:sym typeface="Arial" panose="020B0604020202020204" pitchFamily="34" charset="0"/>
              </a:rPr>
              <a:t>kein</a:t>
            </a:r>
            <a:r>
              <a:rPr lang="de-DE" dirty="0">
                <a:latin typeface="Arial" panose="020B0604020202020204" pitchFamily="34" charset="0"/>
                <a:cs typeface="Arial" panose="020B0604020202020204" pitchFamily="34" charset="0"/>
                <a:sym typeface="Arial" panose="020B0604020202020204" pitchFamily="34" charset="0"/>
              </a:rPr>
              <a:t> Zusammenhang zwischen der Preisabsenkung und der Fahrgastzahlenentwicklung erkennbar</a:t>
            </a:r>
          </a:p>
        </p:txBody>
      </p:sp>
      <p:sp>
        <p:nvSpPr>
          <p:cNvPr id="3" name="Inhaltsplatzhalter 2">
            <a:extLst>
              <a:ext uri="{FF2B5EF4-FFF2-40B4-BE49-F238E27FC236}">
                <a16:creationId xmlns:a16="http://schemas.microsoft.com/office/drawing/2014/main" xmlns="" id="{A9C37537-2B9C-45AD-B573-E53FF097A288}"/>
              </a:ext>
            </a:extLst>
          </p:cNvPr>
          <p:cNvSpPr>
            <a:spLocks noGrp="1"/>
          </p:cNvSpPr>
          <p:nvPr>
            <p:ph idx="1"/>
          </p:nvPr>
        </p:nvSpPr>
        <p:spPr>
          <a:xfrm>
            <a:off x="451758" y="1083558"/>
            <a:ext cx="6635010" cy="292316"/>
          </a:xfrm>
        </p:spPr>
        <p:txBody>
          <a:bodyPr/>
          <a:lstStyle/>
          <a:p>
            <a:r>
              <a:rPr lang="de-DE" dirty="0">
                <a:latin typeface="Arial" panose="020B0604020202020204" pitchFamily="34" charset="0"/>
                <a:cs typeface="Arial" panose="020B0604020202020204" pitchFamily="34" charset="0"/>
                <a:sym typeface="Arial" panose="020B0604020202020204" pitchFamily="34" charset="0"/>
              </a:rPr>
              <a:t>Effekte der Tarifreform</a:t>
            </a:r>
          </a:p>
        </p:txBody>
      </p:sp>
      <p:sp>
        <p:nvSpPr>
          <p:cNvPr id="4" name="Foliennummernplatzhalter 3">
            <a:extLst>
              <a:ext uri="{FF2B5EF4-FFF2-40B4-BE49-F238E27FC236}">
                <a16:creationId xmlns:a16="http://schemas.microsoft.com/office/drawing/2014/main" xmlns="" id="{B7EF17C9-3399-4461-A2FC-C726A1BD7D85}"/>
              </a:ext>
            </a:extLst>
          </p:cNvPr>
          <p:cNvSpPr>
            <a:spLocks noGrp="1"/>
          </p:cNvSpPr>
          <p:nvPr>
            <p:ph type="sldNum" sz="quarter" idx="11"/>
          </p:nvPr>
        </p:nvSpPr>
        <p:spPr>
          <a:xfrm>
            <a:off x="519428" y="6295779"/>
            <a:ext cx="227626" cy="246221"/>
          </a:xfrm>
        </p:spPr>
        <p:txBody>
          <a:bodyPr/>
          <a:lstStyle/>
          <a:p>
            <a:fld id="{CD21EFEB-933F-4F46-A5AD-B6372944D9E5}" type="slidenum">
              <a:rPr lang="de-DE" smtClean="0">
                <a:latin typeface="Arial" panose="020B0604020202020204" pitchFamily="34" charset="0"/>
                <a:cs typeface="Arial" panose="020B0604020202020204" pitchFamily="34" charset="0"/>
                <a:sym typeface="Arial" panose="020B0604020202020204" pitchFamily="34" charset="0"/>
              </a:rPr>
              <a:pPr/>
              <a:t>11</a:t>
            </a:fld>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8" name="Inhaltsplatzhalter 2">
            <a:extLst>
              <a:ext uri="{FF2B5EF4-FFF2-40B4-BE49-F238E27FC236}">
                <a16:creationId xmlns:a16="http://schemas.microsoft.com/office/drawing/2014/main" xmlns="" id="{5C5EE35F-CEB5-4A68-8AB1-EB901D2226B6}"/>
              </a:ext>
            </a:extLst>
          </p:cNvPr>
          <p:cNvSpPr txBox="1">
            <a:spLocks/>
          </p:cNvSpPr>
          <p:nvPr/>
        </p:nvSpPr>
        <p:spPr>
          <a:xfrm>
            <a:off x="5916613" y="2061022"/>
            <a:ext cx="2781100"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latin typeface="Arial" panose="020B0604020202020204" pitchFamily="34" charset="0"/>
                <a:cs typeface="Arial" panose="020B0604020202020204" pitchFamily="34" charset="0"/>
                <a:sym typeface="Arial" panose="020B0604020202020204" pitchFamily="34" charset="0"/>
              </a:rPr>
              <a:t>Anstieg der Fahrgastzahlen vor dem Hintergrund des starken Wachstums von Bevölkerung, Studenten, Tourismus und der deutlichen Intensivierung der Parkraum-bewirtschaftung eher auf moderatem Niveau </a:t>
            </a:r>
          </a:p>
          <a:p>
            <a:pPr lvl="2"/>
            <a:r>
              <a:rPr lang="de-DE" sz="1400" dirty="0">
                <a:latin typeface="Arial" panose="020B0604020202020204" pitchFamily="34" charset="0"/>
                <a:cs typeface="Arial" panose="020B0604020202020204" pitchFamily="34" charset="0"/>
                <a:sym typeface="Arial" panose="020B0604020202020204" pitchFamily="34" charset="0"/>
              </a:rPr>
              <a:t>Kein signifikanter Zusammenhang zwischen Preisabsenkung und Fahrgastzahlen ersichtlich</a:t>
            </a:r>
          </a:p>
        </p:txBody>
      </p:sp>
      <p:sp>
        <p:nvSpPr>
          <p:cNvPr id="9" name="Rechteck 8">
            <a:extLst>
              <a:ext uri="{FF2B5EF4-FFF2-40B4-BE49-F238E27FC236}">
                <a16:creationId xmlns:a16="http://schemas.microsoft.com/office/drawing/2014/main" xmlns="" id="{5DEC85F3-3AD0-41A3-927F-ADF5B3361CD7}"/>
              </a:ext>
            </a:extLst>
          </p:cNvPr>
          <p:cNvSpPr/>
          <p:nvPr/>
        </p:nvSpPr>
        <p:spPr>
          <a:xfrm>
            <a:off x="444500" y="1738909"/>
            <a:ext cx="4847580"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sz="1400" b="1" dirty="0">
                <a:solidFill>
                  <a:schemeClr val="tx1"/>
                </a:solidFill>
                <a:latin typeface="Arial" panose="020B0604020202020204" pitchFamily="34" charset="0"/>
                <a:cs typeface="Arial" panose="020B0604020202020204" pitchFamily="34" charset="0"/>
                <a:sym typeface="Arial" panose="020B0604020202020204" pitchFamily="34" charset="0"/>
              </a:rPr>
              <a:t>Fahrgäste </a:t>
            </a:r>
          </a:p>
          <a:p>
            <a:pPr>
              <a:spcBef>
                <a:spcPts val="600"/>
              </a:spcBef>
            </a:pPr>
            <a:r>
              <a:rPr lang="de-DE" sz="1400" dirty="0">
                <a:solidFill>
                  <a:schemeClr val="tx1"/>
                </a:solidFill>
                <a:latin typeface="Arial" panose="020B0604020202020204" pitchFamily="34" charset="0"/>
                <a:cs typeface="Arial" panose="020B0604020202020204" pitchFamily="34" charset="0"/>
                <a:sym typeface="Arial" panose="020B0604020202020204" pitchFamily="34" charset="0"/>
              </a:rPr>
              <a:t>in Mio.</a:t>
            </a:r>
          </a:p>
        </p:txBody>
      </p:sp>
      <p:sp>
        <p:nvSpPr>
          <p:cNvPr id="10" name="Rechteck 9">
            <a:extLst>
              <a:ext uri="{FF2B5EF4-FFF2-40B4-BE49-F238E27FC236}">
                <a16:creationId xmlns:a16="http://schemas.microsoft.com/office/drawing/2014/main" xmlns="" id="{85C25577-4ED1-43B1-BD5C-5A524B11B83D}"/>
              </a:ext>
            </a:extLst>
          </p:cNvPr>
          <p:cNvSpPr/>
          <p:nvPr/>
        </p:nvSpPr>
        <p:spPr>
          <a:xfrm>
            <a:off x="5916613"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latin typeface="Arial" panose="020B0604020202020204" pitchFamily="34" charset="0"/>
                <a:cs typeface="Arial" panose="020B0604020202020204" pitchFamily="34" charset="0"/>
                <a:sym typeface="Arial" panose="020B0604020202020204" pitchFamily="34" charset="0"/>
              </a:rPr>
              <a:t>Erläuterung</a:t>
            </a:r>
          </a:p>
        </p:txBody>
      </p:sp>
      <p:cxnSp>
        <p:nvCxnSpPr>
          <p:cNvPr id="11" name="Gerade Verbindung 6">
            <a:extLst>
              <a:ext uri="{FF2B5EF4-FFF2-40B4-BE49-F238E27FC236}">
                <a16:creationId xmlns:a16="http://schemas.microsoft.com/office/drawing/2014/main" xmlns="" id="{E2014845-73AB-43C0-9ABC-28BDC03AA516}"/>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9">
            <a:extLst>
              <a:ext uri="{FF2B5EF4-FFF2-40B4-BE49-F238E27FC236}">
                <a16:creationId xmlns:a16="http://schemas.microsoft.com/office/drawing/2014/main" xmlns="" id="{1E0FBAFA-97B2-4146-9B65-3525ED330557}"/>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62" name="Chart 3">
            <a:extLst>
              <a:ext uri="{FF2B5EF4-FFF2-40B4-BE49-F238E27FC236}">
                <a16:creationId xmlns:a16="http://schemas.microsoft.com/office/drawing/2014/main" xmlns="" id="{522CBA6C-5472-4870-BD8C-A7140B8A2773}"/>
              </a:ext>
            </a:extLst>
          </p:cNvPr>
          <p:cNvGraphicFramePr/>
          <p:nvPr>
            <p:custDataLst>
              <p:tags r:id="rId4"/>
            </p:custDataLst>
            <p:extLst>
              <p:ext uri="{D42A27DB-BD31-4B8C-83A1-F6EECF244321}">
                <p14:modId xmlns:p14="http://schemas.microsoft.com/office/powerpoint/2010/main" val="2806220181"/>
              </p:ext>
            </p:extLst>
          </p:nvPr>
        </p:nvGraphicFramePr>
        <p:xfrm>
          <a:off x="620713" y="2363788"/>
          <a:ext cx="4984750" cy="2714625"/>
        </p:xfrm>
        <a:graphic>
          <a:graphicData uri="http://schemas.openxmlformats.org/drawingml/2006/chart">
            <c:chart xmlns:c="http://schemas.openxmlformats.org/drawingml/2006/chart" xmlns:r="http://schemas.openxmlformats.org/officeDocument/2006/relationships" r:id="rId41"/>
          </a:graphicData>
        </a:graphic>
      </p:graphicFrame>
      <p:cxnSp>
        <p:nvCxnSpPr>
          <p:cNvPr id="30" name="Gerader Verbinder 29">
            <a:extLst>
              <a:ext uri="{FF2B5EF4-FFF2-40B4-BE49-F238E27FC236}">
                <a16:creationId xmlns:a16="http://schemas.microsoft.com/office/drawing/2014/main" xmlns="" id="{08DA170A-474F-40CA-846D-964433DB292F}"/>
              </a:ext>
            </a:extLst>
          </p:cNvPr>
          <p:cNvCxnSpPr/>
          <p:nvPr>
            <p:custDataLst>
              <p:tags r:id="rId5"/>
            </p:custDataLst>
          </p:nvPr>
        </p:nvCxnSpPr>
        <p:spPr bwMode="gray">
          <a:xfrm>
            <a:off x="1441450" y="2862263"/>
            <a:ext cx="1304925" cy="0"/>
          </a:xfrm>
          <a:prstGeom prst="line">
            <a:avLst/>
          </a:prstGeom>
          <a:ln w="1270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xmlns="" id="{F50BDE25-2022-4854-977F-566C10CDCA79}"/>
              </a:ext>
            </a:extLst>
          </p:cNvPr>
          <p:cNvCxnSpPr/>
          <p:nvPr>
            <p:custDataLst>
              <p:tags r:id="rId6"/>
            </p:custDataLst>
          </p:nvPr>
        </p:nvCxnSpPr>
        <p:spPr bwMode="gray">
          <a:xfrm flipV="1">
            <a:off x="1441450" y="2862262"/>
            <a:ext cx="0" cy="268288"/>
          </a:xfrm>
          <a:prstGeom prst="line">
            <a:avLst/>
          </a:prstGeom>
          <a:ln w="1270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xmlns="" id="{EDE648E9-2081-450F-A61F-215AF250ACD0}"/>
              </a:ext>
            </a:extLst>
          </p:cNvPr>
          <p:cNvCxnSpPr/>
          <p:nvPr>
            <p:custDataLst>
              <p:tags r:id="rId7"/>
            </p:custDataLst>
          </p:nvPr>
        </p:nvCxnSpPr>
        <p:spPr bwMode="gray">
          <a:xfrm>
            <a:off x="2746375" y="2862263"/>
            <a:ext cx="0" cy="152400"/>
          </a:xfrm>
          <a:prstGeom prst="line">
            <a:avLst/>
          </a:prstGeom>
          <a:ln w="12700" algn="ctr">
            <a:solidFill>
              <a:schemeClr val="accent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xmlns="" id="{7EE3F0E0-D0BE-4903-986C-23A05893632F}"/>
              </a:ext>
            </a:extLst>
          </p:cNvPr>
          <p:cNvCxnSpPr/>
          <p:nvPr>
            <p:custDataLst>
              <p:tags r:id="rId8"/>
            </p:custDataLst>
          </p:nvPr>
        </p:nvCxnSpPr>
        <p:spPr bwMode="gray">
          <a:xfrm>
            <a:off x="2786063" y="2609850"/>
            <a:ext cx="1062038" cy="0"/>
          </a:xfrm>
          <a:prstGeom prst="line">
            <a:avLst/>
          </a:prstGeom>
          <a:ln w="1270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xmlns="" id="{372286CC-4D33-4879-A8D0-35F86B234F87}"/>
              </a:ext>
            </a:extLst>
          </p:cNvPr>
          <p:cNvCxnSpPr/>
          <p:nvPr>
            <p:custDataLst>
              <p:tags r:id="rId9"/>
            </p:custDataLst>
          </p:nvPr>
        </p:nvCxnSpPr>
        <p:spPr bwMode="gray">
          <a:xfrm flipV="1">
            <a:off x="2786063" y="2609851"/>
            <a:ext cx="0" cy="404813"/>
          </a:xfrm>
          <a:prstGeom prst="line">
            <a:avLst/>
          </a:prstGeom>
          <a:ln w="1270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xmlns="" id="{87873E51-AD48-4A01-85F1-EA899227BC31}"/>
              </a:ext>
            </a:extLst>
          </p:cNvPr>
          <p:cNvCxnSpPr/>
          <p:nvPr>
            <p:custDataLst>
              <p:tags r:id="rId10"/>
            </p:custDataLst>
          </p:nvPr>
        </p:nvCxnSpPr>
        <p:spPr bwMode="gray">
          <a:xfrm>
            <a:off x="3848100" y="2609850"/>
            <a:ext cx="0" cy="152400"/>
          </a:xfrm>
          <a:prstGeom prst="line">
            <a:avLst/>
          </a:prstGeom>
          <a:ln w="12700" algn="ctr">
            <a:solidFill>
              <a:schemeClr val="accent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xmlns="" id="{E83C9930-FD76-4A4D-98E3-358352670E2C}"/>
              </a:ext>
            </a:extLst>
          </p:cNvPr>
          <p:cNvCxnSpPr/>
          <p:nvPr>
            <p:custDataLst>
              <p:tags r:id="rId11"/>
            </p:custDataLst>
          </p:nvPr>
        </p:nvCxnSpPr>
        <p:spPr bwMode="gray">
          <a:xfrm flipV="1">
            <a:off x="3887788" y="2386013"/>
            <a:ext cx="0" cy="376238"/>
          </a:xfrm>
          <a:prstGeom prst="line">
            <a:avLst/>
          </a:prstGeom>
          <a:ln w="12700" algn="ctr">
            <a:solidFill>
              <a:schemeClr val="accent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0D72F9D0-71DE-4094-9EC3-5791B06B6D8B}"/>
              </a:ext>
            </a:extLst>
          </p:cNvPr>
          <p:cNvCxnSpPr/>
          <p:nvPr>
            <p:custDataLst>
              <p:tags r:id="rId12"/>
            </p:custDataLst>
          </p:nvPr>
        </p:nvCxnSpPr>
        <p:spPr bwMode="gray">
          <a:xfrm>
            <a:off x="3887787" y="2386013"/>
            <a:ext cx="1524000" cy="0"/>
          </a:xfrm>
          <a:prstGeom prst="line">
            <a:avLst/>
          </a:prstGeom>
          <a:ln w="1270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xmlns="" id="{09FD53AD-3BF2-4529-90E0-9681A2BB9E60}"/>
              </a:ext>
            </a:extLst>
          </p:cNvPr>
          <p:cNvCxnSpPr/>
          <p:nvPr>
            <p:custDataLst>
              <p:tags r:id="rId13"/>
            </p:custDataLst>
          </p:nvPr>
        </p:nvCxnSpPr>
        <p:spPr bwMode="gray">
          <a:xfrm>
            <a:off x="5411788" y="2386013"/>
            <a:ext cx="0" cy="152400"/>
          </a:xfrm>
          <a:prstGeom prst="line">
            <a:avLst/>
          </a:prstGeom>
          <a:ln w="12700" algn="ctr">
            <a:solidFill>
              <a:schemeClr val="accent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5" name="Textplatzhalter 2">
            <a:extLst>
              <a:ext uri="{FF2B5EF4-FFF2-40B4-BE49-F238E27FC236}">
                <a16:creationId xmlns:a16="http://schemas.microsoft.com/office/drawing/2014/main" xmlns="" id="{8520118B-806E-4F08-B5A9-BA41031770D6}"/>
              </a:ext>
            </a:extLst>
          </p:cNvPr>
          <p:cNvSpPr>
            <a:spLocks noGrp="1"/>
          </p:cNvSpPr>
          <p:nvPr>
            <p:custDataLst>
              <p:tags r:id="rId14"/>
            </p:custDataLst>
          </p:nvPr>
        </p:nvSpPr>
        <p:spPr bwMode="auto">
          <a:xfrm>
            <a:off x="2217739"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F5147FBB-1BB3-451E-BCE6-7D7CFD425071}" type="datetime'2''''''''''''''''''''''''''''''00''''4'''">
              <a:rPr lang="de-DE" altLang="en-US" sz="1400" smtClean="0">
                <a:latin typeface="Arial" panose="020B0604020202020204" pitchFamily="34" charset="0"/>
                <a:cs typeface="Arial" panose="020B0604020202020204" pitchFamily="34" charset="0"/>
                <a:sym typeface="Arial" panose="020B0604020202020204" pitchFamily="34" charset="0"/>
              </a:rPr>
              <a:pPr lvl="1" algn="r">
                <a:spcBef>
                  <a:spcPct val="0"/>
                </a:spcBef>
                <a:spcAft>
                  <a:spcPct val="0"/>
                </a:spcAft>
              </a:pPr>
              <a:t>2004</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50" name="Textplatzhalter 2">
            <a:extLst>
              <a:ext uri="{FF2B5EF4-FFF2-40B4-BE49-F238E27FC236}">
                <a16:creationId xmlns:a16="http://schemas.microsoft.com/office/drawing/2014/main" xmlns="" id="{5B6B903C-B04B-4095-9F56-1A71B9CCB149}"/>
              </a:ext>
            </a:extLst>
          </p:cNvPr>
          <p:cNvSpPr>
            <a:spLocks noGrp="1"/>
          </p:cNvSpPr>
          <p:nvPr>
            <p:custDataLst>
              <p:tags r:id="rId15"/>
            </p:custDataLst>
          </p:nvPr>
        </p:nvSpPr>
        <p:spPr bwMode="auto">
          <a:xfrm>
            <a:off x="1335089"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2B5C8577-E77A-4D16-96B2-4523AEA2D6AD}" type="datetime'''2''''''''''''''''''''''''''0''''''''''0''''0'''''">
              <a:rPr lang="de-DE" altLang="en-US" sz="1400" smtClean="0">
                <a:latin typeface="Arial" panose="020B0604020202020204" pitchFamily="34" charset="0"/>
                <a:cs typeface="Arial" panose="020B0604020202020204" pitchFamily="34" charset="0"/>
                <a:sym typeface="Arial" panose="020B0604020202020204" pitchFamily="34" charset="0"/>
              </a:rPr>
              <a:pPr lvl="1" algn="r">
                <a:spcBef>
                  <a:spcPct val="0"/>
                </a:spcBef>
                <a:spcAft>
                  <a:spcPct val="0"/>
                </a:spcAft>
              </a:pPr>
              <a:t>2000</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75" name="Textplatzhalter 2">
            <a:extLst>
              <a:ext uri="{FF2B5EF4-FFF2-40B4-BE49-F238E27FC236}">
                <a16:creationId xmlns:a16="http://schemas.microsoft.com/office/drawing/2014/main" xmlns="" id="{1EE5F3D0-EF90-4095-904C-74915E5C13AC}"/>
              </a:ext>
            </a:extLst>
          </p:cNvPr>
          <p:cNvSpPr>
            <a:spLocks noGrp="1"/>
          </p:cNvSpPr>
          <p:nvPr>
            <p:custDataLst>
              <p:tags r:id="rId16"/>
            </p:custDataLst>
          </p:nvPr>
        </p:nvSpPr>
        <p:spPr bwMode="auto">
          <a:xfrm>
            <a:off x="1997075"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A4CCBF0-B39C-4B26-83C0-244FA1A589A9}" type="datetime'''''''''''''''''''''''''''2''''''''''''''''00''''''''3'''''''">
              <a:rPr lang="de-DE" altLang="en-US" sz="1400" smtClean="0">
                <a:cs typeface="Arial" panose="020B0604020202020204" pitchFamily="34" charset="0"/>
              </a:rPr>
              <a:pPr/>
              <a:t>2003</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72" name="Textplatzhalter 2">
            <a:extLst>
              <a:ext uri="{FF2B5EF4-FFF2-40B4-BE49-F238E27FC236}">
                <a16:creationId xmlns:a16="http://schemas.microsoft.com/office/drawing/2014/main" xmlns="" id="{1739AD50-8150-4418-A91C-D2DDB630E08C}"/>
              </a:ext>
            </a:extLst>
          </p:cNvPr>
          <p:cNvSpPr>
            <a:spLocks noGrp="1"/>
          </p:cNvSpPr>
          <p:nvPr>
            <p:custDataLst>
              <p:tags r:id="rId17"/>
            </p:custDataLst>
          </p:nvPr>
        </p:nvSpPr>
        <p:spPr bwMode="auto">
          <a:xfrm>
            <a:off x="1555750"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DC0F949-7B2D-4057-9CF7-C4D4D13A9E0A}" type="datetime'''''''''''2''''''''''''''''''0''0''''''''''''1'''''">
              <a:rPr lang="de-DE" altLang="en-US" sz="1400" smtClean="0">
                <a:cs typeface="Arial" panose="020B0604020202020204" pitchFamily="34" charset="0"/>
              </a:rPr>
              <a:pPr/>
              <a:t>2001</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73" name="Textplatzhalter 2">
            <a:extLst>
              <a:ext uri="{FF2B5EF4-FFF2-40B4-BE49-F238E27FC236}">
                <a16:creationId xmlns:a16="http://schemas.microsoft.com/office/drawing/2014/main" xmlns="" id="{D8293EA1-CF63-4B05-818A-9A1C75E14EEB}"/>
              </a:ext>
            </a:extLst>
          </p:cNvPr>
          <p:cNvSpPr>
            <a:spLocks noGrp="1"/>
          </p:cNvSpPr>
          <p:nvPr>
            <p:custDataLst>
              <p:tags r:id="rId18"/>
            </p:custDataLst>
          </p:nvPr>
        </p:nvSpPr>
        <p:spPr bwMode="auto">
          <a:xfrm>
            <a:off x="1776413"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11172E8D-8078-47A8-9AF5-7CF478705E01}" type="datetime'''200''''''''''''2'''''''''''''''''''''">
              <a:rPr lang="de-DE" altLang="en-US" sz="1400" smtClean="0">
                <a:cs typeface="Arial" panose="020B0604020202020204" pitchFamily="34" charset="0"/>
              </a:rPr>
              <a:pPr/>
              <a:t>2002</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84" name="Textplatzhalter 2">
            <a:extLst>
              <a:ext uri="{FF2B5EF4-FFF2-40B4-BE49-F238E27FC236}">
                <a16:creationId xmlns:a16="http://schemas.microsoft.com/office/drawing/2014/main" xmlns="" id="{1661D2E6-308D-4517-9F60-B440A59D347D}"/>
              </a:ext>
            </a:extLst>
          </p:cNvPr>
          <p:cNvSpPr>
            <a:spLocks noGrp="1"/>
          </p:cNvSpPr>
          <p:nvPr>
            <p:custDataLst>
              <p:tags r:id="rId19"/>
            </p:custDataLst>
          </p:nvPr>
        </p:nvSpPr>
        <p:spPr bwMode="auto">
          <a:xfrm>
            <a:off x="4643438"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1A4340FF-208B-4C23-A791-5B1230E4F405}" type="datetime'''''''''''''''''''''''''2''''''0''''1''''''''''''''''''5'''">
              <a:rPr lang="de-DE" altLang="en-US" sz="1400" smtClean="0">
                <a:cs typeface="Arial" panose="020B0604020202020204" pitchFamily="34" charset="0"/>
              </a:rPr>
              <a:pPr/>
              <a:t>2015</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76" name="Textplatzhalter 2">
            <a:extLst>
              <a:ext uri="{FF2B5EF4-FFF2-40B4-BE49-F238E27FC236}">
                <a16:creationId xmlns:a16="http://schemas.microsoft.com/office/drawing/2014/main" xmlns="" id="{2BF462AB-4B3E-4EC1-863C-5F74D11DB224}"/>
              </a:ext>
            </a:extLst>
          </p:cNvPr>
          <p:cNvSpPr>
            <a:spLocks noGrp="1"/>
          </p:cNvSpPr>
          <p:nvPr>
            <p:custDataLst>
              <p:tags r:id="rId20"/>
            </p:custDataLst>
          </p:nvPr>
        </p:nvSpPr>
        <p:spPr bwMode="auto">
          <a:xfrm>
            <a:off x="2438400"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B8D1FF8-3806-4CB6-8821-7977D258179C}" type="datetime'''2''''''''''''''''''''00''''5'''''''''''''''''''''''''''''">
              <a:rPr lang="de-DE" altLang="en-US" sz="1400" smtClean="0">
                <a:cs typeface="Arial" panose="020B0604020202020204" pitchFamily="34" charset="0"/>
              </a:rPr>
              <a:pPr/>
              <a:t>2005</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77" name="Textplatzhalter 2">
            <a:extLst>
              <a:ext uri="{FF2B5EF4-FFF2-40B4-BE49-F238E27FC236}">
                <a16:creationId xmlns:a16="http://schemas.microsoft.com/office/drawing/2014/main" xmlns="" id="{5F61F3E7-2C2C-4CA9-8E20-DE46C447A86B}"/>
              </a:ext>
            </a:extLst>
          </p:cNvPr>
          <p:cNvSpPr>
            <a:spLocks noGrp="1"/>
          </p:cNvSpPr>
          <p:nvPr>
            <p:custDataLst>
              <p:tags r:id="rId21"/>
            </p:custDataLst>
          </p:nvPr>
        </p:nvSpPr>
        <p:spPr bwMode="auto">
          <a:xfrm>
            <a:off x="2659063"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A23F8449-9E1E-46C8-8521-2217139407F5}" type="datetime'''''''''''''''''''20''''''''''''''0''''''''''6'''''''''''''">
              <a:rPr lang="de-DE" altLang="en-US" sz="1400" smtClean="0">
                <a:cs typeface="Arial" panose="020B0604020202020204" pitchFamily="34" charset="0"/>
              </a:rPr>
              <a:pPr/>
              <a:t>2006</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78" name="Textplatzhalter 2">
            <a:extLst>
              <a:ext uri="{FF2B5EF4-FFF2-40B4-BE49-F238E27FC236}">
                <a16:creationId xmlns:a16="http://schemas.microsoft.com/office/drawing/2014/main" xmlns="" id="{AC9AE6EC-A0EB-438E-BC6E-52EA10B9E2FD}"/>
              </a:ext>
            </a:extLst>
          </p:cNvPr>
          <p:cNvSpPr>
            <a:spLocks noGrp="1"/>
          </p:cNvSpPr>
          <p:nvPr>
            <p:custDataLst>
              <p:tags r:id="rId22"/>
            </p:custDataLst>
          </p:nvPr>
        </p:nvSpPr>
        <p:spPr bwMode="auto">
          <a:xfrm>
            <a:off x="2879725"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5BE1089-49D8-4EA7-9992-8151FD38762C}" type="datetime'''''''''''''''''''''2''''''0''0''''7'''''">
              <a:rPr lang="de-DE" altLang="en-US" sz="1400" smtClean="0">
                <a:cs typeface="Arial" panose="020B0604020202020204" pitchFamily="34" charset="0"/>
              </a:rPr>
              <a:pPr/>
              <a:t>2007</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64" name="Textplatzhalter 2">
            <a:extLst>
              <a:ext uri="{FF2B5EF4-FFF2-40B4-BE49-F238E27FC236}">
                <a16:creationId xmlns:a16="http://schemas.microsoft.com/office/drawing/2014/main" xmlns="" id="{88D35955-4CFF-439B-B8C0-6C3BDDE81211}"/>
              </a:ext>
            </a:extLst>
          </p:cNvPr>
          <p:cNvSpPr>
            <a:spLocks noGrp="1"/>
          </p:cNvSpPr>
          <p:nvPr>
            <p:custDataLst>
              <p:tags r:id="rId23"/>
            </p:custDataLst>
          </p:nvPr>
        </p:nvSpPr>
        <p:spPr bwMode="auto">
          <a:xfrm>
            <a:off x="3981451"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814AE9F-C0A8-4C26-81E4-A4EEFCE3563C}" type="datetime'''''''''''''2''''''0''''''''''''''1''''''''''2'''''''''''">
              <a:rPr lang="de-DE" altLang="en-US" sz="1400" smtClean="0">
                <a:latin typeface="Arial" panose="020B0604020202020204" pitchFamily="34" charset="0"/>
                <a:cs typeface="Arial" panose="020B0604020202020204" pitchFamily="34" charset="0"/>
                <a:sym typeface="Arial" panose="020B0604020202020204" pitchFamily="34" charset="0"/>
              </a:rPr>
              <a:pPr lvl="1" algn="r">
                <a:spcBef>
                  <a:spcPct val="0"/>
                </a:spcBef>
                <a:spcAft>
                  <a:spcPct val="0"/>
                </a:spcAft>
              </a:pPr>
              <a:t>2012</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59" name="Textplatzhalter 2">
            <a:extLst>
              <a:ext uri="{FF2B5EF4-FFF2-40B4-BE49-F238E27FC236}">
                <a16:creationId xmlns:a16="http://schemas.microsoft.com/office/drawing/2014/main" xmlns="" id="{ECC88D59-EA3E-4839-9CBB-B6CFC2B2BC00}"/>
              </a:ext>
            </a:extLst>
          </p:cNvPr>
          <p:cNvSpPr>
            <a:spLocks noGrp="1"/>
          </p:cNvSpPr>
          <p:nvPr>
            <p:custDataLst>
              <p:tags r:id="rId24"/>
            </p:custDataLst>
          </p:nvPr>
        </p:nvSpPr>
        <p:spPr bwMode="auto">
          <a:xfrm>
            <a:off x="3100389"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BCFFEA2-BFC4-424A-88CE-5515FA4DF996}" type="datetime'''''''''200''''''''''''''''8'''''''''''''''''''''''">
              <a:rPr lang="de-DE" altLang="en-US" sz="1400" smtClean="0">
                <a:latin typeface="Arial" panose="020B0604020202020204" pitchFamily="34" charset="0"/>
                <a:cs typeface="Arial" panose="020B0604020202020204" pitchFamily="34" charset="0"/>
                <a:sym typeface="Arial" panose="020B0604020202020204" pitchFamily="34" charset="0"/>
              </a:rPr>
              <a:pPr lvl="1" algn="r">
                <a:spcBef>
                  <a:spcPct val="0"/>
                </a:spcBef>
                <a:spcAft>
                  <a:spcPct val="0"/>
                </a:spcAft>
              </a:pPr>
              <a:t>2008</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79" name="Textplatzhalter 2">
            <a:extLst>
              <a:ext uri="{FF2B5EF4-FFF2-40B4-BE49-F238E27FC236}">
                <a16:creationId xmlns:a16="http://schemas.microsoft.com/office/drawing/2014/main" xmlns="" id="{1D924C6F-ACB6-4048-9977-50C59E8E38BD}"/>
              </a:ext>
            </a:extLst>
          </p:cNvPr>
          <p:cNvSpPr>
            <a:spLocks noGrp="1"/>
          </p:cNvSpPr>
          <p:nvPr>
            <p:custDataLst>
              <p:tags r:id="rId25"/>
            </p:custDataLst>
          </p:nvPr>
        </p:nvSpPr>
        <p:spPr bwMode="auto">
          <a:xfrm>
            <a:off x="3321050"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EFA6E6D-F1D1-4E9E-9A53-829E20D7EB63}" type="datetime'''''''2''''''''''''''''''0''''''''''0''9'''''''''''''">
              <a:rPr lang="de-DE" altLang="en-US" sz="1400" smtClean="0">
                <a:cs typeface="Arial" panose="020B0604020202020204" pitchFamily="34" charset="0"/>
              </a:rPr>
              <a:pPr/>
              <a:t>2009</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80" name="Textplatzhalter 2">
            <a:extLst>
              <a:ext uri="{FF2B5EF4-FFF2-40B4-BE49-F238E27FC236}">
                <a16:creationId xmlns:a16="http://schemas.microsoft.com/office/drawing/2014/main" xmlns="" id="{918B0A3C-2C0E-4954-B601-14D675ABDD15}"/>
              </a:ext>
            </a:extLst>
          </p:cNvPr>
          <p:cNvSpPr>
            <a:spLocks noGrp="1"/>
          </p:cNvSpPr>
          <p:nvPr>
            <p:custDataLst>
              <p:tags r:id="rId26"/>
            </p:custDataLst>
          </p:nvPr>
        </p:nvSpPr>
        <p:spPr bwMode="auto">
          <a:xfrm>
            <a:off x="3540125"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47FD46CB-A234-4403-BC27-49FA1E00F63D}" type="datetime'''2''0''''1''''''''''''''''''''''''''0'''''''''''">
              <a:rPr lang="de-DE" altLang="en-US" sz="1400" smtClean="0">
                <a:cs typeface="Arial" panose="020B0604020202020204" pitchFamily="34" charset="0"/>
              </a:rPr>
              <a:pPr/>
              <a:t>2010</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81" name="Textplatzhalter 2">
            <a:extLst>
              <a:ext uri="{FF2B5EF4-FFF2-40B4-BE49-F238E27FC236}">
                <a16:creationId xmlns:a16="http://schemas.microsoft.com/office/drawing/2014/main" xmlns="" id="{9FEA2DE8-E773-4B58-8D1C-8DA13F0D8441}"/>
              </a:ext>
            </a:extLst>
          </p:cNvPr>
          <p:cNvSpPr>
            <a:spLocks noGrp="1"/>
          </p:cNvSpPr>
          <p:nvPr>
            <p:custDataLst>
              <p:tags r:id="rId27"/>
            </p:custDataLst>
          </p:nvPr>
        </p:nvSpPr>
        <p:spPr bwMode="auto">
          <a:xfrm>
            <a:off x="3760788" y="5008563"/>
            <a:ext cx="212725"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B7F0CDF-FD46-4CAF-AEA4-58EC026FB255}" type="datetime'''''''''''''''''''''''2''''''0''1''''''''''''1'''''''''''''''">
              <a:rPr lang="de-DE" altLang="en-US" sz="1400" smtClean="0">
                <a:cs typeface="Arial" panose="020B0604020202020204" pitchFamily="34" charset="0"/>
              </a:rPr>
              <a:pPr/>
              <a:t>2011</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82" name="Textplatzhalter 2">
            <a:extLst>
              <a:ext uri="{FF2B5EF4-FFF2-40B4-BE49-F238E27FC236}">
                <a16:creationId xmlns:a16="http://schemas.microsoft.com/office/drawing/2014/main" xmlns="" id="{B1D8B926-82EA-48C0-9E70-D1114E5E3A99}"/>
              </a:ext>
            </a:extLst>
          </p:cNvPr>
          <p:cNvSpPr>
            <a:spLocks noGrp="1"/>
          </p:cNvSpPr>
          <p:nvPr>
            <p:custDataLst>
              <p:tags r:id="rId28"/>
            </p:custDataLst>
          </p:nvPr>
        </p:nvSpPr>
        <p:spPr bwMode="auto">
          <a:xfrm>
            <a:off x="4202113"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81AEBA4A-BE3A-4B7D-B814-43685DF43E64}" type="datetime'''''20''''''''''''''''''''''''''1''''''''''''''3'''''''">
              <a:rPr lang="de-DE" altLang="en-US" sz="1400" smtClean="0">
                <a:cs typeface="Arial" panose="020B0604020202020204" pitchFamily="34" charset="0"/>
              </a:rPr>
              <a:pPr/>
              <a:t>2013</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83" name="Textplatzhalter 2">
            <a:extLst>
              <a:ext uri="{FF2B5EF4-FFF2-40B4-BE49-F238E27FC236}">
                <a16:creationId xmlns:a16="http://schemas.microsoft.com/office/drawing/2014/main" xmlns="" id="{502D24F4-11E3-4A06-A8DB-5837242D0254}"/>
              </a:ext>
            </a:extLst>
          </p:cNvPr>
          <p:cNvSpPr>
            <a:spLocks noGrp="1"/>
          </p:cNvSpPr>
          <p:nvPr>
            <p:custDataLst>
              <p:tags r:id="rId29"/>
            </p:custDataLst>
          </p:nvPr>
        </p:nvSpPr>
        <p:spPr bwMode="auto">
          <a:xfrm>
            <a:off x="4422775"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5244AA9-66FB-4E63-B015-EE9586BCE8C2}" type="datetime'''''''''''2''''''''''0''''''''''''''''''1''''4'''''">
              <a:rPr lang="de-DE" altLang="en-US" sz="1400" smtClean="0">
                <a:cs typeface="Arial" panose="020B0604020202020204" pitchFamily="34" charset="0"/>
              </a:rPr>
              <a:pPr/>
              <a:t>2014</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68" name="Textplatzhalter 2">
            <a:extLst>
              <a:ext uri="{FF2B5EF4-FFF2-40B4-BE49-F238E27FC236}">
                <a16:creationId xmlns:a16="http://schemas.microsoft.com/office/drawing/2014/main" xmlns="" id="{EEC7F412-39E1-4A61-8747-8AFC621C2288}"/>
              </a:ext>
            </a:extLst>
          </p:cNvPr>
          <p:cNvSpPr>
            <a:spLocks noGrp="1"/>
          </p:cNvSpPr>
          <p:nvPr>
            <p:custDataLst>
              <p:tags r:id="rId30"/>
            </p:custDataLst>
          </p:nvPr>
        </p:nvSpPr>
        <p:spPr bwMode="auto">
          <a:xfrm>
            <a:off x="4864101"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A2886C8-975B-4952-B9D5-8382C14C4237}" type="datetime'''''2''''''''''0''''''''''''''''''''''''''''16'''''">
              <a:rPr lang="de-DE" altLang="en-US" sz="1400" smtClean="0">
                <a:latin typeface="Arial" panose="020B0604020202020204" pitchFamily="34" charset="0"/>
                <a:cs typeface="Arial" panose="020B0604020202020204" pitchFamily="34" charset="0"/>
                <a:sym typeface="Arial" panose="020B0604020202020204" pitchFamily="34" charset="0"/>
              </a:rPr>
              <a:pPr lvl="1" algn="r">
                <a:spcBef>
                  <a:spcPct val="0"/>
                </a:spcBef>
                <a:spcAft>
                  <a:spcPct val="0"/>
                </a:spcAft>
              </a:pPr>
              <a:t>2016</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85" name="Textplatzhalter 2">
            <a:extLst>
              <a:ext uri="{FF2B5EF4-FFF2-40B4-BE49-F238E27FC236}">
                <a16:creationId xmlns:a16="http://schemas.microsoft.com/office/drawing/2014/main" xmlns="" id="{FA5123BC-CBFE-48D9-9D48-1975CEE4B580}"/>
              </a:ext>
            </a:extLst>
          </p:cNvPr>
          <p:cNvSpPr>
            <a:spLocks noGrp="1"/>
          </p:cNvSpPr>
          <p:nvPr>
            <p:custDataLst>
              <p:tags r:id="rId31"/>
            </p:custDataLst>
          </p:nvPr>
        </p:nvSpPr>
        <p:spPr bwMode="auto">
          <a:xfrm>
            <a:off x="5084763"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F283A76-0A6D-4548-8146-5541C5FEF937}" type="datetime'''''''''''''''''2''''''''''''''''''''0''''''''1''7'''">
              <a:rPr lang="de-DE" altLang="en-US" sz="1400" smtClean="0">
                <a:cs typeface="Arial" panose="020B0604020202020204" pitchFamily="34" charset="0"/>
              </a:rPr>
              <a:pPr/>
              <a:t>2017</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70" name="Textplatzhalter 2">
            <a:extLst>
              <a:ext uri="{FF2B5EF4-FFF2-40B4-BE49-F238E27FC236}">
                <a16:creationId xmlns:a16="http://schemas.microsoft.com/office/drawing/2014/main" xmlns="" id="{8D77F721-EC7C-4D76-9193-9264297F8440}"/>
              </a:ext>
            </a:extLst>
          </p:cNvPr>
          <p:cNvSpPr>
            <a:spLocks noGrp="1"/>
          </p:cNvSpPr>
          <p:nvPr>
            <p:custDataLst>
              <p:tags r:id="rId32"/>
            </p:custDataLst>
          </p:nvPr>
        </p:nvSpPr>
        <p:spPr bwMode="auto">
          <a:xfrm>
            <a:off x="5305425" y="5008563"/>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DE2FA233-DEF4-406F-BFE8-6AA7292ECCA1}" type="datetime'''''''''''''''''''''''''''''''''''''''''''2''0''''''1''''8'">
              <a:rPr lang="de-DE" altLang="en-US" sz="1400" smtClean="0">
                <a:cs typeface="Arial" panose="020B0604020202020204" pitchFamily="34" charset="0"/>
              </a:rPr>
              <a:pPr/>
              <a:t>2018</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41" name="Textplatzhalter 2">
            <a:extLst>
              <a:ext uri="{FF2B5EF4-FFF2-40B4-BE49-F238E27FC236}">
                <a16:creationId xmlns:a16="http://schemas.microsoft.com/office/drawing/2014/main" xmlns="" id="{7200132C-F203-4B95-8F49-32202E97C42E}"/>
              </a:ext>
            </a:extLst>
          </p:cNvPr>
          <p:cNvSpPr>
            <a:spLocks noGrp="1"/>
          </p:cNvSpPr>
          <p:nvPr>
            <p:custDataLst>
              <p:tags r:id="rId33"/>
            </p:custDataLst>
          </p:nvPr>
        </p:nvSpPr>
        <p:spPr bwMode="auto">
          <a:xfrm>
            <a:off x="1804988" y="2725738"/>
            <a:ext cx="579438" cy="273050"/>
          </a:xfrm>
          <a:prstGeom prst="ellipse">
            <a:avLst/>
          </a:prstGeom>
          <a:solidFill>
            <a:schemeClr val="bg1"/>
          </a:solidFill>
          <a:ln w="9525">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lnSpc>
                <a:spcPct val="90000"/>
              </a:lnSpc>
              <a:spcBef>
                <a:spcPct val="0"/>
              </a:spcBef>
              <a:spcAft>
                <a:spcPct val="0"/>
              </a:spcAft>
            </a:pPr>
            <a:fld id="{242EDC41-2648-4E40-B2B4-892B93A20C5B}" type="datetime'''''''''''''''''''''''''''''+''''''''''''''''''''7'''' %'''">
              <a:rPr lang="de-DE" altLang="en-US" sz="1400" b="1" smtClean="0">
                <a:cs typeface="Arial" panose="020B0604020202020204" pitchFamily="34" charset="0"/>
              </a:rPr>
              <a:pPr lvl="1" algn="ctr">
                <a:lnSpc>
                  <a:spcPct val="90000"/>
                </a:lnSpc>
                <a:spcBef>
                  <a:spcPct val="0"/>
                </a:spcBef>
                <a:spcAft>
                  <a:spcPct val="0"/>
                </a:spcAft>
              </a:pPr>
              <a:t>+7 %</a:t>
            </a:fld>
            <a:endParaRPr lang="de-DE" sz="1400" b="1" dirty="0">
              <a:latin typeface="Arial" panose="020B0604020202020204" pitchFamily="34" charset="0"/>
              <a:cs typeface="Arial" panose="020B0604020202020204" pitchFamily="34" charset="0"/>
              <a:sym typeface="Arial" panose="020B0604020202020204" pitchFamily="34" charset="0"/>
            </a:endParaRPr>
          </a:p>
        </p:txBody>
      </p:sp>
      <p:sp>
        <p:nvSpPr>
          <p:cNvPr id="37" name="Textplatzhalter 2">
            <a:extLst>
              <a:ext uri="{FF2B5EF4-FFF2-40B4-BE49-F238E27FC236}">
                <a16:creationId xmlns:a16="http://schemas.microsoft.com/office/drawing/2014/main" xmlns="" id="{663AD771-CBA7-4B0D-8A32-2879E7D657E8}"/>
              </a:ext>
            </a:extLst>
          </p:cNvPr>
          <p:cNvSpPr>
            <a:spLocks noGrp="1"/>
          </p:cNvSpPr>
          <p:nvPr>
            <p:custDataLst>
              <p:tags r:id="rId34"/>
            </p:custDataLst>
          </p:nvPr>
        </p:nvSpPr>
        <p:spPr bwMode="auto">
          <a:xfrm>
            <a:off x="2957513" y="2473325"/>
            <a:ext cx="719138" cy="273050"/>
          </a:xfrm>
          <a:prstGeom prst="ellipse">
            <a:avLst/>
          </a:prstGeom>
          <a:solidFill>
            <a:schemeClr val="bg1"/>
          </a:solidFill>
          <a:ln w="9525">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lnSpc>
                <a:spcPct val="90000"/>
              </a:lnSpc>
              <a:spcBef>
                <a:spcPct val="0"/>
              </a:spcBef>
              <a:spcAft>
                <a:spcPct val="0"/>
              </a:spcAft>
            </a:pPr>
            <a:fld id="{BA595542-3B9E-4C30-82E8-8FEF73EF6FDD}" type="datetime'''+''''''''''''''1''''''''''''''''''3'''' ''''''''''%'">
              <a:rPr lang="de-DE" altLang="en-US" sz="1400" b="1" smtClean="0">
                <a:latin typeface="Arial" panose="020B0604020202020204" pitchFamily="34" charset="0"/>
                <a:cs typeface="Arial" panose="020B0604020202020204" pitchFamily="34" charset="0"/>
                <a:sym typeface="Arial" panose="020B0604020202020204" pitchFamily="34" charset="0"/>
              </a:rPr>
              <a:pPr lvl="1" algn="ctr">
                <a:lnSpc>
                  <a:spcPct val="90000"/>
                </a:lnSpc>
                <a:spcBef>
                  <a:spcPct val="0"/>
                </a:spcBef>
                <a:spcAft>
                  <a:spcPct val="0"/>
                </a:spcAft>
              </a:pPr>
              <a:t>+13 %</a:t>
            </a:fld>
            <a:endParaRPr lang="de-DE" sz="1400" b="1" dirty="0">
              <a:latin typeface="Arial" panose="020B0604020202020204" pitchFamily="34" charset="0"/>
              <a:cs typeface="Arial" panose="020B0604020202020204" pitchFamily="34" charset="0"/>
              <a:sym typeface="Arial" panose="020B0604020202020204" pitchFamily="34" charset="0"/>
            </a:endParaRPr>
          </a:p>
        </p:txBody>
      </p:sp>
      <p:sp>
        <p:nvSpPr>
          <p:cNvPr id="35" name="Textplatzhalter 2">
            <a:extLst>
              <a:ext uri="{FF2B5EF4-FFF2-40B4-BE49-F238E27FC236}">
                <a16:creationId xmlns:a16="http://schemas.microsoft.com/office/drawing/2014/main" xmlns="" id="{A50F6F3C-F785-4846-8E63-E3EC85AF24A0}"/>
              </a:ext>
            </a:extLst>
          </p:cNvPr>
          <p:cNvSpPr>
            <a:spLocks noGrp="1"/>
          </p:cNvSpPr>
          <p:nvPr>
            <p:custDataLst>
              <p:tags r:id="rId35"/>
            </p:custDataLst>
          </p:nvPr>
        </p:nvSpPr>
        <p:spPr bwMode="auto">
          <a:xfrm>
            <a:off x="4433888" y="2249488"/>
            <a:ext cx="433388" cy="273050"/>
          </a:xfrm>
          <a:prstGeom prst="ellipse">
            <a:avLst/>
          </a:prstGeom>
          <a:solidFill>
            <a:schemeClr val="bg1"/>
          </a:solidFill>
          <a:ln w="9525">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lnSpc>
                <a:spcPct val="90000"/>
              </a:lnSpc>
              <a:spcBef>
                <a:spcPct val="0"/>
              </a:spcBef>
              <a:spcAft>
                <a:spcPct val="0"/>
              </a:spcAft>
            </a:pPr>
            <a:fld id="{340B6E69-F3D1-4B0E-89E0-C53B690DCA00}" type="datetime'''''''''''''''''''''''''''''''''9 ''''''''''''''%'''''''''">
              <a:rPr lang="de-DE" altLang="en-US" sz="1400" b="1" smtClean="0">
                <a:cs typeface="Arial" panose="020B0604020202020204" pitchFamily="34" charset="0"/>
              </a:rPr>
              <a:pPr lvl="1" algn="ctr">
                <a:lnSpc>
                  <a:spcPct val="90000"/>
                </a:lnSpc>
                <a:spcBef>
                  <a:spcPct val="0"/>
                </a:spcBef>
                <a:spcAft>
                  <a:spcPct val="0"/>
                </a:spcAft>
              </a:pPr>
              <a:t>9 %</a:t>
            </a:fld>
            <a:endParaRPr lang="de-DE" sz="1400" b="1" dirty="0">
              <a:latin typeface="Arial" panose="020B0604020202020204" pitchFamily="34" charset="0"/>
              <a:cs typeface="Arial" panose="020B0604020202020204" pitchFamily="34" charset="0"/>
              <a:sym typeface="Arial" panose="020B0604020202020204" pitchFamily="34" charset="0"/>
            </a:endParaRPr>
          </a:p>
        </p:txBody>
      </p:sp>
      <p:sp>
        <p:nvSpPr>
          <p:cNvPr id="25" name="Textfeld 24">
            <a:extLst>
              <a:ext uri="{FF2B5EF4-FFF2-40B4-BE49-F238E27FC236}">
                <a16:creationId xmlns:a16="http://schemas.microsoft.com/office/drawing/2014/main" xmlns="" id="{BA948AB7-7FF7-4C8F-9ACE-2B63CC76CA98}"/>
              </a:ext>
            </a:extLst>
          </p:cNvPr>
          <p:cNvSpPr txBox="1"/>
          <p:nvPr/>
        </p:nvSpPr>
        <p:spPr>
          <a:xfrm>
            <a:off x="451758" y="5847075"/>
            <a:ext cx="8164800" cy="246221"/>
          </a:xfrm>
          <a:prstGeom prst="rect">
            <a:avLst/>
          </a:prstGeom>
          <a:noFill/>
        </p:spPr>
        <p:txBody>
          <a:bodyPr wrap="square" rtlCol="0">
            <a:spAutoFit/>
          </a:bodyPr>
          <a:lstStyle/>
          <a:p>
            <a:pPr marL="0" lvl="1">
              <a:tabLst>
                <a:tab pos="180975" algn="l"/>
              </a:tabLst>
            </a:pPr>
            <a:r>
              <a:rPr lang="de-DE" sz="1000" dirty="0">
                <a:latin typeface="Arial" panose="020B0604020202020204" pitchFamily="34" charset="0"/>
                <a:cs typeface="Arial" panose="020B0604020202020204" pitchFamily="34" charset="0"/>
                <a:sym typeface="Arial" panose="020B0604020202020204" pitchFamily="34" charset="0"/>
              </a:rPr>
              <a:t>Quelle: Pressemitteilung, Geschäftsberichte Wiener Stadtwerke</a:t>
            </a:r>
          </a:p>
        </p:txBody>
      </p:sp>
      <p:grpSp>
        <p:nvGrpSpPr>
          <p:cNvPr id="20" name="Gruppieren 19">
            <a:extLst>
              <a:ext uri="{FF2B5EF4-FFF2-40B4-BE49-F238E27FC236}">
                <a16:creationId xmlns:a16="http://schemas.microsoft.com/office/drawing/2014/main" xmlns="" id="{12D684EF-92D1-4A70-BB2D-18A1A0FDC54B}"/>
              </a:ext>
            </a:extLst>
          </p:cNvPr>
          <p:cNvGrpSpPr/>
          <p:nvPr/>
        </p:nvGrpSpPr>
        <p:grpSpPr>
          <a:xfrm>
            <a:off x="5472856" y="1628800"/>
            <a:ext cx="395288" cy="396000"/>
            <a:chOff x="2510622" y="2646363"/>
            <a:chExt cx="578254" cy="578254"/>
          </a:xfrm>
        </p:grpSpPr>
        <p:grpSp>
          <p:nvGrpSpPr>
            <p:cNvPr id="21" name="Gruppieren 20">
              <a:extLst>
                <a:ext uri="{FF2B5EF4-FFF2-40B4-BE49-F238E27FC236}">
                  <a16:creationId xmlns:a16="http://schemas.microsoft.com/office/drawing/2014/main" xmlns="" id="{EDE47A41-F338-4302-97CE-C86CF8D08181}"/>
                </a:ext>
              </a:extLst>
            </p:cNvPr>
            <p:cNvGrpSpPr/>
            <p:nvPr/>
          </p:nvGrpSpPr>
          <p:grpSpPr bwMode="gray">
            <a:xfrm>
              <a:off x="2626989" y="2749029"/>
              <a:ext cx="350202" cy="373413"/>
              <a:chOff x="5541963" y="-3381375"/>
              <a:chExt cx="550862" cy="587375"/>
            </a:xfrm>
            <a:solidFill>
              <a:schemeClr val="accent5"/>
            </a:solidFill>
          </p:grpSpPr>
          <p:sp>
            <p:nvSpPr>
              <p:cNvPr id="23" name="Oval 203">
                <a:extLst>
                  <a:ext uri="{FF2B5EF4-FFF2-40B4-BE49-F238E27FC236}">
                    <a16:creationId xmlns:a16="http://schemas.microsoft.com/office/drawing/2014/main" xmlns="" id="{CFDEDD52-F425-4C15-896B-002E2E446270}"/>
                  </a:ext>
                </a:extLst>
              </p:cNvPr>
              <p:cNvSpPr>
                <a:spLocks noChangeArrowheads="1"/>
              </p:cNvSpPr>
              <p:nvPr/>
            </p:nvSpPr>
            <p:spPr bwMode="gray">
              <a:xfrm>
                <a:off x="5954713" y="-3351213"/>
                <a:ext cx="100012"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24" name="Freeform 204">
                <a:extLst>
                  <a:ext uri="{FF2B5EF4-FFF2-40B4-BE49-F238E27FC236}">
                    <a16:creationId xmlns:a16="http://schemas.microsoft.com/office/drawing/2014/main" xmlns="" id="{8D88023E-17D9-401D-ACB7-108AE09BC9D5}"/>
                  </a:ext>
                </a:extLst>
              </p:cNvPr>
              <p:cNvSpPr>
                <a:spLocks/>
              </p:cNvSpPr>
              <p:nvPr/>
            </p:nvSpPr>
            <p:spPr bwMode="gray">
              <a:xfrm>
                <a:off x="5946775" y="-3232150"/>
                <a:ext cx="146050" cy="355600"/>
              </a:xfrm>
              <a:custGeom>
                <a:avLst/>
                <a:gdLst>
                  <a:gd name="T0" fmla="*/ 29 w 39"/>
                  <a:gd name="T1" fmla="*/ 0 h 95"/>
                  <a:gd name="T2" fmla="*/ 3 w 39"/>
                  <a:gd name="T3" fmla="*/ 0 h 95"/>
                  <a:gd name="T4" fmla="*/ 6 w 39"/>
                  <a:gd name="T5" fmla="*/ 10 h 95"/>
                  <a:gd name="T6" fmla="*/ 6 w 39"/>
                  <a:gd name="T7" fmla="*/ 48 h 95"/>
                  <a:gd name="T8" fmla="*/ 0 w 39"/>
                  <a:gd name="T9" fmla="*/ 61 h 95"/>
                  <a:gd name="T10" fmla="*/ 0 w 39"/>
                  <a:gd name="T11" fmla="*/ 87 h 95"/>
                  <a:gd name="T12" fmla="*/ 8 w 39"/>
                  <a:gd name="T13" fmla="*/ 95 h 95"/>
                  <a:gd name="T14" fmla="*/ 16 w 39"/>
                  <a:gd name="T15" fmla="*/ 88 h 95"/>
                  <a:gd name="T16" fmla="*/ 23 w 39"/>
                  <a:gd name="T17" fmla="*/ 95 h 95"/>
                  <a:gd name="T18" fmla="*/ 31 w 39"/>
                  <a:gd name="T19" fmla="*/ 87 h 95"/>
                  <a:gd name="T20" fmla="*/ 31 w 39"/>
                  <a:gd name="T21" fmla="*/ 50 h 95"/>
                  <a:gd name="T22" fmla="*/ 39 w 39"/>
                  <a:gd name="T23" fmla="*/ 40 h 95"/>
                  <a:gd name="T24" fmla="*/ 39 w 39"/>
                  <a:gd name="T25" fmla="*/ 11 h 95"/>
                  <a:gd name="T26" fmla="*/ 29 w 39"/>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95">
                    <a:moveTo>
                      <a:pt x="29" y="0"/>
                    </a:moveTo>
                    <a:cubicBezTo>
                      <a:pt x="3" y="0"/>
                      <a:pt x="3" y="0"/>
                      <a:pt x="3" y="0"/>
                    </a:cubicBezTo>
                    <a:cubicBezTo>
                      <a:pt x="5" y="3"/>
                      <a:pt x="6" y="7"/>
                      <a:pt x="6" y="10"/>
                    </a:cubicBezTo>
                    <a:cubicBezTo>
                      <a:pt x="6" y="48"/>
                      <a:pt x="6" y="48"/>
                      <a:pt x="6" y="48"/>
                    </a:cubicBezTo>
                    <a:cubicBezTo>
                      <a:pt x="6" y="53"/>
                      <a:pt x="4" y="58"/>
                      <a:pt x="0" y="61"/>
                    </a:cubicBezTo>
                    <a:cubicBezTo>
                      <a:pt x="0" y="87"/>
                      <a:pt x="0" y="87"/>
                      <a:pt x="0" y="87"/>
                    </a:cubicBezTo>
                    <a:cubicBezTo>
                      <a:pt x="0" y="91"/>
                      <a:pt x="4" y="95"/>
                      <a:pt x="8" y="95"/>
                    </a:cubicBezTo>
                    <a:cubicBezTo>
                      <a:pt x="12" y="95"/>
                      <a:pt x="15" y="92"/>
                      <a:pt x="16" y="88"/>
                    </a:cubicBezTo>
                    <a:cubicBezTo>
                      <a:pt x="16" y="92"/>
                      <a:pt x="19" y="95"/>
                      <a:pt x="23" y="95"/>
                    </a:cubicBezTo>
                    <a:cubicBezTo>
                      <a:pt x="28" y="95"/>
                      <a:pt x="31" y="91"/>
                      <a:pt x="31" y="87"/>
                    </a:cubicBezTo>
                    <a:cubicBezTo>
                      <a:pt x="31" y="50"/>
                      <a:pt x="31" y="50"/>
                      <a:pt x="31" y="50"/>
                    </a:cubicBezTo>
                    <a:cubicBezTo>
                      <a:pt x="36" y="49"/>
                      <a:pt x="39" y="45"/>
                      <a:pt x="39" y="40"/>
                    </a:cubicBezTo>
                    <a:cubicBezTo>
                      <a:pt x="39" y="11"/>
                      <a:pt x="39" y="11"/>
                      <a:pt x="39" y="11"/>
                    </a:cubicBezTo>
                    <a:cubicBezTo>
                      <a:pt x="39" y="5"/>
                      <a:pt x="34"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26" name="Freeform 205">
                <a:extLst>
                  <a:ext uri="{FF2B5EF4-FFF2-40B4-BE49-F238E27FC236}">
                    <a16:creationId xmlns:a16="http://schemas.microsoft.com/office/drawing/2014/main" xmlns="" id="{58A0EC34-6B52-469D-8E0B-DA22250C88CA}"/>
                  </a:ext>
                </a:extLst>
              </p:cNvPr>
              <p:cNvSpPr>
                <a:spLocks/>
              </p:cNvSpPr>
              <p:nvPr/>
            </p:nvSpPr>
            <p:spPr bwMode="gray">
              <a:xfrm>
                <a:off x="5541963" y="-3232150"/>
                <a:ext cx="146050" cy="355600"/>
              </a:xfrm>
              <a:custGeom>
                <a:avLst/>
                <a:gdLst>
                  <a:gd name="T0" fmla="*/ 32 w 39"/>
                  <a:gd name="T1" fmla="*/ 48 h 95"/>
                  <a:gd name="T2" fmla="*/ 32 w 39"/>
                  <a:gd name="T3" fmla="*/ 10 h 95"/>
                  <a:gd name="T4" fmla="*/ 35 w 39"/>
                  <a:gd name="T5" fmla="*/ 0 h 95"/>
                  <a:gd name="T6" fmla="*/ 10 w 39"/>
                  <a:gd name="T7" fmla="*/ 0 h 95"/>
                  <a:gd name="T8" fmla="*/ 0 w 39"/>
                  <a:gd name="T9" fmla="*/ 11 h 95"/>
                  <a:gd name="T10" fmla="*/ 0 w 39"/>
                  <a:gd name="T11" fmla="*/ 40 h 95"/>
                  <a:gd name="T12" fmla="*/ 8 w 39"/>
                  <a:gd name="T13" fmla="*/ 50 h 95"/>
                  <a:gd name="T14" fmla="*/ 8 w 39"/>
                  <a:gd name="T15" fmla="*/ 87 h 95"/>
                  <a:gd name="T16" fmla="*/ 16 w 39"/>
                  <a:gd name="T17" fmla="*/ 95 h 95"/>
                  <a:gd name="T18" fmla="*/ 24 w 39"/>
                  <a:gd name="T19" fmla="*/ 88 h 95"/>
                  <a:gd name="T20" fmla="*/ 31 w 39"/>
                  <a:gd name="T21" fmla="*/ 95 h 95"/>
                  <a:gd name="T22" fmla="*/ 39 w 39"/>
                  <a:gd name="T23" fmla="*/ 87 h 95"/>
                  <a:gd name="T24" fmla="*/ 39 w 39"/>
                  <a:gd name="T25" fmla="*/ 61 h 95"/>
                  <a:gd name="T26" fmla="*/ 32 w 39"/>
                  <a:gd name="T27" fmla="*/ 4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95">
                    <a:moveTo>
                      <a:pt x="32" y="48"/>
                    </a:moveTo>
                    <a:cubicBezTo>
                      <a:pt x="32" y="10"/>
                      <a:pt x="32" y="10"/>
                      <a:pt x="32" y="10"/>
                    </a:cubicBezTo>
                    <a:cubicBezTo>
                      <a:pt x="32" y="7"/>
                      <a:pt x="33" y="3"/>
                      <a:pt x="35" y="0"/>
                    </a:cubicBezTo>
                    <a:cubicBezTo>
                      <a:pt x="10" y="0"/>
                      <a:pt x="10" y="0"/>
                      <a:pt x="10" y="0"/>
                    </a:cubicBezTo>
                    <a:cubicBezTo>
                      <a:pt x="5" y="0"/>
                      <a:pt x="0" y="5"/>
                      <a:pt x="0" y="11"/>
                    </a:cubicBezTo>
                    <a:cubicBezTo>
                      <a:pt x="0" y="40"/>
                      <a:pt x="0" y="40"/>
                      <a:pt x="0" y="40"/>
                    </a:cubicBezTo>
                    <a:cubicBezTo>
                      <a:pt x="0" y="45"/>
                      <a:pt x="4" y="49"/>
                      <a:pt x="8" y="50"/>
                    </a:cubicBezTo>
                    <a:cubicBezTo>
                      <a:pt x="8" y="87"/>
                      <a:pt x="8" y="87"/>
                      <a:pt x="8" y="87"/>
                    </a:cubicBezTo>
                    <a:cubicBezTo>
                      <a:pt x="8" y="91"/>
                      <a:pt x="11" y="95"/>
                      <a:pt x="16" y="95"/>
                    </a:cubicBezTo>
                    <a:cubicBezTo>
                      <a:pt x="20" y="95"/>
                      <a:pt x="23" y="92"/>
                      <a:pt x="24" y="88"/>
                    </a:cubicBezTo>
                    <a:cubicBezTo>
                      <a:pt x="24" y="92"/>
                      <a:pt x="27" y="95"/>
                      <a:pt x="31" y="95"/>
                    </a:cubicBezTo>
                    <a:cubicBezTo>
                      <a:pt x="36" y="95"/>
                      <a:pt x="39" y="91"/>
                      <a:pt x="39" y="87"/>
                    </a:cubicBezTo>
                    <a:cubicBezTo>
                      <a:pt x="39" y="61"/>
                      <a:pt x="39" y="61"/>
                      <a:pt x="39" y="61"/>
                    </a:cubicBezTo>
                    <a:cubicBezTo>
                      <a:pt x="35" y="58"/>
                      <a:pt x="32" y="53"/>
                      <a:pt x="32"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27" name="Oval 206">
                <a:extLst>
                  <a:ext uri="{FF2B5EF4-FFF2-40B4-BE49-F238E27FC236}">
                    <a16:creationId xmlns:a16="http://schemas.microsoft.com/office/drawing/2014/main" xmlns="" id="{605A23E5-20E3-4AC8-A326-0C53AF3F45E8}"/>
                  </a:ext>
                </a:extLst>
              </p:cNvPr>
              <p:cNvSpPr>
                <a:spLocks noChangeArrowheads="1"/>
              </p:cNvSpPr>
              <p:nvPr/>
            </p:nvSpPr>
            <p:spPr bwMode="gray">
              <a:xfrm>
                <a:off x="5580063" y="-3351213"/>
                <a:ext cx="100012"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28" name="Freeform 207">
                <a:extLst>
                  <a:ext uri="{FF2B5EF4-FFF2-40B4-BE49-F238E27FC236}">
                    <a16:creationId xmlns:a16="http://schemas.microsoft.com/office/drawing/2014/main" xmlns="" id="{D76A89C1-B2DD-49C9-AB98-082090C9C733}"/>
                  </a:ext>
                </a:extLst>
              </p:cNvPr>
              <p:cNvSpPr>
                <a:spLocks/>
              </p:cNvSpPr>
              <p:nvPr/>
            </p:nvSpPr>
            <p:spPr bwMode="gray">
              <a:xfrm>
                <a:off x="5691188" y="-3232150"/>
                <a:ext cx="247650" cy="438150"/>
              </a:xfrm>
              <a:custGeom>
                <a:avLst/>
                <a:gdLst>
                  <a:gd name="T0" fmla="*/ 53 w 66"/>
                  <a:gd name="T1" fmla="*/ 58 h 117"/>
                  <a:gd name="T2" fmla="*/ 56 w 66"/>
                  <a:gd name="T3" fmla="*/ 58 h 117"/>
                  <a:gd name="T4" fmla="*/ 66 w 66"/>
                  <a:gd name="T5" fmla="*/ 48 h 117"/>
                  <a:gd name="T6" fmla="*/ 66 w 66"/>
                  <a:gd name="T7" fmla="*/ 10 h 117"/>
                  <a:gd name="T8" fmla="*/ 56 w 66"/>
                  <a:gd name="T9" fmla="*/ 0 h 117"/>
                  <a:gd name="T10" fmla="*/ 43 w 66"/>
                  <a:gd name="T11" fmla="*/ 0 h 117"/>
                  <a:gd name="T12" fmla="*/ 33 w 66"/>
                  <a:gd name="T13" fmla="*/ 13 h 117"/>
                  <a:gd name="T14" fmla="*/ 23 w 66"/>
                  <a:gd name="T15" fmla="*/ 0 h 117"/>
                  <a:gd name="T16" fmla="*/ 10 w 66"/>
                  <a:gd name="T17" fmla="*/ 0 h 117"/>
                  <a:gd name="T18" fmla="*/ 0 w 66"/>
                  <a:gd name="T19" fmla="*/ 10 h 117"/>
                  <a:gd name="T20" fmla="*/ 0 w 66"/>
                  <a:gd name="T21" fmla="*/ 48 h 117"/>
                  <a:gd name="T22" fmla="*/ 10 w 66"/>
                  <a:gd name="T23" fmla="*/ 58 h 117"/>
                  <a:gd name="T24" fmla="*/ 14 w 66"/>
                  <a:gd name="T25" fmla="*/ 58 h 117"/>
                  <a:gd name="T26" fmla="*/ 14 w 66"/>
                  <a:gd name="T27" fmla="*/ 106 h 117"/>
                  <a:gd name="T28" fmla="*/ 24 w 66"/>
                  <a:gd name="T29" fmla="*/ 117 h 117"/>
                  <a:gd name="T30" fmla="*/ 33 w 66"/>
                  <a:gd name="T31" fmla="*/ 110 h 117"/>
                  <a:gd name="T32" fmla="*/ 43 w 66"/>
                  <a:gd name="T33" fmla="*/ 117 h 117"/>
                  <a:gd name="T34" fmla="*/ 53 w 66"/>
                  <a:gd name="T35" fmla="*/ 106 h 117"/>
                  <a:gd name="T36" fmla="*/ 53 w 66"/>
                  <a:gd name="T37" fmla="*/ 5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17">
                    <a:moveTo>
                      <a:pt x="53" y="58"/>
                    </a:moveTo>
                    <a:cubicBezTo>
                      <a:pt x="56" y="58"/>
                      <a:pt x="56" y="58"/>
                      <a:pt x="56" y="58"/>
                    </a:cubicBezTo>
                    <a:cubicBezTo>
                      <a:pt x="62" y="58"/>
                      <a:pt x="66" y="53"/>
                      <a:pt x="66" y="48"/>
                    </a:cubicBezTo>
                    <a:cubicBezTo>
                      <a:pt x="66" y="10"/>
                      <a:pt x="66" y="10"/>
                      <a:pt x="66" y="10"/>
                    </a:cubicBezTo>
                    <a:cubicBezTo>
                      <a:pt x="66" y="5"/>
                      <a:pt x="62" y="0"/>
                      <a:pt x="56" y="0"/>
                    </a:cubicBezTo>
                    <a:cubicBezTo>
                      <a:pt x="43" y="0"/>
                      <a:pt x="43" y="0"/>
                      <a:pt x="43" y="0"/>
                    </a:cubicBezTo>
                    <a:cubicBezTo>
                      <a:pt x="33" y="13"/>
                      <a:pt x="33" y="13"/>
                      <a:pt x="33" y="13"/>
                    </a:cubicBezTo>
                    <a:cubicBezTo>
                      <a:pt x="23" y="0"/>
                      <a:pt x="23" y="0"/>
                      <a:pt x="23" y="0"/>
                    </a:cubicBezTo>
                    <a:cubicBezTo>
                      <a:pt x="10" y="0"/>
                      <a:pt x="10" y="0"/>
                      <a:pt x="10" y="0"/>
                    </a:cubicBezTo>
                    <a:cubicBezTo>
                      <a:pt x="5" y="0"/>
                      <a:pt x="0" y="5"/>
                      <a:pt x="0" y="10"/>
                    </a:cubicBezTo>
                    <a:cubicBezTo>
                      <a:pt x="0" y="48"/>
                      <a:pt x="0" y="48"/>
                      <a:pt x="0" y="48"/>
                    </a:cubicBezTo>
                    <a:cubicBezTo>
                      <a:pt x="0" y="53"/>
                      <a:pt x="5" y="58"/>
                      <a:pt x="10" y="58"/>
                    </a:cubicBezTo>
                    <a:cubicBezTo>
                      <a:pt x="14" y="58"/>
                      <a:pt x="14" y="58"/>
                      <a:pt x="14" y="58"/>
                    </a:cubicBezTo>
                    <a:cubicBezTo>
                      <a:pt x="14" y="106"/>
                      <a:pt x="14" y="106"/>
                      <a:pt x="14" y="106"/>
                    </a:cubicBezTo>
                    <a:cubicBezTo>
                      <a:pt x="14" y="112"/>
                      <a:pt x="18" y="117"/>
                      <a:pt x="24" y="117"/>
                    </a:cubicBezTo>
                    <a:cubicBezTo>
                      <a:pt x="28" y="117"/>
                      <a:pt x="32" y="114"/>
                      <a:pt x="33" y="110"/>
                    </a:cubicBezTo>
                    <a:cubicBezTo>
                      <a:pt x="35" y="114"/>
                      <a:pt x="38" y="117"/>
                      <a:pt x="43" y="117"/>
                    </a:cubicBezTo>
                    <a:cubicBezTo>
                      <a:pt x="48" y="117"/>
                      <a:pt x="53" y="112"/>
                      <a:pt x="53" y="106"/>
                    </a:cubicBezTo>
                    <a:lnTo>
                      <a:pt x="53"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29" name="Freeform 208">
                <a:extLst>
                  <a:ext uri="{FF2B5EF4-FFF2-40B4-BE49-F238E27FC236}">
                    <a16:creationId xmlns:a16="http://schemas.microsoft.com/office/drawing/2014/main" xmlns="" id="{C9136BA5-CA17-4AF4-AC60-AFCD0D46745D}"/>
                  </a:ext>
                </a:extLst>
              </p:cNvPr>
              <p:cNvSpPr>
                <a:spLocks/>
              </p:cNvSpPr>
              <p:nvPr/>
            </p:nvSpPr>
            <p:spPr bwMode="gray">
              <a:xfrm>
                <a:off x="5756275" y="-3381375"/>
                <a:ext cx="122237" cy="123825"/>
              </a:xfrm>
              <a:custGeom>
                <a:avLst/>
                <a:gdLst>
                  <a:gd name="T0" fmla="*/ 33 w 33"/>
                  <a:gd name="T1" fmla="*/ 17 h 33"/>
                  <a:gd name="T2" fmla="*/ 16 w 33"/>
                  <a:gd name="T3" fmla="*/ 0 h 33"/>
                  <a:gd name="T4" fmla="*/ 0 w 33"/>
                  <a:gd name="T5" fmla="*/ 17 h 33"/>
                  <a:gd name="T6" fmla="*/ 16 w 33"/>
                  <a:gd name="T7" fmla="*/ 33 h 33"/>
                  <a:gd name="T8" fmla="*/ 33 w 33"/>
                  <a:gd name="T9" fmla="*/ 17 h 33"/>
                </a:gdLst>
                <a:ahLst/>
                <a:cxnLst>
                  <a:cxn ang="0">
                    <a:pos x="T0" y="T1"/>
                  </a:cxn>
                  <a:cxn ang="0">
                    <a:pos x="T2" y="T3"/>
                  </a:cxn>
                  <a:cxn ang="0">
                    <a:pos x="T4" y="T5"/>
                  </a:cxn>
                  <a:cxn ang="0">
                    <a:pos x="T6" y="T7"/>
                  </a:cxn>
                  <a:cxn ang="0">
                    <a:pos x="T8" y="T9"/>
                  </a:cxn>
                </a:cxnLst>
                <a:rect l="0" t="0" r="r" b="b"/>
                <a:pathLst>
                  <a:path w="33" h="33">
                    <a:moveTo>
                      <a:pt x="33" y="17"/>
                    </a:moveTo>
                    <a:cubicBezTo>
                      <a:pt x="33" y="7"/>
                      <a:pt x="26" y="0"/>
                      <a:pt x="16" y="0"/>
                    </a:cubicBezTo>
                    <a:cubicBezTo>
                      <a:pt x="7" y="0"/>
                      <a:pt x="0" y="7"/>
                      <a:pt x="0" y="17"/>
                    </a:cubicBezTo>
                    <a:cubicBezTo>
                      <a:pt x="0" y="26"/>
                      <a:pt x="8" y="33"/>
                      <a:pt x="16" y="33"/>
                    </a:cubicBezTo>
                    <a:cubicBezTo>
                      <a:pt x="25" y="33"/>
                      <a:pt x="33" y="26"/>
                      <a:pt x="3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sym typeface="Arial" panose="020B0604020202020204" pitchFamily="34" charset="0"/>
                </a:endParaRPr>
              </a:p>
            </p:txBody>
          </p:sp>
        </p:grpSp>
        <p:sp>
          <p:nvSpPr>
            <p:cNvPr id="22" name="Ellipse 21">
              <a:extLst>
                <a:ext uri="{FF2B5EF4-FFF2-40B4-BE49-F238E27FC236}">
                  <a16:creationId xmlns:a16="http://schemas.microsoft.com/office/drawing/2014/main" xmlns="" id="{5AAE3A8B-E10C-4A38-BE2A-5CA323475C74}"/>
                </a:ext>
              </a:extLst>
            </p:cNvPr>
            <p:cNvSpPr/>
            <p:nvPr/>
          </p:nvSpPr>
          <p:spPr>
            <a:xfrm>
              <a:off x="2510622" y="2646363"/>
              <a:ext cx="578254" cy="578254"/>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cxnSp>
        <p:nvCxnSpPr>
          <p:cNvPr id="52" name="Gerader Verbinder 49">
            <a:extLst>
              <a:ext uri="{FF2B5EF4-FFF2-40B4-BE49-F238E27FC236}">
                <a16:creationId xmlns:a16="http://schemas.microsoft.com/office/drawing/2014/main" xmlns="" id="{27B19CDD-A174-42DF-AE27-1B9AE07D998F}"/>
              </a:ext>
            </a:extLst>
          </p:cNvPr>
          <p:cNvCxnSpPr>
            <a:cxnSpLocks/>
          </p:cNvCxnSpPr>
          <p:nvPr/>
        </p:nvCxnSpPr>
        <p:spPr>
          <a:xfrm>
            <a:off x="4082812" y="2481263"/>
            <a:ext cx="0" cy="2460625"/>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7" name="Gerade Verbindung 6">
            <a:extLst>
              <a:ext uri="{FF2B5EF4-FFF2-40B4-BE49-F238E27FC236}">
                <a16:creationId xmlns:a16="http://schemas.microsoft.com/office/drawing/2014/main" xmlns="" id="{FDF93C61-F99E-4781-9414-6D7650C44A57}"/>
              </a:ext>
            </a:extLst>
          </p:cNvPr>
          <p:cNvCxnSpPr/>
          <p:nvPr>
            <p:custDataLst>
              <p:tags r:id="rId36"/>
            </p:custDataLst>
          </p:nvPr>
        </p:nvCxnSpPr>
        <p:spPr>
          <a:xfrm>
            <a:off x="539552" y="5661248"/>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B894F159-6099-4BD7-927A-08E9FC01232F}"/>
              </a:ext>
            </a:extLst>
          </p:cNvPr>
          <p:cNvSpPr txBox="1"/>
          <p:nvPr/>
        </p:nvSpPr>
        <p:spPr>
          <a:xfrm>
            <a:off x="1331640" y="4756502"/>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cxnSp>
        <p:nvCxnSpPr>
          <p:cNvPr id="90" name="Gerader Verbinder 49">
            <a:extLst>
              <a:ext uri="{FF2B5EF4-FFF2-40B4-BE49-F238E27FC236}">
                <a16:creationId xmlns:a16="http://schemas.microsoft.com/office/drawing/2014/main" xmlns="" id="{A27037DB-4E5B-4003-A051-7F12D245E02B}"/>
              </a:ext>
            </a:extLst>
          </p:cNvPr>
          <p:cNvCxnSpPr>
            <a:cxnSpLocks/>
          </p:cNvCxnSpPr>
          <p:nvPr/>
        </p:nvCxnSpPr>
        <p:spPr>
          <a:xfrm flipH="1">
            <a:off x="547218" y="5784279"/>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91" name="Rechteck 90">
            <a:extLst>
              <a:ext uri="{FF2B5EF4-FFF2-40B4-BE49-F238E27FC236}">
                <a16:creationId xmlns:a16="http://schemas.microsoft.com/office/drawing/2014/main" xmlns="" id="{6B853F45-9A68-4B57-9D25-207500EEEAEF}"/>
              </a:ext>
            </a:extLst>
          </p:cNvPr>
          <p:cNvSpPr/>
          <p:nvPr/>
        </p:nvSpPr>
        <p:spPr>
          <a:xfrm>
            <a:off x="887781" y="5661248"/>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Jahreskarte Juni 2012</a:t>
            </a:r>
          </a:p>
        </p:txBody>
      </p:sp>
      <p:sp>
        <p:nvSpPr>
          <p:cNvPr id="60" name="Rechteck 59">
            <a:extLst>
              <a:ext uri="{FF2B5EF4-FFF2-40B4-BE49-F238E27FC236}">
                <a16:creationId xmlns:a16="http://schemas.microsoft.com/office/drawing/2014/main" xmlns="" id="{1787DDAC-866A-40B0-A9C9-3102F2132E0F}"/>
              </a:ext>
            </a:extLst>
          </p:cNvPr>
          <p:cNvSpPr/>
          <p:nvPr/>
        </p:nvSpPr>
        <p:spPr>
          <a:xfrm>
            <a:off x="-3060848" y="1556792"/>
            <a:ext cx="2676075" cy="2031325"/>
          </a:xfrm>
          <a:prstGeom prst="rect">
            <a:avLst/>
          </a:prstGeom>
          <a:solidFill>
            <a:srgbClr val="92D050"/>
          </a:solidFill>
        </p:spPr>
        <p:txBody>
          <a:bodyPr wrap="square">
            <a:spAutoFit/>
          </a:bodyPr>
          <a:lstStyle/>
          <a:p>
            <a:r>
              <a:rPr lang="de-DE" dirty="0"/>
              <a:t>Noch dramatischer als vorherige Folie. Es hätte ja sein können, dass das Aufkommen der anderen Verkehrsträger </a:t>
            </a:r>
            <a:r>
              <a:rPr lang="de-DE" dirty="0" err="1"/>
              <a:t>überdurchchnittlich</a:t>
            </a:r>
            <a:r>
              <a:rPr lang="de-DE" dirty="0"/>
              <a:t> stark gestiegen ist. </a:t>
            </a:r>
          </a:p>
        </p:txBody>
      </p:sp>
    </p:spTree>
    <p:extLst>
      <p:ext uri="{BB962C8B-B14F-4D97-AF65-F5344CB8AC3E}">
        <p14:creationId xmlns:p14="http://schemas.microsoft.com/office/powerpoint/2010/main" val="1543523851"/>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73675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63" name="think-cell Folie" r:id="rId29" imgW="270" imgH="270" progId="TCLayout.ActiveDocument.1">
                  <p:embed/>
                </p:oleObj>
              </mc:Choice>
              <mc:Fallback>
                <p:oleObj name="think-cell Folie" r:id="rId29" imgW="270" imgH="270" progId="TCLayout.ActiveDocument.1">
                  <p:embed/>
                  <p:pic>
                    <p:nvPicPr>
                      <p:cNvPr id="6" name="Objekt 5"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1400" dirty="0">
              <a:solidFill>
                <a:schemeClr val="tx1"/>
              </a:solidFill>
              <a:sym typeface="+mn-lt"/>
            </a:endParaRPr>
          </a:p>
        </p:txBody>
      </p:sp>
      <p:sp>
        <p:nvSpPr>
          <p:cNvPr id="2" name="Titel 1">
            <a:extLst>
              <a:ext uri="{FF2B5EF4-FFF2-40B4-BE49-F238E27FC236}">
                <a16:creationId xmlns:a16="http://schemas.microsoft.com/office/drawing/2014/main" xmlns="" id="{FD18AB81-62FB-4C8D-8B5E-A4ED27A98461}"/>
              </a:ext>
            </a:extLst>
          </p:cNvPr>
          <p:cNvSpPr>
            <a:spLocks noGrp="1"/>
          </p:cNvSpPr>
          <p:nvPr>
            <p:ph type="title"/>
          </p:nvPr>
        </p:nvSpPr>
        <p:spPr/>
        <p:txBody>
          <a:bodyPr/>
          <a:lstStyle/>
          <a:p>
            <a:r>
              <a:rPr lang="de-DE" dirty="0"/>
              <a:t>Allein im ersten Jahr nach der Preisabsenkung erhöhte sich der Zuschussbedarf um 42 Mio. Euro</a:t>
            </a:r>
          </a:p>
        </p:txBody>
      </p:sp>
      <p:sp>
        <p:nvSpPr>
          <p:cNvPr id="3" name="Inhaltsplatzhalter 2">
            <a:extLst>
              <a:ext uri="{FF2B5EF4-FFF2-40B4-BE49-F238E27FC236}">
                <a16:creationId xmlns:a16="http://schemas.microsoft.com/office/drawing/2014/main" xmlns="" id="{A9C37537-2B9C-45AD-B573-E53FF097A288}"/>
              </a:ext>
            </a:extLst>
          </p:cNvPr>
          <p:cNvSpPr>
            <a:spLocks noGrp="1"/>
          </p:cNvSpPr>
          <p:nvPr>
            <p:ph idx="1"/>
          </p:nvPr>
        </p:nvSpPr>
        <p:spPr>
          <a:xfrm>
            <a:off x="451758" y="1083558"/>
            <a:ext cx="6635010" cy="292316"/>
          </a:xfrm>
        </p:spPr>
        <p:txBody>
          <a:bodyPr/>
          <a:lstStyle/>
          <a:p>
            <a:r>
              <a:rPr lang="de-DE" dirty="0"/>
              <a:t>Effekte der Tarifreform</a:t>
            </a:r>
          </a:p>
        </p:txBody>
      </p:sp>
      <p:sp>
        <p:nvSpPr>
          <p:cNvPr id="4" name="Foliennummernplatzhalter 3">
            <a:extLst>
              <a:ext uri="{FF2B5EF4-FFF2-40B4-BE49-F238E27FC236}">
                <a16:creationId xmlns:a16="http://schemas.microsoft.com/office/drawing/2014/main" xmlns="" id="{B7EF17C9-3399-4461-A2FC-C726A1BD7D85}"/>
              </a:ext>
            </a:extLst>
          </p:cNvPr>
          <p:cNvSpPr>
            <a:spLocks noGrp="1"/>
          </p:cNvSpPr>
          <p:nvPr>
            <p:ph type="sldNum" sz="quarter" idx="11"/>
          </p:nvPr>
        </p:nvSpPr>
        <p:spPr/>
        <p:txBody>
          <a:bodyPr/>
          <a:lstStyle/>
          <a:p>
            <a:fld id="{CD21EFEB-933F-4F46-A5AD-B6372944D9E5}" type="slidenum">
              <a:rPr lang="de-DE" smtClean="0"/>
              <a:pPr/>
              <a:t>12</a:t>
            </a:fld>
            <a:endParaRPr lang="de-DE" dirty="0"/>
          </a:p>
        </p:txBody>
      </p:sp>
      <p:sp>
        <p:nvSpPr>
          <p:cNvPr id="8" name="Inhaltsplatzhalter 2">
            <a:extLst>
              <a:ext uri="{FF2B5EF4-FFF2-40B4-BE49-F238E27FC236}">
                <a16:creationId xmlns:a16="http://schemas.microsoft.com/office/drawing/2014/main" xmlns="" id="{5C5EE35F-CEB5-4A68-8AB1-EB901D2226B6}"/>
              </a:ext>
            </a:extLst>
          </p:cNvPr>
          <p:cNvSpPr txBox="1">
            <a:spLocks/>
          </p:cNvSpPr>
          <p:nvPr/>
        </p:nvSpPr>
        <p:spPr>
          <a:xfrm>
            <a:off x="5916612" y="2060798"/>
            <a:ext cx="2787993"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Allein im ersten Jahr nach Absenkung des Jahreskarten-preises erhöhte sich der Zuschussbedarf um 42 Mio. € (+15 %)</a:t>
            </a:r>
          </a:p>
          <a:p>
            <a:pPr lvl="2"/>
            <a:r>
              <a:rPr lang="de-DE" sz="1400" dirty="0"/>
              <a:t>Der Zuschussbedarf liegt seit 2013 strukturell auf einem deutlich höheren Niveau als vor der Preisabsenkung</a:t>
            </a:r>
          </a:p>
        </p:txBody>
      </p:sp>
      <p:sp>
        <p:nvSpPr>
          <p:cNvPr id="9" name="Rechteck 8">
            <a:extLst>
              <a:ext uri="{FF2B5EF4-FFF2-40B4-BE49-F238E27FC236}">
                <a16:creationId xmlns:a16="http://schemas.microsoft.com/office/drawing/2014/main" xmlns="" id="{5DEC85F3-3AD0-41A3-927F-ADF5B3361CD7}"/>
              </a:ext>
            </a:extLst>
          </p:cNvPr>
          <p:cNvSpPr/>
          <p:nvPr/>
        </p:nvSpPr>
        <p:spPr>
          <a:xfrm>
            <a:off x="444500" y="1738909"/>
            <a:ext cx="4847580"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sz="1400" b="1" dirty="0">
                <a:solidFill>
                  <a:schemeClr val="tx1"/>
                </a:solidFill>
              </a:rPr>
              <a:t>Betriebskostenzuschuss </a:t>
            </a:r>
          </a:p>
          <a:p>
            <a:pPr>
              <a:spcBef>
                <a:spcPts val="600"/>
              </a:spcBef>
            </a:pPr>
            <a:r>
              <a:rPr lang="de-DE" sz="1400" dirty="0">
                <a:solidFill>
                  <a:schemeClr val="tx1"/>
                </a:solidFill>
                <a:latin typeface="Arial" panose="020B0604020202020204" pitchFamily="34" charset="0"/>
                <a:cs typeface="Arial" panose="020B0604020202020204" pitchFamily="34" charset="0"/>
                <a:sym typeface="Arial" panose="020B0604020202020204" pitchFamily="34" charset="0"/>
              </a:rPr>
              <a:t>in Mio. €</a:t>
            </a:r>
          </a:p>
        </p:txBody>
      </p:sp>
      <p:sp>
        <p:nvSpPr>
          <p:cNvPr id="10" name="Rechteck 9">
            <a:extLst>
              <a:ext uri="{FF2B5EF4-FFF2-40B4-BE49-F238E27FC236}">
                <a16:creationId xmlns:a16="http://schemas.microsoft.com/office/drawing/2014/main" xmlns="" id="{85C25577-4ED1-43B1-BD5C-5A524B11B83D}"/>
              </a:ext>
            </a:extLst>
          </p:cNvPr>
          <p:cNvSpPr/>
          <p:nvPr/>
        </p:nvSpPr>
        <p:spPr>
          <a:xfrm>
            <a:off x="5916613"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Erläuterung</a:t>
            </a:r>
          </a:p>
        </p:txBody>
      </p:sp>
      <p:cxnSp>
        <p:nvCxnSpPr>
          <p:cNvPr id="11" name="Gerade Verbindung 6">
            <a:extLst>
              <a:ext uri="{FF2B5EF4-FFF2-40B4-BE49-F238E27FC236}">
                <a16:creationId xmlns:a16="http://schemas.microsoft.com/office/drawing/2014/main" xmlns="" id="{E2014845-73AB-43C0-9ABC-28BDC03AA516}"/>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9">
            <a:extLst>
              <a:ext uri="{FF2B5EF4-FFF2-40B4-BE49-F238E27FC236}">
                <a16:creationId xmlns:a16="http://schemas.microsoft.com/office/drawing/2014/main" xmlns="" id="{1E0FBAFA-97B2-4146-9B65-3525ED330557}"/>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8" name="Gerade Verbindung 6">
            <a:extLst>
              <a:ext uri="{FF2B5EF4-FFF2-40B4-BE49-F238E27FC236}">
                <a16:creationId xmlns:a16="http://schemas.microsoft.com/office/drawing/2014/main" xmlns="" id="{988953C1-81C7-4A06-B5D5-D9882BA8CD08}"/>
              </a:ext>
            </a:extLst>
          </p:cNvPr>
          <p:cNvCxnSpPr/>
          <p:nvPr>
            <p:custDataLst>
              <p:tags r:id="rId4"/>
            </p:custDataLst>
          </p:nvPr>
        </p:nvCxnSpPr>
        <p:spPr>
          <a:xfrm>
            <a:off x="539552" y="5661248"/>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47" name="Chart 3">
            <a:extLst>
              <a:ext uri="{FF2B5EF4-FFF2-40B4-BE49-F238E27FC236}">
                <a16:creationId xmlns:a16="http://schemas.microsoft.com/office/drawing/2014/main" xmlns="" id="{2EA0B959-FEC5-4CDA-901D-3FBFFB271C27}"/>
              </a:ext>
            </a:extLst>
          </p:cNvPr>
          <p:cNvGraphicFramePr/>
          <p:nvPr>
            <p:custDataLst>
              <p:tags r:id="rId5"/>
            </p:custDataLst>
            <p:extLst>
              <p:ext uri="{D42A27DB-BD31-4B8C-83A1-F6EECF244321}">
                <p14:modId xmlns:p14="http://schemas.microsoft.com/office/powerpoint/2010/main" val="4265836481"/>
              </p:ext>
            </p:extLst>
          </p:nvPr>
        </p:nvGraphicFramePr>
        <p:xfrm>
          <a:off x="768350" y="2363788"/>
          <a:ext cx="4862513" cy="2717800"/>
        </p:xfrm>
        <a:graphic>
          <a:graphicData uri="http://schemas.openxmlformats.org/drawingml/2006/chart">
            <c:chart xmlns:c="http://schemas.openxmlformats.org/drawingml/2006/chart" xmlns:r="http://schemas.openxmlformats.org/officeDocument/2006/relationships" r:id="rId31"/>
          </a:graphicData>
        </a:graphic>
      </p:graphicFrame>
      <p:cxnSp>
        <p:nvCxnSpPr>
          <p:cNvPr id="16" name="Gerader Verbinder 15">
            <a:extLst>
              <a:ext uri="{FF2B5EF4-FFF2-40B4-BE49-F238E27FC236}">
                <a16:creationId xmlns:a16="http://schemas.microsoft.com/office/drawing/2014/main" xmlns="" id="{53CEDB7E-BC03-44CE-8347-FAAB32B61B60}"/>
              </a:ext>
            </a:extLst>
          </p:cNvPr>
          <p:cNvCxnSpPr/>
          <p:nvPr>
            <p:custDataLst>
              <p:tags r:id="rId6"/>
            </p:custDataLst>
          </p:nvPr>
        </p:nvCxnSpPr>
        <p:spPr bwMode="gray">
          <a:xfrm>
            <a:off x="3687762" y="2344738"/>
            <a:ext cx="496888"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xmlns="" id="{95BF58C0-8150-4D50-BE36-72FDB25F0BD6}"/>
              </a:ext>
            </a:extLst>
          </p:cNvPr>
          <p:cNvCxnSpPr>
            <a:cxnSpLocks/>
          </p:cNvCxnSpPr>
          <p:nvPr>
            <p:custDataLst>
              <p:tags r:id="rId7"/>
            </p:custDataLst>
          </p:nvPr>
        </p:nvCxnSpPr>
        <p:spPr bwMode="gray">
          <a:xfrm flipV="1">
            <a:off x="3687763" y="2344738"/>
            <a:ext cx="0" cy="701675"/>
          </a:xfrm>
          <a:prstGeom prst="line">
            <a:avLst/>
          </a:prstGeom>
          <a:ln w="12700" algn="ctr">
            <a:solidFill>
              <a:schemeClr val="accent1"/>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xmlns="" id="{ACA48EDF-EC19-4E08-987C-5D13B5DDF40C}"/>
              </a:ext>
            </a:extLst>
          </p:cNvPr>
          <p:cNvCxnSpPr/>
          <p:nvPr>
            <p:custDataLst>
              <p:tags r:id="rId8"/>
            </p:custDataLst>
          </p:nvPr>
        </p:nvCxnSpPr>
        <p:spPr bwMode="gray">
          <a:xfrm>
            <a:off x="4184650" y="2344738"/>
            <a:ext cx="0" cy="288925"/>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Textplatzhalter 2">
            <a:extLst>
              <a:ext uri="{FF2B5EF4-FFF2-40B4-BE49-F238E27FC236}">
                <a16:creationId xmlns:a16="http://schemas.microsoft.com/office/drawing/2014/main" xmlns="" id="{F88733A7-0430-4B7B-A890-E5791AD9B726}"/>
              </a:ext>
            </a:extLst>
          </p:cNvPr>
          <p:cNvSpPr>
            <a:spLocks noGrp="1"/>
          </p:cNvSpPr>
          <p:nvPr>
            <p:custDataLst>
              <p:tags r:id="rId9"/>
            </p:custDataLst>
          </p:nvPr>
        </p:nvSpPr>
        <p:spPr bwMode="auto">
          <a:xfrm>
            <a:off x="2003424"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42F68D6-8D76-4498-A478-93D8D2AFFA7F}" type="datetime'''''''''''''''''''''''2''''''''''''''0''0''''''''5'''''''''">
              <a:rPr lang="de-DE" altLang="en-US" sz="1400" smtClean="0">
                <a:sym typeface="+mn-lt"/>
              </a:rPr>
              <a:pPr lvl="1" algn="r">
                <a:spcBef>
                  <a:spcPct val="0"/>
                </a:spcBef>
                <a:spcAft>
                  <a:spcPct val="0"/>
                </a:spcAft>
              </a:pPr>
              <a:t>2005</a:t>
            </a:fld>
            <a:endParaRPr lang="de-DE" sz="1400" dirty="0">
              <a:sym typeface="+mn-lt"/>
            </a:endParaRPr>
          </a:p>
        </p:txBody>
      </p:sp>
      <p:sp>
        <p:nvSpPr>
          <p:cNvPr id="53" name="Textplatzhalter 2">
            <a:extLst>
              <a:ext uri="{FF2B5EF4-FFF2-40B4-BE49-F238E27FC236}">
                <a16:creationId xmlns:a16="http://schemas.microsoft.com/office/drawing/2014/main" xmlns="" id="{14FACD48-E716-4B73-9772-9C7674E55E1E}"/>
              </a:ext>
            </a:extLst>
          </p:cNvPr>
          <p:cNvSpPr>
            <a:spLocks noGrp="1"/>
          </p:cNvSpPr>
          <p:nvPr>
            <p:custDataLst>
              <p:tags r:id="rId10"/>
            </p:custDataLst>
          </p:nvPr>
        </p:nvSpPr>
        <p:spPr bwMode="auto">
          <a:xfrm>
            <a:off x="2251074"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D368A133-4AA3-42CA-B60D-E8CFBA4F10C3}" type="datetime'''''''''''''''''''''''''2''''00''''''''''''6'''''''''''''''">
              <a:rPr lang="de-DE" altLang="en-US" sz="1400" smtClean="0">
                <a:sym typeface="+mn-lt"/>
              </a:rPr>
              <a:pPr lvl="1" algn="r">
                <a:spcBef>
                  <a:spcPct val="0"/>
                </a:spcBef>
                <a:spcAft>
                  <a:spcPct val="0"/>
                </a:spcAft>
              </a:pPr>
              <a:t>2006</a:t>
            </a:fld>
            <a:endParaRPr lang="de-DE" sz="1400" dirty="0">
              <a:sym typeface="+mn-lt"/>
            </a:endParaRPr>
          </a:p>
        </p:txBody>
      </p:sp>
      <p:sp>
        <p:nvSpPr>
          <p:cNvPr id="55" name="Textplatzhalter 2">
            <a:extLst>
              <a:ext uri="{FF2B5EF4-FFF2-40B4-BE49-F238E27FC236}">
                <a16:creationId xmlns:a16="http://schemas.microsoft.com/office/drawing/2014/main" xmlns="" id="{9472F01A-AFBA-42DC-8C23-0BE04FF15A7C}"/>
              </a:ext>
            </a:extLst>
          </p:cNvPr>
          <p:cNvSpPr>
            <a:spLocks noGrp="1"/>
          </p:cNvSpPr>
          <p:nvPr>
            <p:custDataLst>
              <p:tags r:id="rId11"/>
            </p:custDataLst>
          </p:nvPr>
        </p:nvSpPr>
        <p:spPr bwMode="auto">
          <a:xfrm>
            <a:off x="2746374"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0976393-A195-4426-8132-DD62573182F5}" type="datetime'''''''''''2''''''''''''''''''0''''''0''''''''''8'''''''">
              <a:rPr lang="de-DE" altLang="en-US" sz="1400" smtClean="0">
                <a:sym typeface="+mn-lt"/>
              </a:rPr>
              <a:pPr lvl="1" algn="r">
                <a:spcBef>
                  <a:spcPct val="0"/>
                </a:spcBef>
                <a:spcAft>
                  <a:spcPct val="0"/>
                </a:spcAft>
              </a:pPr>
              <a:t>2008</a:t>
            </a:fld>
            <a:endParaRPr lang="de-DE" sz="1400" dirty="0">
              <a:sym typeface="+mn-lt"/>
            </a:endParaRPr>
          </a:p>
        </p:txBody>
      </p:sp>
      <p:sp>
        <p:nvSpPr>
          <p:cNvPr id="48" name="Textplatzhalter 2">
            <a:extLst>
              <a:ext uri="{FF2B5EF4-FFF2-40B4-BE49-F238E27FC236}">
                <a16:creationId xmlns:a16="http://schemas.microsoft.com/office/drawing/2014/main" xmlns="" id="{761EC307-B03B-42CF-BC84-CB917F2ADE97}"/>
              </a:ext>
            </a:extLst>
          </p:cNvPr>
          <p:cNvSpPr>
            <a:spLocks noGrp="1"/>
          </p:cNvSpPr>
          <p:nvPr>
            <p:custDataLst>
              <p:tags r:id="rId12"/>
            </p:custDataLst>
          </p:nvPr>
        </p:nvSpPr>
        <p:spPr bwMode="auto">
          <a:xfrm>
            <a:off x="1258887"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5DBFA7D-E2D6-4E6F-A0A2-526AF70E2A18}" type="datetime'''''20''''''''''''''''''''''''02'''''">
              <a:rPr lang="de-DE" altLang="en-US" sz="1400" smtClean="0">
                <a:sym typeface="+mn-lt"/>
              </a:rPr>
              <a:pPr lvl="1" algn="r">
                <a:spcBef>
                  <a:spcPct val="0"/>
                </a:spcBef>
                <a:spcAft>
                  <a:spcPct val="0"/>
                </a:spcAft>
              </a:pPr>
              <a:t>2002</a:t>
            </a:fld>
            <a:endParaRPr lang="de-DE" sz="1400" dirty="0">
              <a:sym typeface="+mn-lt"/>
            </a:endParaRPr>
          </a:p>
        </p:txBody>
      </p:sp>
      <p:sp>
        <p:nvSpPr>
          <p:cNvPr id="49" name="Textplatzhalter 2">
            <a:extLst>
              <a:ext uri="{FF2B5EF4-FFF2-40B4-BE49-F238E27FC236}">
                <a16:creationId xmlns:a16="http://schemas.microsoft.com/office/drawing/2014/main" xmlns="" id="{B139151A-7448-4E18-8862-4DE86F68C5E8}"/>
              </a:ext>
            </a:extLst>
          </p:cNvPr>
          <p:cNvSpPr>
            <a:spLocks noGrp="1"/>
          </p:cNvSpPr>
          <p:nvPr>
            <p:custDataLst>
              <p:tags r:id="rId13"/>
            </p:custDataLst>
          </p:nvPr>
        </p:nvSpPr>
        <p:spPr bwMode="auto">
          <a:xfrm>
            <a:off x="1506537"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472A0130-CAB8-4E64-9CB1-F161DDC09AF3}" type="datetime'2''0''''''0''''''3'''''''''''''''">
              <a:rPr lang="de-DE" altLang="en-US" sz="1400" smtClean="0">
                <a:sym typeface="+mn-lt"/>
              </a:rPr>
              <a:pPr lvl="1" algn="r">
                <a:spcBef>
                  <a:spcPct val="0"/>
                </a:spcBef>
                <a:spcAft>
                  <a:spcPct val="0"/>
                </a:spcAft>
              </a:pPr>
              <a:t>2003</a:t>
            </a:fld>
            <a:endParaRPr lang="de-DE" sz="1400" dirty="0">
              <a:sym typeface="+mn-lt"/>
            </a:endParaRPr>
          </a:p>
        </p:txBody>
      </p:sp>
      <p:sp>
        <p:nvSpPr>
          <p:cNvPr id="50" name="Textplatzhalter 2">
            <a:extLst>
              <a:ext uri="{FF2B5EF4-FFF2-40B4-BE49-F238E27FC236}">
                <a16:creationId xmlns:a16="http://schemas.microsoft.com/office/drawing/2014/main" xmlns="" id="{2AE26C30-1D38-425D-AE84-2165AD5ABF80}"/>
              </a:ext>
            </a:extLst>
          </p:cNvPr>
          <p:cNvSpPr>
            <a:spLocks noGrp="1"/>
          </p:cNvSpPr>
          <p:nvPr>
            <p:custDataLst>
              <p:tags r:id="rId14"/>
            </p:custDataLst>
          </p:nvPr>
        </p:nvSpPr>
        <p:spPr bwMode="auto">
          <a:xfrm>
            <a:off x="1754187"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A5F8ACE4-934E-4C87-83A2-B070B029AC76}" type="datetime'2''''''''''''0''''''''''''''0''''''4'''''''''''''''''''''''">
              <a:rPr lang="de-DE" altLang="en-US" sz="1400" smtClean="0">
                <a:sym typeface="+mn-lt"/>
              </a:rPr>
              <a:pPr lvl="1" algn="r">
                <a:spcBef>
                  <a:spcPct val="0"/>
                </a:spcBef>
                <a:spcAft>
                  <a:spcPct val="0"/>
                </a:spcAft>
              </a:pPr>
              <a:t>2004</a:t>
            </a:fld>
            <a:endParaRPr lang="de-DE" sz="1400" dirty="0">
              <a:sym typeface="+mn-lt"/>
            </a:endParaRPr>
          </a:p>
        </p:txBody>
      </p:sp>
      <p:sp>
        <p:nvSpPr>
          <p:cNvPr id="54" name="Textplatzhalter 2">
            <a:extLst>
              <a:ext uri="{FF2B5EF4-FFF2-40B4-BE49-F238E27FC236}">
                <a16:creationId xmlns:a16="http://schemas.microsoft.com/office/drawing/2014/main" xmlns="" id="{677B9F73-85A1-48E0-AA5A-0257FF793E8A}"/>
              </a:ext>
            </a:extLst>
          </p:cNvPr>
          <p:cNvSpPr>
            <a:spLocks noGrp="1"/>
          </p:cNvSpPr>
          <p:nvPr>
            <p:custDataLst>
              <p:tags r:id="rId15"/>
            </p:custDataLst>
          </p:nvPr>
        </p:nvSpPr>
        <p:spPr bwMode="auto">
          <a:xfrm>
            <a:off x="2498724"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5B460C2-C700-4800-92BD-BBA24036FBDE}" type="datetime'''2''0''''''''0''''''''''''7'''''''''''">
              <a:rPr lang="de-DE" altLang="en-US" sz="1400" smtClean="0">
                <a:sym typeface="+mn-lt"/>
              </a:rPr>
              <a:pPr lvl="1" algn="r">
                <a:spcBef>
                  <a:spcPct val="0"/>
                </a:spcBef>
                <a:spcAft>
                  <a:spcPct val="0"/>
                </a:spcAft>
              </a:pPr>
              <a:t>2007</a:t>
            </a:fld>
            <a:endParaRPr lang="de-DE" sz="1400" dirty="0">
              <a:sym typeface="+mn-lt"/>
            </a:endParaRPr>
          </a:p>
        </p:txBody>
      </p:sp>
      <p:sp>
        <p:nvSpPr>
          <p:cNvPr id="56" name="Textplatzhalter 2">
            <a:extLst>
              <a:ext uri="{FF2B5EF4-FFF2-40B4-BE49-F238E27FC236}">
                <a16:creationId xmlns:a16="http://schemas.microsoft.com/office/drawing/2014/main" xmlns="" id="{B74C05D5-413A-417C-AFC5-ACD5400A44A7}"/>
              </a:ext>
            </a:extLst>
          </p:cNvPr>
          <p:cNvSpPr>
            <a:spLocks noGrp="1"/>
          </p:cNvSpPr>
          <p:nvPr>
            <p:custDataLst>
              <p:tags r:id="rId16"/>
            </p:custDataLst>
          </p:nvPr>
        </p:nvSpPr>
        <p:spPr bwMode="auto">
          <a:xfrm>
            <a:off x="2995612"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0F5ABBCC-78EE-454E-B8D0-8FBF8FB6FC0F}" type="datetime'''''2''''00''''''''9'''''''''''''''''''''''''''''''''''''">
              <a:rPr lang="de-DE" altLang="en-US" sz="1400" smtClean="0">
                <a:sym typeface="+mn-lt"/>
              </a:rPr>
              <a:pPr lvl="1" algn="r">
                <a:spcBef>
                  <a:spcPct val="0"/>
                </a:spcBef>
                <a:spcAft>
                  <a:spcPct val="0"/>
                </a:spcAft>
              </a:pPr>
              <a:t>2009</a:t>
            </a:fld>
            <a:endParaRPr lang="de-DE" sz="1400" dirty="0">
              <a:sym typeface="+mn-lt"/>
            </a:endParaRPr>
          </a:p>
        </p:txBody>
      </p:sp>
      <p:sp>
        <p:nvSpPr>
          <p:cNvPr id="57" name="Textplatzhalter 2">
            <a:extLst>
              <a:ext uri="{FF2B5EF4-FFF2-40B4-BE49-F238E27FC236}">
                <a16:creationId xmlns:a16="http://schemas.microsoft.com/office/drawing/2014/main" xmlns="" id="{DFC06512-F159-4696-A277-5B494DE02ED1}"/>
              </a:ext>
            </a:extLst>
          </p:cNvPr>
          <p:cNvSpPr>
            <a:spLocks noGrp="1"/>
          </p:cNvSpPr>
          <p:nvPr>
            <p:custDataLst>
              <p:tags r:id="rId17"/>
            </p:custDataLst>
          </p:nvPr>
        </p:nvSpPr>
        <p:spPr bwMode="auto">
          <a:xfrm>
            <a:off x="3243262"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D9D27D3-89D4-4037-9A7B-6F28DAB0515A}" type="datetime'''''''''''''2''''''''''0''''''''''1''0'">
              <a:rPr lang="de-DE" altLang="en-US" sz="1400" smtClean="0">
                <a:sym typeface="+mn-lt"/>
              </a:rPr>
              <a:pPr lvl="1" algn="r">
                <a:spcBef>
                  <a:spcPct val="0"/>
                </a:spcBef>
                <a:spcAft>
                  <a:spcPct val="0"/>
                </a:spcAft>
              </a:pPr>
              <a:t>2010</a:t>
            </a:fld>
            <a:endParaRPr lang="de-DE" sz="1400" dirty="0">
              <a:sym typeface="+mn-lt"/>
            </a:endParaRPr>
          </a:p>
        </p:txBody>
      </p:sp>
      <p:sp>
        <p:nvSpPr>
          <p:cNvPr id="59" name="Textplatzhalter 2">
            <a:extLst>
              <a:ext uri="{FF2B5EF4-FFF2-40B4-BE49-F238E27FC236}">
                <a16:creationId xmlns:a16="http://schemas.microsoft.com/office/drawing/2014/main" xmlns="" id="{66D0BE85-212C-4D2C-9955-AA30ED40AF65}"/>
              </a:ext>
            </a:extLst>
          </p:cNvPr>
          <p:cNvSpPr>
            <a:spLocks noGrp="1"/>
          </p:cNvSpPr>
          <p:nvPr>
            <p:custDataLst>
              <p:tags r:id="rId18"/>
            </p:custDataLst>
          </p:nvPr>
        </p:nvSpPr>
        <p:spPr bwMode="auto">
          <a:xfrm>
            <a:off x="3738562"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28ADFF31-670F-4EFE-82AC-F2965083F9B7}" type="datetime'''2''0''''''''''''''''''''''''''''''1''''''''''''2'''''''">
              <a:rPr lang="de-DE" altLang="en-US" sz="1400" smtClean="0">
                <a:sym typeface="+mn-lt"/>
              </a:rPr>
              <a:pPr lvl="1" algn="r">
                <a:spcBef>
                  <a:spcPct val="0"/>
                </a:spcBef>
                <a:spcAft>
                  <a:spcPct val="0"/>
                </a:spcAft>
              </a:pPr>
              <a:t>2012</a:t>
            </a:fld>
            <a:endParaRPr lang="de-DE" sz="1400" dirty="0">
              <a:sym typeface="+mn-lt"/>
            </a:endParaRPr>
          </a:p>
        </p:txBody>
      </p:sp>
      <p:sp>
        <p:nvSpPr>
          <p:cNvPr id="58" name="Textplatzhalter 2">
            <a:extLst>
              <a:ext uri="{FF2B5EF4-FFF2-40B4-BE49-F238E27FC236}">
                <a16:creationId xmlns:a16="http://schemas.microsoft.com/office/drawing/2014/main" xmlns="" id="{FFADFCB1-BAA7-48DC-9F62-82E334324659}"/>
              </a:ext>
            </a:extLst>
          </p:cNvPr>
          <p:cNvSpPr>
            <a:spLocks noGrp="1"/>
          </p:cNvSpPr>
          <p:nvPr>
            <p:custDataLst>
              <p:tags r:id="rId19"/>
            </p:custDataLst>
          </p:nvPr>
        </p:nvSpPr>
        <p:spPr bwMode="auto">
          <a:xfrm>
            <a:off x="3497262" y="5011739"/>
            <a:ext cx="3810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8C35965-4765-4FBD-AD20-1927130B6905}" type="datetime'''2''''''''''''''0''''''1''''''''''''''1'''''''">
              <a:rPr lang="de-DE" altLang="en-US" sz="1400" smtClean="0">
                <a:sym typeface="+mn-lt"/>
              </a:rPr>
              <a:pPr lvl="1" algn="r">
                <a:spcBef>
                  <a:spcPct val="0"/>
                </a:spcBef>
                <a:spcAft>
                  <a:spcPct val="0"/>
                </a:spcAft>
              </a:pPr>
              <a:t>2011</a:t>
            </a:fld>
            <a:endParaRPr lang="de-DE" sz="1400" dirty="0">
              <a:sym typeface="+mn-lt"/>
            </a:endParaRPr>
          </a:p>
        </p:txBody>
      </p:sp>
      <p:sp>
        <p:nvSpPr>
          <p:cNvPr id="60" name="Textplatzhalter 2">
            <a:extLst>
              <a:ext uri="{FF2B5EF4-FFF2-40B4-BE49-F238E27FC236}">
                <a16:creationId xmlns:a16="http://schemas.microsoft.com/office/drawing/2014/main" xmlns="" id="{591559EA-0C43-420D-AC7D-103C99922675}"/>
              </a:ext>
            </a:extLst>
          </p:cNvPr>
          <p:cNvSpPr>
            <a:spLocks noGrp="1"/>
          </p:cNvSpPr>
          <p:nvPr>
            <p:custDataLst>
              <p:tags r:id="rId20"/>
            </p:custDataLst>
          </p:nvPr>
        </p:nvSpPr>
        <p:spPr bwMode="auto">
          <a:xfrm>
            <a:off x="3987799"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F34E44F2-FF1A-4061-B356-E7D6B9219783}" type="datetime'''''''2''''''''''''''''01''''''''''''''''''3'">
              <a:rPr lang="de-DE" altLang="en-US" sz="1400" smtClean="0">
                <a:sym typeface="+mn-lt"/>
              </a:rPr>
              <a:pPr lvl="1" algn="r">
                <a:spcBef>
                  <a:spcPct val="0"/>
                </a:spcBef>
                <a:spcAft>
                  <a:spcPct val="0"/>
                </a:spcAft>
              </a:pPr>
              <a:t>2013</a:t>
            </a:fld>
            <a:endParaRPr lang="de-DE" sz="1400" dirty="0">
              <a:sym typeface="+mn-lt"/>
            </a:endParaRPr>
          </a:p>
        </p:txBody>
      </p:sp>
      <p:sp>
        <p:nvSpPr>
          <p:cNvPr id="61" name="Textplatzhalter 2">
            <a:extLst>
              <a:ext uri="{FF2B5EF4-FFF2-40B4-BE49-F238E27FC236}">
                <a16:creationId xmlns:a16="http://schemas.microsoft.com/office/drawing/2014/main" xmlns="" id="{C8FE7953-6615-4351-9325-F2B200969755}"/>
              </a:ext>
            </a:extLst>
          </p:cNvPr>
          <p:cNvSpPr>
            <a:spLocks noGrp="1"/>
          </p:cNvSpPr>
          <p:nvPr>
            <p:custDataLst>
              <p:tags r:id="rId21"/>
            </p:custDataLst>
          </p:nvPr>
        </p:nvSpPr>
        <p:spPr bwMode="auto">
          <a:xfrm>
            <a:off x="4235449"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EF1EBD5F-92AF-4073-AEED-25FD68ECA3B3}" type="datetime'2''''''''''''''''''''''0''''''1''4'''''''''''''''''''">
              <a:rPr lang="de-DE" altLang="en-US" sz="1400" smtClean="0">
                <a:sym typeface="+mn-lt"/>
              </a:rPr>
              <a:pPr lvl="1" algn="r">
                <a:spcBef>
                  <a:spcPct val="0"/>
                </a:spcBef>
                <a:spcAft>
                  <a:spcPct val="0"/>
                </a:spcAft>
              </a:pPr>
              <a:t>2014</a:t>
            </a:fld>
            <a:endParaRPr lang="de-DE" sz="1400" dirty="0">
              <a:sym typeface="+mn-lt"/>
            </a:endParaRPr>
          </a:p>
        </p:txBody>
      </p:sp>
      <p:sp>
        <p:nvSpPr>
          <p:cNvPr id="46" name="Textplatzhalter 2">
            <a:extLst>
              <a:ext uri="{FF2B5EF4-FFF2-40B4-BE49-F238E27FC236}">
                <a16:creationId xmlns:a16="http://schemas.microsoft.com/office/drawing/2014/main" xmlns="" id="{4E4C0BD7-9C71-447A-B7E1-A11076938474}"/>
              </a:ext>
            </a:extLst>
          </p:cNvPr>
          <p:cNvSpPr>
            <a:spLocks noGrp="1"/>
          </p:cNvSpPr>
          <p:nvPr>
            <p:custDataLst>
              <p:tags r:id="rId22"/>
            </p:custDataLst>
          </p:nvPr>
        </p:nvSpPr>
        <p:spPr bwMode="auto">
          <a:xfrm>
            <a:off x="5227637"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177963F-0FB7-499D-BECA-B7AFEE4A685F}" type="datetime'''2''0''''''''''''''''''''''1''''''''''''''''''8'''''''">
              <a:rPr lang="de-DE" altLang="en-US" sz="1400" smtClean="0"/>
              <a:pPr/>
              <a:t>2018</a:t>
            </a:fld>
            <a:endParaRPr lang="de-DE" sz="1400" dirty="0">
              <a:sym typeface="+mn-lt"/>
            </a:endParaRPr>
          </a:p>
        </p:txBody>
      </p:sp>
      <p:sp>
        <p:nvSpPr>
          <p:cNvPr id="62" name="Textplatzhalter 2">
            <a:extLst>
              <a:ext uri="{FF2B5EF4-FFF2-40B4-BE49-F238E27FC236}">
                <a16:creationId xmlns:a16="http://schemas.microsoft.com/office/drawing/2014/main" xmlns="" id="{85CE291A-5CBB-4C13-B2D6-1CD20078E36C}"/>
              </a:ext>
            </a:extLst>
          </p:cNvPr>
          <p:cNvSpPr>
            <a:spLocks noGrp="1"/>
          </p:cNvSpPr>
          <p:nvPr>
            <p:custDataLst>
              <p:tags r:id="rId23"/>
            </p:custDataLst>
          </p:nvPr>
        </p:nvSpPr>
        <p:spPr bwMode="auto">
          <a:xfrm>
            <a:off x="4483099"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0ED66213-FEB2-4AE6-90C1-EF5356ACAC30}" type="datetime'''''2''0''1''''''''''''''''''''''''''''''''''''5'">
              <a:rPr lang="de-DE" altLang="en-US" sz="1400" smtClean="0">
                <a:sym typeface="+mn-lt"/>
              </a:rPr>
              <a:pPr lvl="1" algn="r">
                <a:spcBef>
                  <a:spcPct val="0"/>
                </a:spcBef>
                <a:spcAft>
                  <a:spcPct val="0"/>
                </a:spcAft>
              </a:pPr>
              <a:t>2015</a:t>
            </a:fld>
            <a:endParaRPr lang="de-DE" sz="1400" dirty="0">
              <a:sym typeface="+mn-lt"/>
            </a:endParaRPr>
          </a:p>
        </p:txBody>
      </p:sp>
      <p:sp>
        <p:nvSpPr>
          <p:cNvPr id="63" name="Textplatzhalter 2">
            <a:extLst>
              <a:ext uri="{FF2B5EF4-FFF2-40B4-BE49-F238E27FC236}">
                <a16:creationId xmlns:a16="http://schemas.microsoft.com/office/drawing/2014/main" xmlns="" id="{9D45864D-4415-45B0-8D5E-97D998B65EAD}"/>
              </a:ext>
            </a:extLst>
          </p:cNvPr>
          <p:cNvSpPr>
            <a:spLocks noGrp="1"/>
          </p:cNvSpPr>
          <p:nvPr>
            <p:custDataLst>
              <p:tags r:id="rId24"/>
            </p:custDataLst>
          </p:nvPr>
        </p:nvSpPr>
        <p:spPr bwMode="auto">
          <a:xfrm>
            <a:off x="4730749"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CBB39D2-B2C1-483E-8BB9-69542AF5DBC1}" type="datetime'''''''''''2''''0''''''''''''''''''''''''''''''''1''6'''">
              <a:rPr lang="de-DE" altLang="en-US" sz="1400" smtClean="0">
                <a:sym typeface="+mn-lt"/>
              </a:rPr>
              <a:pPr lvl="1" algn="r">
                <a:spcBef>
                  <a:spcPct val="0"/>
                </a:spcBef>
                <a:spcAft>
                  <a:spcPct val="0"/>
                </a:spcAft>
              </a:pPr>
              <a:t>2016</a:t>
            </a:fld>
            <a:endParaRPr lang="de-DE" sz="1400" dirty="0">
              <a:sym typeface="+mn-lt"/>
            </a:endParaRPr>
          </a:p>
        </p:txBody>
      </p:sp>
      <p:sp>
        <p:nvSpPr>
          <p:cNvPr id="45" name="Textplatzhalter 2">
            <a:extLst>
              <a:ext uri="{FF2B5EF4-FFF2-40B4-BE49-F238E27FC236}">
                <a16:creationId xmlns:a16="http://schemas.microsoft.com/office/drawing/2014/main" xmlns="" id="{CA5A30FD-138E-474A-97A1-561E643C69AA}"/>
              </a:ext>
            </a:extLst>
          </p:cNvPr>
          <p:cNvSpPr>
            <a:spLocks noGrp="1"/>
          </p:cNvSpPr>
          <p:nvPr>
            <p:custDataLst>
              <p:tags r:id="rId25"/>
            </p:custDataLst>
          </p:nvPr>
        </p:nvSpPr>
        <p:spPr bwMode="auto">
          <a:xfrm>
            <a:off x="4979987" y="5011739"/>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A4085C9B-29F7-4B5D-89F5-F81646A3CE28}" type="datetime'''''''''''''''''2''''01''''''''7'''''">
              <a:rPr lang="de-DE" altLang="en-US" sz="1400" smtClean="0"/>
              <a:pPr/>
              <a:t>2017</a:t>
            </a:fld>
            <a:endParaRPr lang="de-DE" sz="1400" dirty="0">
              <a:sym typeface="+mn-lt"/>
            </a:endParaRPr>
          </a:p>
        </p:txBody>
      </p:sp>
      <p:sp>
        <p:nvSpPr>
          <p:cNvPr id="33" name="Textplatzhalter 2">
            <a:extLst>
              <a:ext uri="{FF2B5EF4-FFF2-40B4-BE49-F238E27FC236}">
                <a16:creationId xmlns:a16="http://schemas.microsoft.com/office/drawing/2014/main" xmlns="" id="{32A374F2-950C-444E-B7F1-1A3640EDD584}"/>
              </a:ext>
            </a:extLst>
          </p:cNvPr>
          <p:cNvSpPr>
            <a:spLocks noGrp="1"/>
          </p:cNvSpPr>
          <p:nvPr>
            <p:custDataLst>
              <p:tags r:id="rId26"/>
            </p:custDataLst>
          </p:nvPr>
        </p:nvSpPr>
        <p:spPr bwMode="auto">
          <a:xfrm>
            <a:off x="3722688" y="2208213"/>
            <a:ext cx="425450" cy="273050"/>
          </a:xfrm>
          <a:prstGeom prst="ellipse">
            <a:avLst/>
          </a:prstGeom>
          <a:solidFill>
            <a:schemeClr val="bg1"/>
          </a:solidFill>
          <a:ln w="9525">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lnSpc>
                <a:spcPct val="90000"/>
              </a:lnSpc>
              <a:spcBef>
                <a:spcPct val="0"/>
              </a:spcBef>
              <a:spcAft>
                <a:spcPct val="0"/>
              </a:spcAft>
            </a:pPr>
            <a:fld id="{989A448E-4604-4DD9-B767-60232CCF4253}" type="datetime'+''''''''''''''''''''4''''''2'''''''''''''''''''''''''''''">
              <a:rPr lang="de-DE" altLang="en-US" sz="1400" b="1" smtClean="0"/>
              <a:pPr lvl="1" algn="ctr">
                <a:lnSpc>
                  <a:spcPct val="90000"/>
                </a:lnSpc>
                <a:spcBef>
                  <a:spcPct val="0"/>
                </a:spcBef>
                <a:spcAft>
                  <a:spcPct val="0"/>
                </a:spcAft>
              </a:pPr>
              <a:t>+42</a:t>
            </a:fld>
            <a:endParaRPr lang="de-DE" sz="1400" b="1" dirty="0">
              <a:sym typeface="+mn-lt"/>
            </a:endParaRPr>
          </a:p>
        </p:txBody>
      </p:sp>
      <p:sp>
        <p:nvSpPr>
          <p:cNvPr id="25" name="Textfeld 24">
            <a:extLst>
              <a:ext uri="{FF2B5EF4-FFF2-40B4-BE49-F238E27FC236}">
                <a16:creationId xmlns:a16="http://schemas.microsoft.com/office/drawing/2014/main" xmlns="" id="{BA948AB7-7FF7-4C8F-9ACE-2B63CC76CA98}"/>
              </a:ext>
            </a:extLst>
          </p:cNvPr>
          <p:cNvSpPr txBox="1"/>
          <p:nvPr/>
        </p:nvSpPr>
        <p:spPr>
          <a:xfrm>
            <a:off x="451758" y="5847075"/>
            <a:ext cx="8164800" cy="246221"/>
          </a:xfrm>
          <a:prstGeom prst="rect">
            <a:avLst/>
          </a:prstGeom>
          <a:noFill/>
        </p:spPr>
        <p:txBody>
          <a:bodyPr wrap="square" rtlCol="0">
            <a:spAutoFit/>
          </a:bodyPr>
          <a:lstStyle/>
          <a:p>
            <a:pPr marL="0" lvl="1">
              <a:tabLst>
                <a:tab pos="180975" algn="l"/>
              </a:tabLst>
            </a:pPr>
            <a:r>
              <a:rPr lang="de-DE" sz="1000" dirty="0"/>
              <a:t>Quelle: Rechnungsabschlüsse der Stadt Wien, Presse</a:t>
            </a:r>
          </a:p>
        </p:txBody>
      </p:sp>
      <p:cxnSp>
        <p:nvCxnSpPr>
          <p:cNvPr id="51" name="Gerader Verbinder 49">
            <a:extLst>
              <a:ext uri="{FF2B5EF4-FFF2-40B4-BE49-F238E27FC236}">
                <a16:creationId xmlns:a16="http://schemas.microsoft.com/office/drawing/2014/main" xmlns="" id="{27B19CDD-A174-42DF-AE27-1B9AE07D998F}"/>
              </a:ext>
            </a:extLst>
          </p:cNvPr>
          <p:cNvCxnSpPr>
            <a:cxnSpLocks/>
          </p:cNvCxnSpPr>
          <p:nvPr/>
        </p:nvCxnSpPr>
        <p:spPr>
          <a:xfrm>
            <a:off x="3888416" y="2492375"/>
            <a:ext cx="0" cy="2449513"/>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grpSp>
        <p:nvGrpSpPr>
          <p:cNvPr id="19" name="Gruppieren 18">
            <a:extLst>
              <a:ext uri="{FF2B5EF4-FFF2-40B4-BE49-F238E27FC236}">
                <a16:creationId xmlns:a16="http://schemas.microsoft.com/office/drawing/2014/main" xmlns="" id="{7A2DB064-BB83-4D39-B3DB-AB2C26B96CC6}"/>
              </a:ext>
            </a:extLst>
          </p:cNvPr>
          <p:cNvGrpSpPr/>
          <p:nvPr/>
        </p:nvGrpSpPr>
        <p:grpSpPr>
          <a:xfrm>
            <a:off x="5473072" y="1628800"/>
            <a:ext cx="395072" cy="395072"/>
            <a:chOff x="5508104" y="1628800"/>
            <a:chExt cx="360040" cy="360040"/>
          </a:xfrm>
        </p:grpSpPr>
        <p:sp>
          <p:nvSpPr>
            <p:cNvPr id="40" name="Ellipse 39">
              <a:extLst>
                <a:ext uri="{FF2B5EF4-FFF2-40B4-BE49-F238E27FC236}">
                  <a16:creationId xmlns:a16="http://schemas.microsoft.com/office/drawing/2014/main" xmlns="" id="{84F30D4B-D7D8-4E42-853E-2000DA3E56ED}"/>
                </a:ext>
              </a:extLst>
            </p:cNvPr>
            <p:cNvSpPr/>
            <p:nvPr/>
          </p:nvSpPr>
          <p:spPr>
            <a:xfrm>
              <a:off x="5508104" y="162880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41" name="Grafik 40">
              <a:extLst>
                <a:ext uri="{FF2B5EF4-FFF2-40B4-BE49-F238E27FC236}">
                  <a16:creationId xmlns:a16="http://schemas.microsoft.com/office/drawing/2014/main" xmlns="" id="{640F084A-8AD0-486F-8244-4404987C3C9F}"/>
                </a:ext>
              </a:extLst>
            </p:cNvPr>
            <p:cNvPicPr>
              <a:picLocks noChangeAspect="1"/>
            </p:cNvPicPr>
            <p:nvPr/>
          </p:nvPicPr>
          <p:blipFill>
            <a:blip r:embed="rId32">
              <a:duotone>
                <a:schemeClr val="accent5">
                  <a:shade val="45000"/>
                  <a:satMod val="135000"/>
                </a:schemeClr>
                <a:prstClr val="white"/>
              </a:duotone>
              <a:extLst>
                <a:ext uri="{BEBA8EAE-BF5A-486C-A8C5-ECC9F3942E4B}">
                  <a14:imgProps xmlns:a14="http://schemas.microsoft.com/office/drawing/2010/main">
                    <a14:imgLayer r:embed="rId33">
                      <a14:imgEffect>
                        <a14:brightnessContrast contrast="-70000"/>
                      </a14:imgEffect>
                    </a14:imgLayer>
                  </a14:imgProps>
                </a:ext>
              </a:extLst>
            </a:blip>
            <a:stretch>
              <a:fillRect/>
            </a:stretch>
          </p:blipFill>
          <p:spPr>
            <a:xfrm>
              <a:off x="5552276" y="1672782"/>
              <a:ext cx="269513" cy="269513"/>
            </a:xfrm>
            <a:prstGeom prst="rect">
              <a:avLst/>
            </a:prstGeom>
          </p:spPr>
        </p:pic>
      </p:grpSp>
      <p:cxnSp>
        <p:nvCxnSpPr>
          <p:cNvPr id="66" name="Gerader Verbinder 49">
            <a:extLst>
              <a:ext uri="{FF2B5EF4-FFF2-40B4-BE49-F238E27FC236}">
                <a16:creationId xmlns:a16="http://schemas.microsoft.com/office/drawing/2014/main" xmlns="" id="{6B8560C1-E580-4D2F-8EC4-177EB237A902}"/>
              </a:ext>
            </a:extLst>
          </p:cNvPr>
          <p:cNvCxnSpPr>
            <a:cxnSpLocks/>
          </p:cNvCxnSpPr>
          <p:nvPr/>
        </p:nvCxnSpPr>
        <p:spPr>
          <a:xfrm flipH="1">
            <a:off x="547218" y="5784279"/>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xmlns="" id="{2D577106-E1E5-4AE8-BD11-F95528C1E122}"/>
              </a:ext>
            </a:extLst>
          </p:cNvPr>
          <p:cNvSpPr/>
          <p:nvPr/>
        </p:nvSpPr>
        <p:spPr>
          <a:xfrm>
            <a:off x="887781" y="5661248"/>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Jahreskarte Juni 2012</a:t>
            </a:r>
          </a:p>
        </p:txBody>
      </p:sp>
      <p:sp>
        <p:nvSpPr>
          <p:cNvPr id="71" name="Textfeld 70">
            <a:extLst>
              <a:ext uri="{FF2B5EF4-FFF2-40B4-BE49-F238E27FC236}">
                <a16:creationId xmlns:a16="http://schemas.microsoft.com/office/drawing/2014/main" xmlns="" id="{C30237AE-A3E8-4424-91B5-F050CFA86912}"/>
              </a:ext>
            </a:extLst>
          </p:cNvPr>
          <p:cNvSpPr txBox="1"/>
          <p:nvPr/>
        </p:nvSpPr>
        <p:spPr>
          <a:xfrm>
            <a:off x="1331640" y="4756502"/>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
        <p:nvSpPr>
          <p:cNvPr id="7" name="Rechteck 6">
            <a:extLst>
              <a:ext uri="{FF2B5EF4-FFF2-40B4-BE49-F238E27FC236}">
                <a16:creationId xmlns:a16="http://schemas.microsoft.com/office/drawing/2014/main" xmlns="" id="{4F4F49C9-BC5D-464F-BC52-6A002790E981}"/>
              </a:ext>
            </a:extLst>
          </p:cNvPr>
          <p:cNvSpPr/>
          <p:nvPr/>
        </p:nvSpPr>
        <p:spPr>
          <a:xfrm>
            <a:off x="9228782" y="147444"/>
            <a:ext cx="2123728" cy="17445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600" dirty="0">
                <a:solidFill>
                  <a:schemeClr val="tx1"/>
                </a:solidFill>
              </a:rPr>
              <a:t>Auf 2018 aktualisiert</a:t>
            </a:r>
          </a:p>
          <a:p>
            <a:pPr algn="l"/>
            <a:r>
              <a:rPr lang="de-DE" sz="1600" dirty="0">
                <a:solidFill>
                  <a:schemeClr val="tx1"/>
                </a:solidFill>
              </a:rPr>
              <a:t>(KB)</a:t>
            </a:r>
          </a:p>
          <a:p>
            <a:pPr algn="l"/>
            <a:r>
              <a:rPr lang="de-DE" sz="1600" dirty="0">
                <a:solidFill>
                  <a:schemeClr val="tx1"/>
                </a:solidFill>
              </a:rPr>
              <a:t>2017+2018:</a:t>
            </a:r>
          </a:p>
          <a:p>
            <a:r>
              <a:rPr lang="de-DE" sz="1600" dirty="0">
                <a:hlinkClick r:id="rId34"/>
              </a:rPr>
              <a:t>https://wien.orf.at/news/stories/2876526/</a:t>
            </a:r>
            <a:endParaRPr lang="de-DE" sz="1600" dirty="0">
              <a:solidFill>
                <a:schemeClr val="tx1"/>
              </a:solidFill>
            </a:endParaRPr>
          </a:p>
        </p:txBody>
      </p:sp>
      <p:sp>
        <p:nvSpPr>
          <p:cNvPr id="44" name="Rechteck 43">
            <a:extLst>
              <a:ext uri="{FF2B5EF4-FFF2-40B4-BE49-F238E27FC236}">
                <a16:creationId xmlns:a16="http://schemas.microsoft.com/office/drawing/2014/main" xmlns="" id="{B6DB7D80-ECA1-418D-A992-1B5EF134048F}"/>
              </a:ext>
            </a:extLst>
          </p:cNvPr>
          <p:cNvSpPr/>
          <p:nvPr/>
        </p:nvSpPr>
        <p:spPr>
          <a:xfrm>
            <a:off x="-3060848" y="1579409"/>
            <a:ext cx="2676075" cy="923330"/>
          </a:xfrm>
          <a:prstGeom prst="rect">
            <a:avLst/>
          </a:prstGeom>
          <a:solidFill>
            <a:srgbClr val="92D050"/>
          </a:solidFill>
        </p:spPr>
        <p:txBody>
          <a:bodyPr wrap="square">
            <a:spAutoFit/>
          </a:bodyPr>
          <a:lstStyle/>
          <a:p>
            <a:r>
              <a:rPr lang="de-DE" dirty="0"/>
              <a:t>Wurde von </a:t>
            </a:r>
            <a:r>
              <a:rPr lang="de-DE" dirty="0" err="1"/>
              <a:t>civity</a:t>
            </a:r>
            <a:r>
              <a:rPr lang="de-DE" dirty="0"/>
              <a:t> vor der Einführung so prognostiziert</a:t>
            </a:r>
          </a:p>
        </p:txBody>
      </p:sp>
    </p:spTree>
    <p:extLst>
      <p:ext uri="{BB962C8B-B14F-4D97-AF65-F5344CB8AC3E}">
        <p14:creationId xmlns:p14="http://schemas.microsoft.com/office/powerpoint/2010/main" val="357421790"/>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1A7A4AAD-9AC0-441D-99FE-588972FC92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1359" name="think-cell Folie" r:id="rId16" imgW="530" imgH="531" progId="TCLayout.ActiveDocument.1">
                  <p:embed/>
                </p:oleObj>
              </mc:Choice>
              <mc:Fallback>
                <p:oleObj name="think-cell Folie" r:id="rId16" imgW="530" imgH="531" progId="TCLayout.ActiveDocument.1">
                  <p:embed/>
                  <p:pic>
                    <p:nvPicPr>
                      <p:cNvPr id="7" name="Objekt 6" hidden="1">
                        <a:extLst>
                          <a:ext uri="{FF2B5EF4-FFF2-40B4-BE49-F238E27FC236}">
                            <a16:creationId xmlns:a16="http://schemas.microsoft.com/office/drawing/2014/main" xmlns="" id="{1A7A4AAD-9AC0-441D-99FE-588972FC929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BD3FF49C-0A42-42D0-8033-59B93A09D67C}"/>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D362EB13-C548-40BA-B517-74E0925E8C6C}"/>
              </a:ext>
            </a:extLst>
          </p:cNvPr>
          <p:cNvSpPr>
            <a:spLocks noGrp="1"/>
          </p:cNvSpPr>
          <p:nvPr>
            <p:ph type="title"/>
          </p:nvPr>
        </p:nvSpPr>
        <p:spPr/>
        <p:txBody>
          <a:bodyPr/>
          <a:lstStyle/>
          <a:p>
            <a:r>
              <a:rPr lang="de-DE" dirty="0"/>
              <a:t>Im Vergleich zu den deutschen Millionenstädten ist die Netz- und Fahrplandichte in Wien deutlich höher</a:t>
            </a:r>
          </a:p>
        </p:txBody>
      </p:sp>
      <p:sp>
        <p:nvSpPr>
          <p:cNvPr id="3" name="Inhaltsplatzhalter 2">
            <a:extLst>
              <a:ext uri="{FF2B5EF4-FFF2-40B4-BE49-F238E27FC236}">
                <a16:creationId xmlns:a16="http://schemas.microsoft.com/office/drawing/2014/main" xmlns="" id="{CD01100D-FB11-4154-9886-EF59205577A1}"/>
              </a:ext>
            </a:extLst>
          </p:cNvPr>
          <p:cNvSpPr>
            <a:spLocks noGrp="1"/>
          </p:cNvSpPr>
          <p:nvPr>
            <p:ph idx="1"/>
          </p:nvPr>
        </p:nvSpPr>
        <p:spPr>
          <a:xfrm>
            <a:off x="451758" y="1083558"/>
            <a:ext cx="7216586" cy="292316"/>
          </a:xfrm>
        </p:spPr>
        <p:txBody>
          <a:bodyPr/>
          <a:lstStyle/>
          <a:p>
            <a:r>
              <a:rPr lang="de-DE" dirty="0"/>
              <a:t>Angebotsdichte</a:t>
            </a:r>
            <a:endParaRPr lang="en-GB" dirty="0"/>
          </a:p>
          <a:p>
            <a:endParaRPr lang="de-DE" dirty="0"/>
          </a:p>
        </p:txBody>
      </p:sp>
      <p:sp>
        <p:nvSpPr>
          <p:cNvPr id="4" name="Foliennummernplatzhalter 3">
            <a:extLst>
              <a:ext uri="{FF2B5EF4-FFF2-40B4-BE49-F238E27FC236}">
                <a16:creationId xmlns:a16="http://schemas.microsoft.com/office/drawing/2014/main" xmlns="" id="{F085D02B-CE76-4170-BF6A-F635088892FF}"/>
              </a:ext>
            </a:extLst>
          </p:cNvPr>
          <p:cNvSpPr>
            <a:spLocks noGrp="1"/>
          </p:cNvSpPr>
          <p:nvPr>
            <p:ph type="sldNum" sz="quarter" idx="11"/>
          </p:nvPr>
        </p:nvSpPr>
        <p:spPr/>
        <p:txBody>
          <a:bodyPr/>
          <a:lstStyle/>
          <a:p>
            <a:fld id="{CD21EFEB-933F-4F46-A5AD-B6372944D9E5}" type="slidenum">
              <a:rPr lang="de-DE" smtClean="0"/>
              <a:pPr/>
              <a:t>13</a:t>
            </a:fld>
            <a:endParaRPr lang="de-DE" dirty="0"/>
          </a:p>
        </p:txBody>
      </p:sp>
      <p:graphicFrame>
        <p:nvGraphicFramePr>
          <p:cNvPr id="118" name="Chart 3">
            <a:extLst>
              <a:ext uri="{FF2B5EF4-FFF2-40B4-BE49-F238E27FC236}">
                <a16:creationId xmlns:a16="http://schemas.microsoft.com/office/drawing/2014/main" xmlns="" id="{5A10369B-4B35-48E2-A474-12AEACB9979D}"/>
              </a:ext>
            </a:extLst>
          </p:cNvPr>
          <p:cNvGraphicFramePr/>
          <p:nvPr>
            <p:custDataLst>
              <p:tags r:id="rId4"/>
            </p:custDataLst>
          </p:nvPr>
        </p:nvGraphicFramePr>
        <p:xfrm>
          <a:off x="447675" y="2538413"/>
          <a:ext cx="5632450" cy="3159125"/>
        </p:xfrm>
        <a:graphic>
          <a:graphicData uri="http://schemas.openxmlformats.org/drawingml/2006/chart">
            <c:chart xmlns:c="http://schemas.openxmlformats.org/drawingml/2006/chart" xmlns:r="http://schemas.openxmlformats.org/officeDocument/2006/relationships" r:id="rId18"/>
          </a:graphicData>
        </a:graphic>
      </p:graphicFrame>
      <p:cxnSp>
        <p:nvCxnSpPr>
          <p:cNvPr id="5" name="Gerader Verbinder 4">
            <a:extLst>
              <a:ext uri="{FF2B5EF4-FFF2-40B4-BE49-F238E27FC236}">
                <a16:creationId xmlns:a16="http://schemas.microsoft.com/office/drawing/2014/main" xmlns="" id="{C55C4E0F-8E69-4010-8FCB-7183B72F745D}"/>
              </a:ext>
            </a:extLst>
          </p:cNvPr>
          <p:cNvCxnSpPr/>
          <p:nvPr>
            <p:custDataLst>
              <p:tags r:id="rId5"/>
            </p:custDataLst>
          </p:nvPr>
        </p:nvCxnSpPr>
        <p:spPr bwMode="gray">
          <a:xfrm>
            <a:off x="1011238" y="3995738"/>
            <a:ext cx="4856162" cy="0"/>
          </a:xfrm>
          <a:prstGeom prst="line">
            <a:avLst/>
          </a:prstGeom>
          <a:ln w="9525" cap="flat"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xmlns="" id="{F7ED8450-217A-4C65-888A-D7C4BE133382}"/>
              </a:ext>
            </a:extLst>
          </p:cNvPr>
          <p:cNvCxnSpPr>
            <a:cxnSpLocks/>
          </p:cNvCxnSpPr>
          <p:nvPr>
            <p:custDataLst>
              <p:tags r:id="rId6"/>
            </p:custDataLst>
          </p:nvPr>
        </p:nvCxnSpPr>
        <p:spPr bwMode="gray">
          <a:xfrm flipV="1">
            <a:off x="3440113" y="2667000"/>
            <a:ext cx="0" cy="2655888"/>
          </a:xfrm>
          <a:prstGeom prst="line">
            <a:avLst/>
          </a:prstGeom>
          <a:ln w="9525" cap="flat"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Rechteck 12">
            <a:extLst>
              <a:ext uri="{FF2B5EF4-FFF2-40B4-BE49-F238E27FC236}">
                <a16:creationId xmlns:a16="http://schemas.microsoft.com/office/drawing/2014/main" xmlns="" id="{BE6C5A62-EF7B-4D17-A65C-226CFBC721EB}"/>
              </a:ext>
            </a:extLst>
          </p:cNvPr>
          <p:cNvSpPr/>
          <p:nvPr>
            <p:custDataLst>
              <p:tags r:id="rId7"/>
            </p:custDataLst>
          </p:nvPr>
        </p:nvSpPr>
        <p:spPr bwMode="gray">
          <a:xfrm>
            <a:off x="5187950" y="2652713"/>
            <a:ext cx="455613" cy="2127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25400" tIns="0" rIns="25400" bIns="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ct val="0"/>
              </a:spcBef>
              <a:spcAft>
                <a:spcPct val="0"/>
              </a:spcAft>
            </a:pPr>
            <a:fld id="{5A716DF3-7359-4A3B-8E83-49BEFFD630F3}" type="datetime'''''''''''''''''W''''''''''''''''''ien'''''''''''''''''''''">
              <a:rPr lang="en-US" altLang="en-US" sz="1400" smtClean="0">
                <a:solidFill>
                  <a:schemeClr val="tx1"/>
                </a:solidFill>
                <a:sym typeface="+mn-lt"/>
              </a:rPr>
              <a:pPr/>
              <a:t>Wien</a:t>
            </a:fld>
            <a:endParaRPr lang="de-DE" sz="1400" dirty="0">
              <a:solidFill>
                <a:schemeClr val="tx1"/>
              </a:solidFill>
              <a:sym typeface="+mn-lt"/>
            </a:endParaRPr>
          </a:p>
        </p:txBody>
      </p:sp>
      <p:sp useBgFill="1">
        <p:nvSpPr>
          <p:cNvPr id="15" name="Rechteck 14">
            <a:extLst>
              <a:ext uri="{FF2B5EF4-FFF2-40B4-BE49-F238E27FC236}">
                <a16:creationId xmlns:a16="http://schemas.microsoft.com/office/drawing/2014/main" xmlns="" id="{B37F874B-B908-43DC-874A-053514873BD2}"/>
              </a:ext>
            </a:extLst>
          </p:cNvPr>
          <p:cNvSpPr/>
          <p:nvPr>
            <p:custDataLst>
              <p:tags r:id="rId8"/>
            </p:custDataLst>
          </p:nvPr>
        </p:nvSpPr>
        <p:spPr bwMode="gray">
          <a:xfrm>
            <a:off x="3154363" y="3297238"/>
            <a:ext cx="779463" cy="2127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25400" tIns="0" rIns="25400" bIns="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ct val="0"/>
              </a:spcBef>
              <a:spcAft>
                <a:spcPct val="0"/>
              </a:spcAft>
            </a:pPr>
            <a:fld id="{823DD283-3BA2-4B17-AD53-28AB84D281A3}" type="datetime'M''ü''''n''''''''''''''''''''c''h''''''''''''''''''''e''''n'">
              <a:rPr lang="en-US" altLang="en-US" sz="1400" smtClean="0">
                <a:solidFill>
                  <a:schemeClr val="tx1"/>
                </a:solidFill>
                <a:sym typeface="+mn-lt"/>
              </a:rPr>
              <a:pPr/>
              <a:t>München</a:t>
            </a:fld>
            <a:endParaRPr lang="de-DE" sz="1400" dirty="0">
              <a:solidFill>
                <a:schemeClr val="tx1"/>
              </a:solidFill>
              <a:sym typeface="+mn-lt"/>
            </a:endParaRPr>
          </a:p>
        </p:txBody>
      </p:sp>
      <p:sp>
        <p:nvSpPr>
          <p:cNvPr id="14" name="Rechteck 13">
            <a:extLst>
              <a:ext uri="{FF2B5EF4-FFF2-40B4-BE49-F238E27FC236}">
                <a16:creationId xmlns:a16="http://schemas.microsoft.com/office/drawing/2014/main" xmlns="" id="{83F48AAE-26E5-48F0-940F-9E5D5B732D7C}"/>
              </a:ext>
            </a:extLst>
          </p:cNvPr>
          <p:cNvSpPr/>
          <p:nvPr>
            <p:custDataLst>
              <p:tags r:id="rId9"/>
            </p:custDataLst>
          </p:nvPr>
        </p:nvSpPr>
        <p:spPr bwMode="auto">
          <a:xfrm>
            <a:off x="539750" y="2185988"/>
            <a:ext cx="3144838" cy="212725"/>
          </a:xfrm>
          <a:prstGeom prst="rect">
            <a:avLst/>
          </a:prstGeom>
          <a:noFill/>
          <a:ln>
            <a:no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b"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ct val="0"/>
              </a:spcBef>
              <a:spcAft>
                <a:spcPct val="0"/>
              </a:spcAft>
            </a:pPr>
            <a:r>
              <a:rPr lang="en-US" altLang="en-US" sz="1400" b="1" dirty="0" err="1">
                <a:solidFill>
                  <a:schemeClr val="tx1"/>
                </a:solidFill>
                <a:sym typeface="+mn-lt"/>
              </a:rPr>
              <a:t>Abfahrten</a:t>
            </a:r>
            <a:r>
              <a:rPr lang="en-US" altLang="en-US" sz="1400" b="1" dirty="0">
                <a:solidFill>
                  <a:schemeClr val="tx1"/>
                </a:solidFill>
                <a:sym typeface="+mn-lt"/>
              </a:rPr>
              <a:t> pro </a:t>
            </a:r>
            <a:r>
              <a:rPr lang="en-US" altLang="en-US" sz="1400" b="1" dirty="0" err="1">
                <a:solidFill>
                  <a:schemeClr val="tx1"/>
                </a:solidFill>
                <a:sym typeface="+mn-lt"/>
              </a:rPr>
              <a:t>Haltestelle</a:t>
            </a:r>
            <a:r>
              <a:rPr lang="en-US" altLang="en-US" sz="1400" b="1" dirty="0">
                <a:solidFill>
                  <a:schemeClr val="tx1"/>
                </a:solidFill>
                <a:sym typeface="+mn-lt"/>
              </a:rPr>
              <a:t> (</a:t>
            </a:r>
            <a:r>
              <a:rPr lang="en-US" altLang="en-US" sz="1400" b="1" dirty="0" err="1">
                <a:solidFill>
                  <a:schemeClr val="tx1"/>
                </a:solidFill>
                <a:sym typeface="+mn-lt"/>
              </a:rPr>
              <a:t>Taktdichte</a:t>
            </a:r>
            <a:r>
              <a:rPr lang="en-US" altLang="en-US" sz="1400" b="1" dirty="0">
                <a:solidFill>
                  <a:schemeClr val="tx1"/>
                </a:solidFill>
                <a:sym typeface="+mn-lt"/>
              </a:rPr>
              <a:t>)</a:t>
            </a:r>
            <a:endParaRPr lang="de-DE" sz="1400" b="1" dirty="0">
              <a:solidFill>
                <a:schemeClr val="tx1"/>
              </a:solidFill>
              <a:sym typeface="+mn-lt"/>
            </a:endParaRPr>
          </a:p>
        </p:txBody>
      </p:sp>
      <p:sp>
        <p:nvSpPr>
          <p:cNvPr id="12" name="Rechteck 11">
            <a:extLst>
              <a:ext uri="{FF2B5EF4-FFF2-40B4-BE49-F238E27FC236}">
                <a16:creationId xmlns:a16="http://schemas.microsoft.com/office/drawing/2014/main" xmlns="" id="{E766BF0B-9A5A-4CCB-8598-4DD9834A7DC8}"/>
              </a:ext>
            </a:extLst>
          </p:cNvPr>
          <p:cNvSpPr/>
          <p:nvPr>
            <p:custDataLst>
              <p:tags r:id="rId10"/>
            </p:custDataLst>
          </p:nvPr>
        </p:nvSpPr>
        <p:spPr bwMode="gray">
          <a:xfrm>
            <a:off x="2732088" y="2921000"/>
            <a:ext cx="504825" cy="2127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25400" tIns="0" rIns="25400" bIns="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ct val="0"/>
              </a:spcBef>
              <a:spcAft>
                <a:spcPct val="0"/>
              </a:spcAft>
            </a:pPr>
            <a:fld id="{C5991109-035B-4CE9-80D8-DB49DBA11011}" type="datetime'''''''B''''''''''''''''e''''''rl''''''i''''''''''n'''''''''''">
              <a:rPr lang="en-US" altLang="en-US" sz="1400" smtClean="0">
                <a:solidFill>
                  <a:schemeClr val="tx1"/>
                </a:solidFill>
              </a:rPr>
              <a:pPr/>
              <a:t>Berlin</a:t>
            </a:fld>
            <a:endParaRPr lang="de-DE" sz="1400" dirty="0">
              <a:solidFill>
                <a:schemeClr val="tx1"/>
              </a:solidFill>
              <a:sym typeface="+mn-lt"/>
            </a:endParaRPr>
          </a:p>
        </p:txBody>
      </p:sp>
      <p:sp>
        <p:nvSpPr>
          <p:cNvPr id="16" name="Rechteck 15">
            <a:extLst>
              <a:ext uri="{FF2B5EF4-FFF2-40B4-BE49-F238E27FC236}">
                <a16:creationId xmlns:a16="http://schemas.microsoft.com/office/drawing/2014/main" xmlns="" id="{523274E9-7DB7-4789-A8B3-04010B2BBEB4}"/>
              </a:ext>
            </a:extLst>
          </p:cNvPr>
          <p:cNvSpPr/>
          <p:nvPr>
            <p:custDataLst>
              <p:tags r:id="rId11"/>
            </p:custDataLst>
          </p:nvPr>
        </p:nvSpPr>
        <p:spPr bwMode="gray">
          <a:xfrm>
            <a:off x="1744663" y="4540250"/>
            <a:ext cx="406400" cy="212725"/>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25400" tIns="0" rIns="25400" bIns="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ct val="0"/>
              </a:spcBef>
              <a:spcAft>
                <a:spcPct val="0"/>
              </a:spcAft>
            </a:pPr>
            <a:fld id="{4173658F-058E-4687-8EC3-D55EE962BF0C}" type="datetime'Kö''''''l''''''''n'''''''''''''''''''''''''''''''">
              <a:rPr lang="en-US" altLang="en-US" sz="1400" smtClean="0">
                <a:solidFill>
                  <a:schemeClr val="tx1"/>
                </a:solidFill>
                <a:sym typeface="+mn-lt"/>
              </a:rPr>
              <a:pPr/>
              <a:t>Köln</a:t>
            </a:fld>
            <a:endParaRPr lang="de-DE" sz="1400" dirty="0">
              <a:solidFill>
                <a:schemeClr val="tx1"/>
              </a:solidFill>
              <a:sym typeface="+mn-lt"/>
            </a:endParaRPr>
          </a:p>
        </p:txBody>
      </p:sp>
      <p:sp useBgFill="1">
        <p:nvSpPr>
          <p:cNvPr id="11" name="Rechteck 10">
            <a:extLst>
              <a:ext uri="{FF2B5EF4-FFF2-40B4-BE49-F238E27FC236}">
                <a16:creationId xmlns:a16="http://schemas.microsoft.com/office/drawing/2014/main" xmlns="" id="{B61169C7-9A17-423B-94CF-9007EF4365DC}"/>
              </a:ext>
            </a:extLst>
          </p:cNvPr>
          <p:cNvSpPr/>
          <p:nvPr>
            <p:custDataLst>
              <p:tags r:id="rId12"/>
            </p:custDataLst>
          </p:nvPr>
        </p:nvSpPr>
        <p:spPr bwMode="gray">
          <a:xfrm>
            <a:off x="2462213" y="3914775"/>
            <a:ext cx="779463" cy="2127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25400" tIns="0" rIns="25400" bIns="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ct val="0"/>
              </a:spcBef>
              <a:spcAft>
                <a:spcPct val="0"/>
              </a:spcAft>
            </a:pPr>
            <a:fld id="{19F177C0-E459-439A-B4A5-6D6ED2CC0D66}" type="datetime'''''''''''H''''ambu''''''''r''''''''''''''''''''''''''g'''">
              <a:rPr lang="en-US" altLang="en-US" sz="1400" smtClean="0">
                <a:solidFill>
                  <a:schemeClr val="tx1"/>
                </a:solidFill>
                <a:sym typeface="+mn-lt"/>
              </a:rPr>
              <a:pPr/>
              <a:t>Hamburg</a:t>
            </a:fld>
            <a:endParaRPr lang="de-DE" sz="1400" dirty="0">
              <a:solidFill>
                <a:schemeClr val="tx1"/>
              </a:solidFill>
              <a:sym typeface="+mn-lt"/>
            </a:endParaRPr>
          </a:p>
        </p:txBody>
      </p:sp>
      <p:cxnSp>
        <p:nvCxnSpPr>
          <p:cNvPr id="65" name="Gerade Verbindung 6">
            <a:extLst>
              <a:ext uri="{FF2B5EF4-FFF2-40B4-BE49-F238E27FC236}">
                <a16:creationId xmlns:a16="http://schemas.microsoft.com/office/drawing/2014/main" xmlns="" id="{48B993B9-0F57-43B0-A187-AB18394DDD41}"/>
              </a:ext>
            </a:extLst>
          </p:cNvPr>
          <p:cNvCxnSpPr/>
          <p:nvPr>
            <p:custDataLst>
              <p:tags r:id="rId13"/>
            </p:custDataLst>
          </p:nvPr>
        </p:nvCxnSpPr>
        <p:spPr>
          <a:xfrm>
            <a:off x="553648" y="5909781"/>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xmlns="" id="{AA9502BF-7BF8-43E5-A69F-9A1EBE0B3419}"/>
              </a:ext>
            </a:extLst>
          </p:cNvPr>
          <p:cNvSpPr txBox="1"/>
          <p:nvPr/>
        </p:nvSpPr>
        <p:spPr>
          <a:xfrm>
            <a:off x="451758" y="5919083"/>
            <a:ext cx="8164800" cy="246221"/>
          </a:xfrm>
          <a:prstGeom prst="rect">
            <a:avLst/>
          </a:prstGeom>
          <a:noFill/>
        </p:spPr>
        <p:txBody>
          <a:bodyPr wrap="square" rtlCol="0">
            <a:spAutoFit/>
          </a:bodyPr>
          <a:lstStyle/>
          <a:p>
            <a:pPr marL="0" lvl="1">
              <a:tabLst>
                <a:tab pos="180975" algn="l"/>
              </a:tabLst>
            </a:pPr>
            <a:r>
              <a:rPr lang="de-DE" sz="1000" dirty="0"/>
              <a:t>Quelle: Haltestellenabfahrten (</a:t>
            </a:r>
            <a:r>
              <a:rPr lang="de-DE" sz="1000" dirty="0" err="1"/>
              <a:t>civity</a:t>
            </a:r>
            <a:r>
              <a:rPr lang="de-DE" sz="1000" dirty="0"/>
              <a:t>, Wiener Linien 2019), Fläche (Destatis 2017, Statistik Austria 2018)</a:t>
            </a:r>
          </a:p>
        </p:txBody>
      </p:sp>
      <p:sp>
        <p:nvSpPr>
          <p:cNvPr id="19" name="Rechteck 18">
            <a:extLst>
              <a:ext uri="{FF2B5EF4-FFF2-40B4-BE49-F238E27FC236}">
                <a16:creationId xmlns:a16="http://schemas.microsoft.com/office/drawing/2014/main" xmlns="" id="{FC88C396-934C-413B-B971-79292886C205}"/>
              </a:ext>
            </a:extLst>
          </p:cNvPr>
          <p:cNvSpPr/>
          <p:nvPr/>
        </p:nvSpPr>
        <p:spPr>
          <a:xfrm>
            <a:off x="444500" y="1738909"/>
            <a:ext cx="4847580"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sz="1400" b="1" dirty="0">
                <a:solidFill>
                  <a:schemeClr val="tx1"/>
                </a:solidFill>
              </a:rPr>
              <a:t>ÖPNV-Angebotsdichte Stadtgebiet</a:t>
            </a:r>
          </a:p>
        </p:txBody>
      </p:sp>
      <p:sp>
        <p:nvSpPr>
          <p:cNvPr id="20" name="Rechteck 19">
            <a:extLst>
              <a:ext uri="{FF2B5EF4-FFF2-40B4-BE49-F238E27FC236}">
                <a16:creationId xmlns:a16="http://schemas.microsoft.com/office/drawing/2014/main" xmlns="" id="{122ECFAA-9915-432D-8111-C42BB3E23DBE}"/>
              </a:ext>
            </a:extLst>
          </p:cNvPr>
          <p:cNvSpPr/>
          <p:nvPr/>
        </p:nvSpPr>
        <p:spPr>
          <a:xfrm>
            <a:off x="5916613"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Erläuterung</a:t>
            </a:r>
          </a:p>
        </p:txBody>
      </p:sp>
      <p:cxnSp>
        <p:nvCxnSpPr>
          <p:cNvPr id="21" name="Gerade Verbindung 6">
            <a:extLst>
              <a:ext uri="{FF2B5EF4-FFF2-40B4-BE49-F238E27FC236}">
                <a16:creationId xmlns:a16="http://schemas.microsoft.com/office/drawing/2014/main" xmlns="" id="{ABA604BC-4B6F-49A0-A813-6A80CBE2F130}"/>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xmlns="" id="{91452EAE-9D7E-4072-B8A2-692E1B71B686}"/>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xmlns="" id="{1C617CCF-3BA2-43A5-AB0F-52CC438A8267}"/>
              </a:ext>
            </a:extLst>
          </p:cNvPr>
          <p:cNvSpPr txBox="1">
            <a:spLocks/>
          </p:cNvSpPr>
          <p:nvPr/>
        </p:nvSpPr>
        <p:spPr>
          <a:xfrm>
            <a:off x="5916612" y="2060798"/>
            <a:ext cx="2787993" cy="3744466"/>
          </a:xfrm>
          <a:prstGeom prst="rect">
            <a:avLst/>
          </a:prstGeom>
          <a:no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Wien mit signifikant höherer Netzdichte im Quervergleich</a:t>
            </a:r>
          </a:p>
          <a:p>
            <a:pPr lvl="2"/>
            <a:r>
              <a:rPr lang="de-DE" sz="1400" dirty="0"/>
              <a:t>Das Netz ist so dicht, dass sich die Einzugsbereiche stark überlappen und so vielfältige Zugangsmöglichkeiten mit sehr kurzen Fußwegen möglich sind</a:t>
            </a:r>
          </a:p>
          <a:p>
            <a:pPr lvl="2"/>
            <a:r>
              <a:rPr lang="de-DE" sz="1400" dirty="0"/>
              <a:t>Wien mit höchstem Wert bei der Taktdichte</a:t>
            </a:r>
          </a:p>
          <a:p>
            <a:pPr lvl="2"/>
            <a:r>
              <a:rPr lang="de-DE" sz="1400" dirty="0"/>
              <a:t>Hohe Netz- und Fahrplandichte sichern kurze, wettbewerbsfähige Gesamtreisezeiten, da Umsteigen vielfältig und ohne lange Wartezeiten möglich ist</a:t>
            </a:r>
          </a:p>
        </p:txBody>
      </p:sp>
      <p:sp>
        <p:nvSpPr>
          <p:cNvPr id="104" name="Textfeld 103">
            <a:extLst>
              <a:ext uri="{FF2B5EF4-FFF2-40B4-BE49-F238E27FC236}">
                <a16:creationId xmlns:a16="http://schemas.microsoft.com/office/drawing/2014/main" xmlns="" id="{2FBCF52B-F02D-45FA-A9CD-E787D66245B7}"/>
              </a:ext>
            </a:extLst>
          </p:cNvPr>
          <p:cNvSpPr txBox="1"/>
          <p:nvPr/>
        </p:nvSpPr>
        <p:spPr>
          <a:xfrm>
            <a:off x="2123728" y="5569495"/>
            <a:ext cx="3007555" cy="307777"/>
          </a:xfrm>
          <a:prstGeom prst="rect">
            <a:avLst/>
          </a:prstGeom>
          <a:noFill/>
        </p:spPr>
        <p:txBody>
          <a:bodyPr wrap="none" rtlCol="0">
            <a:spAutoFit/>
          </a:bodyPr>
          <a:lstStyle/>
          <a:p>
            <a:fld id="{4E6AA9BA-F0ED-41D5-B9AE-C20088D4A015}" type="datetime'H''a''''lt''e''ste''''l''len'''' ''''''p''''''ro ''k''''m2'''">
              <a:rPr lang="en-US" altLang="en-US" sz="1400" b="1" smtClean="0">
                <a:sym typeface="+mn-lt"/>
              </a:rPr>
              <a:pPr/>
              <a:t>Haltestellen pro km2</a:t>
            </a:fld>
            <a:r>
              <a:rPr lang="en-US" altLang="en-US" sz="1400" b="1" dirty="0">
                <a:sym typeface="+mn-lt"/>
              </a:rPr>
              <a:t> (</a:t>
            </a:r>
            <a:r>
              <a:rPr lang="en-US" altLang="en-US" sz="1400" b="1" dirty="0" err="1">
                <a:sym typeface="+mn-lt"/>
              </a:rPr>
              <a:t>Netzdichte</a:t>
            </a:r>
            <a:r>
              <a:rPr lang="en-US" altLang="en-US" sz="1400" b="1" dirty="0">
                <a:sym typeface="+mn-lt"/>
              </a:rPr>
              <a:t>)</a:t>
            </a:r>
            <a:endParaRPr lang="de-DE" sz="1400" b="1" dirty="0"/>
          </a:p>
        </p:txBody>
      </p:sp>
      <p:sp>
        <p:nvSpPr>
          <p:cNvPr id="24" name="Textfeld 23">
            <a:extLst>
              <a:ext uri="{FF2B5EF4-FFF2-40B4-BE49-F238E27FC236}">
                <a16:creationId xmlns:a16="http://schemas.microsoft.com/office/drawing/2014/main" xmlns="" id="{B2807347-1011-4A43-AC50-5F90DD6D366A}"/>
              </a:ext>
            </a:extLst>
          </p:cNvPr>
          <p:cNvSpPr txBox="1"/>
          <p:nvPr/>
        </p:nvSpPr>
        <p:spPr>
          <a:xfrm>
            <a:off x="1043608" y="5085184"/>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
        <p:nvSpPr>
          <p:cNvPr id="25" name="Textfeld 24">
            <a:extLst>
              <a:ext uri="{FF2B5EF4-FFF2-40B4-BE49-F238E27FC236}">
                <a16:creationId xmlns:a16="http://schemas.microsoft.com/office/drawing/2014/main" xmlns="" id="{BE0F11C0-A7DE-4436-B923-D3B76CC20D1A}"/>
              </a:ext>
            </a:extLst>
          </p:cNvPr>
          <p:cNvSpPr txBox="1"/>
          <p:nvPr/>
        </p:nvSpPr>
        <p:spPr>
          <a:xfrm>
            <a:off x="-3564904" y="1427292"/>
            <a:ext cx="1474249" cy="1569660"/>
          </a:xfrm>
          <a:prstGeom prst="rect">
            <a:avLst/>
          </a:prstGeom>
          <a:solidFill>
            <a:srgbClr val="92D050"/>
          </a:solidFill>
        </p:spPr>
        <p:txBody>
          <a:bodyPr wrap="square" rtlCol="0">
            <a:spAutoFit/>
          </a:bodyPr>
          <a:lstStyle/>
          <a:p>
            <a:r>
              <a:rPr lang="de-DE" sz="1600" dirty="0"/>
              <a:t>Hinweis auf den ÖPNV Report von </a:t>
            </a:r>
            <a:r>
              <a:rPr lang="de-DE" sz="1600" dirty="0" err="1"/>
              <a:t>civity</a:t>
            </a:r>
            <a:r>
              <a:rPr lang="de-DE" sz="1600" dirty="0"/>
              <a:t> und das Potential der Daten</a:t>
            </a:r>
          </a:p>
        </p:txBody>
      </p:sp>
    </p:spTree>
    <p:extLst>
      <p:ext uri="{BB962C8B-B14F-4D97-AF65-F5344CB8AC3E}">
        <p14:creationId xmlns:p14="http://schemas.microsoft.com/office/powerpoint/2010/main" val="2780508729"/>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4117" name="think-cell Folie" r:id="rId8" imgW="270" imgH="270" progId="TCLayout.ActiveDocument.1">
                  <p:embed/>
                </p:oleObj>
              </mc:Choice>
              <mc:Fallback>
                <p:oleObj name="think-cell Folie" r:id="rId8" imgW="270" imgH="270" progId="TCLayout.ActiveDocument.1">
                  <p:embed/>
                  <p:pic>
                    <p:nvPicPr>
                      <p:cNvPr id="17" name="Objek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8" name="Rechteck 7" hidden="1"/>
          <p:cNvSpPr/>
          <p:nvPr>
            <p:custDataLst>
              <p:tags r:id="rId3"/>
            </p:custDataLst>
          </p:nvPr>
        </p:nvSpPr>
        <p:spPr bwMode="auto">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pic>
        <p:nvPicPr>
          <p:cNvPr id="243" name="Grafik 242">
            <a:extLst>
              <a:ext uri="{FF2B5EF4-FFF2-40B4-BE49-F238E27FC236}">
                <a16:creationId xmlns:a16="http://schemas.microsoft.com/office/drawing/2014/main" xmlns="" id="{E08F30B5-3AFC-4407-90BA-E303CB7526CA}"/>
              </a:ext>
            </a:extLst>
          </p:cNvPr>
          <p:cNvPicPr>
            <a:picLocks noChangeAspect="1"/>
          </p:cNvPicPr>
          <p:nvPr/>
        </p:nvPicPr>
        <p:blipFill>
          <a:blip r:embed="rId10"/>
          <a:stretch>
            <a:fillRect/>
          </a:stretch>
        </p:blipFill>
        <p:spPr>
          <a:xfrm>
            <a:off x="3344949" y="4060762"/>
            <a:ext cx="1726285" cy="1657395"/>
          </a:xfrm>
          <a:prstGeom prst="rect">
            <a:avLst/>
          </a:prstGeom>
          <a:ln>
            <a:solidFill>
              <a:schemeClr val="accent5"/>
            </a:solidFill>
          </a:ln>
        </p:spPr>
      </p:pic>
      <p:pic>
        <p:nvPicPr>
          <p:cNvPr id="244" name="Grafik 243">
            <a:extLst>
              <a:ext uri="{FF2B5EF4-FFF2-40B4-BE49-F238E27FC236}">
                <a16:creationId xmlns:a16="http://schemas.microsoft.com/office/drawing/2014/main" xmlns="" id="{A7E16C1D-FA44-4D78-A0DF-51D61D4B2D67}"/>
              </a:ext>
            </a:extLst>
          </p:cNvPr>
          <p:cNvPicPr>
            <a:picLocks noChangeAspect="1"/>
          </p:cNvPicPr>
          <p:nvPr/>
        </p:nvPicPr>
        <p:blipFill>
          <a:blip r:embed="rId11"/>
          <a:stretch>
            <a:fillRect/>
          </a:stretch>
        </p:blipFill>
        <p:spPr>
          <a:xfrm>
            <a:off x="6005975" y="1895318"/>
            <a:ext cx="1725022" cy="1656184"/>
          </a:xfrm>
          <a:prstGeom prst="rect">
            <a:avLst/>
          </a:prstGeom>
          <a:ln>
            <a:solidFill>
              <a:schemeClr val="accent5"/>
            </a:solidFill>
          </a:ln>
        </p:spPr>
      </p:pic>
      <p:pic>
        <p:nvPicPr>
          <p:cNvPr id="245" name="Grafik 244">
            <a:extLst>
              <a:ext uri="{FF2B5EF4-FFF2-40B4-BE49-F238E27FC236}">
                <a16:creationId xmlns:a16="http://schemas.microsoft.com/office/drawing/2014/main" xmlns="" id="{F2BD4EBD-8A69-4CBB-A854-E429A9D36CB3}"/>
              </a:ext>
            </a:extLst>
          </p:cNvPr>
          <p:cNvPicPr>
            <a:picLocks noChangeAspect="1"/>
          </p:cNvPicPr>
          <p:nvPr/>
        </p:nvPicPr>
        <p:blipFill>
          <a:blip r:embed="rId12"/>
          <a:stretch>
            <a:fillRect/>
          </a:stretch>
        </p:blipFill>
        <p:spPr>
          <a:xfrm>
            <a:off x="3345581" y="1895318"/>
            <a:ext cx="1725022" cy="1656183"/>
          </a:xfrm>
          <a:prstGeom prst="rect">
            <a:avLst/>
          </a:prstGeom>
          <a:ln>
            <a:solidFill>
              <a:schemeClr val="accent5"/>
            </a:solidFill>
          </a:ln>
        </p:spPr>
      </p:pic>
      <p:pic>
        <p:nvPicPr>
          <p:cNvPr id="246" name="Grafik 245">
            <a:extLst>
              <a:ext uri="{FF2B5EF4-FFF2-40B4-BE49-F238E27FC236}">
                <a16:creationId xmlns:a16="http://schemas.microsoft.com/office/drawing/2014/main" xmlns="" id="{ECCD67A1-A6DF-4361-B8BD-A0DC6A65C077}"/>
              </a:ext>
            </a:extLst>
          </p:cNvPr>
          <p:cNvPicPr>
            <a:picLocks noChangeAspect="1"/>
          </p:cNvPicPr>
          <p:nvPr/>
        </p:nvPicPr>
        <p:blipFill>
          <a:blip r:embed="rId13"/>
          <a:stretch>
            <a:fillRect/>
          </a:stretch>
        </p:blipFill>
        <p:spPr>
          <a:xfrm>
            <a:off x="6005975" y="4055301"/>
            <a:ext cx="1725021" cy="1656183"/>
          </a:xfrm>
          <a:prstGeom prst="rect">
            <a:avLst/>
          </a:prstGeom>
          <a:ln>
            <a:solidFill>
              <a:schemeClr val="accent5"/>
            </a:solidFill>
          </a:ln>
        </p:spPr>
      </p:pic>
      <p:pic>
        <p:nvPicPr>
          <p:cNvPr id="240" name="Grafik 239">
            <a:extLst>
              <a:ext uri="{FF2B5EF4-FFF2-40B4-BE49-F238E27FC236}">
                <a16:creationId xmlns:a16="http://schemas.microsoft.com/office/drawing/2014/main" xmlns="" id="{BE62FD07-5EE7-400E-BAD8-D473D799A2C2}"/>
              </a:ext>
            </a:extLst>
          </p:cNvPr>
          <p:cNvPicPr>
            <a:picLocks noChangeAspect="1"/>
          </p:cNvPicPr>
          <p:nvPr/>
        </p:nvPicPr>
        <p:blipFill>
          <a:blip r:embed="rId14"/>
          <a:stretch>
            <a:fillRect/>
          </a:stretch>
        </p:blipFill>
        <p:spPr>
          <a:xfrm>
            <a:off x="560300" y="1895318"/>
            <a:ext cx="1725022" cy="1656183"/>
          </a:xfrm>
          <a:prstGeom prst="rect">
            <a:avLst/>
          </a:prstGeom>
          <a:ln>
            <a:solidFill>
              <a:schemeClr val="accent5"/>
            </a:solidFill>
          </a:ln>
        </p:spPr>
      </p:pic>
      <p:cxnSp>
        <p:nvCxnSpPr>
          <p:cNvPr id="11" name="Gerader Verbinder 10">
            <a:extLst>
              <a:ext uri="{FF2B5EF4-FFF2-40B4-BE49-F238E27FC236}">
                <a16:creationId xmlns:a16="http://schemas.microsoft.com/office/drawing/2014/main" xmlns="" id="{52281C50-3046-4929-9CA7-982F30D0C985}"/>
              </a:ext>
            </a:extLst>
          </p:cNvPr>
          <p:cNvCxnSpPr>
            <a:cxnSpLocks/>
          </p:cNvCxnSpPr>
          <p:nvPr/>
        </p:nvCxnSpPr>
        <p:spPr>
          <a:xfrm>
            <a:off x="3035449" y="1628775"/>
            <a:ext cx="0" cy="402854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e-DE" dirty="0"/>
              <a:t>74% der Wiener Bevölkerung hat einen direkten fußläufigen Zugang zum schienengebundenen ÖPNV</a:t>
            </a:r>
          </a:p>
        </p:txBody>
      </p:sp>
      <p:sp>
        <p:nvSpPr>
          <p:cNvPr id="4" name="Foliennummernplatzhalter 3"/>
          <p:cNvSpPr>
            <a:spLocks noGrp="1"/>
          </p:cNvSpPr>
          <p:nvPr>
            <p:ph type="sldNum" sz="quarter" idx="11"/>
          </p:nvPr>
        </p:nvSpPr>
        <p:spPr>
          <a:xfrm>
            <a:off x="519428" y="6295779"/>
            <a:ext cx="227626" cy="246221"/>
          </a:xfrm>
        </p:spPr>
        <p:txBody>
          <a:bodyPr/>
          <a:lstStyle/>
          <a:p>
            <a:fld id="{CD21EFEB-933F-4F46-A5AD-B6372944D9E5}" type="slidenum">
              <a:rPr lang="de-DE" smtClean="0"/>
              <a:pPr/>
              <a:t>14</a:t>
            </a:fld>
            <a:endParaRPr lang="de-DE" dirty="0"/>
          </a:p>
        </p:txBody>
      </p:sp>
      <p:sp>
        <p:nvSpPr>
          <p:cNvPr id="14" name="Inhaltsplatzhalter 13"/>
          <p:cNvSpPr>
            <a:spLocks noGrp="1"/>
          </p:cNvSpPr>
          <p:nvPr>
            <p:ph idx="1"/>
          </p:nvPr>
        </p:nvSpPr>
        <p:spPr>
          <a:xfrm>
            <a:off x="451758" y="1083558"/>
            <a:ext cx="8296706" cy="292316"/>
          </a:xfrm>
        </p:spPr>
        <p:txBody>
          <a:bodyPr/>
          <a:lstStyle/>
          <a:p>
            <a:r>
              <a:rPr lang="de-DE" dirty="0"/>
              <a:t>Erschließungsgrad Schiene</a:t>
            </a:r>
          </a:p>
        </p:txBody>
      </p:sp>
      <p:cxnSp>
        <p:nvCxnSpPr>
          <p:cNvPr id="93" name="Gerade Verbindung 92"/>
          <p:cNvCxnSpPr/>
          <p:nvPr>
            <p:custDataLst>
              <p:tags r:id="rId4"/>
            </p:custDataLst>
          </p:nvPr>
        </p:nvCxnSpPr>
        <p:spPr>
          <a:xfrm>
            <a:off x="540196" y="5847075"/>
            <a:ext cx="8064054"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24" name="Textfeld 123">
            <a:extLst>
              <a:ext uri="{FF2B5EF4-FFF2-40B4-BE49-F238E27FC236}">
                <a16:creationId xmlns:a16="http://schemas.microsoft.com/office/drawing/2014/main" xmlns="" id="{1E32AE85-0290-404A-8B6F-F6EB9FB823D8}"/>
              </a:ext>
            </a:extLst>
          </p:cNvPr>
          <p:cNvSpPr txBox="1"/>
          <p:nvPr/>
        </p:nvSpPr>
        <p:spPr>
          <a:xfrm>
            <a:off x="451758" y="1594892"/>
            <a:ext cx="2663652" cy="215900"/>
          </a:xfrm>
          <a:prstGeom prst="rect">
            <a:avLst/>
          </a:prstGeom>
          <a:noFill/>
          <a:ln>
            <a:noFill/>
          </a:ln>
        </p:spPr>
        <p:txBody>
          <a:bodyPr wrap="square" rtlCol="0">
            <a:noAutofit/>
          </a:bodyPr>
          <a:lstStyle/>
          <a:p>
            <a:r>
              <a:rPr lang="de-DE" sz="1400" b="1" dirty="0"/>
              <a:t>Wien</a:t>
            </a:r>
          </a:p>
        </p:txBody>
      </p:sp>
      <p:sp>
        <p:nvSpPr>
          <p:cNvPr id="137" name="Textfeld 136">
            <a:extLst>
              <a:ext uri="{FF2B5EF4-FFF2-40B4-BE49-F238E27FC236}">
                <a16:creationId xmlns:a16="http://schemas.microsoft.com/office/drawing/2014/main" xmlns="" id="{4DA15DDE-8756-4240-B1BE-317D9892B564}"/>
              </a:ext>
            </a:extLst>
          </p:cNvPr>
          <p:cNvSpPr txBox="1"/>
          <p:nvPr/>
        </p:nvSpPr>
        <p:spPr>
          <a:xfrm>
            <a:off x="3276600" y="1590700"/>
            <a:ext cx="2663825" cy="215305"/>
          </a:xfrm>
          <a:prstGeom prst="rect">
            <a:avLst/>
          </a:prstGeom>
          <a:noFill/>
          <a:ln>
            <a:noFill/>
          </a:ln>
        </p:spPr>
        <p:txBody>
          <a:bodyPr wrap="square" rtlCol="0">
            <a:noAutofit/>
          </a:bodyPr>
          <a:lstStyle/>
          <a:p>
            <a:r>
              <a:rPr lang="de-DE" sz="1400" b="1" dirty="0"/>
              <a:t>Berlin</a:t>
            </a:r>
          </a:p>
        </p:txBody>
      </p:sp>
      <p:sp>
        <p:nvSpPr>
          <p:cNvPr id="138" name="Textfeld 137">
            <a:extLst>
              <a:ext uri="{FF2B5EF4-FFF2-40B4-BE49-F238E27FC236}">
                <a16:creationId xmlns:a16="http://schemas.microsoft.com/office/drawing/2014/main" xmlns="" id="{64BD4554-1CB4-495F-B7A8-13493C954DE9}"/>
              </a:ext>
            </a:extLst>
          </p:cNvPr>
          <p:cNvSpPr txBox="1"/>
          <p:nvPr/>
        </p:nvSpPr>
        <p:spPr>
          <a:xfrm>
            <a:off x="5946862" y="1590700"/>
            <a:ext cx="2663652" cy="215305"/>
          </a:xfrm>
          <a:prstGeom prst="rect">
            <a:avLst/>
          </a:prstGeom>
          <a:noFill/>
          <a:ln>
            <a:noFill/>
          </a:ln>
        </p:spPr>
        <p:txBody>
          <a:bodyPr wrap="square" rtlCol="0">
            <a:noAutofit/>
          </a:bodyPr>
          <a:lstStyle/>
          <a:p>
            <a:r>
              <a:rPr lang="de-DE" sz="1400" b="1" dirty="0"/>
              <a:t>Hamburg</a:t>
            </a:r>
          </a:p>
        </p:txBody>
      </p:sp>
      <p:sp>
        <p:nvSpPr>
          <p:cNvPr id="46" name="Freeform 7">
            <a:extLst>
              <a:ext uri="{FF2B5EF4-FFF2-40B4-BE49-F238E27FC236}">
                <a16:creationId xmlns:a16="http://schemas.microsoft.com/office/drawing/2014/main" xmlns="" id="{39427653-5766-4FE0-8E55-3CAB7747F0DC}"/>
              </a:ext>
            </a:extLst>
          </p:cNvPr>
          <p:cNvSpPr>
            <a:spLocks/>
          </p:cNvSpPr>
          <p:nvPr>
            <p:custDataLst>
              <p:tags r:id="rId5"/>
            </p:custDataLst>
          </p:nvPr>
        </p:nvSpPr>
        <p:spPr bwMode="auto">
          <a:xfrm>
            <a:off x="3025924" y="2855374"/>
            <a:ext cx="217199" cy="1578476"/>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1"/>
          </a:solidFill>
          <a:ln w="19050" cap="rnd">
            <a:solidFill>
              <a:schemeClr val="bg1"/>
            </a:solidFill>
            <a:round/>
            <a:headEnd type="none" w="sm" len="sm"/>
            <a:tailEnd type="none" w="sm" len="sm"/>
          </a:ln>
          <a:effectLst>
            <a:glow rad="63500">
              <a:schemeClr val="bg1">
                <a:alpha val="40000"/>
              </a:schemeClr>
            </a:glow>
          </a:effectLst>
        </p:spPr>
        <p:txBody>
          <a:bodyPr/>
          <a:lstStyle/>
          <a:p>
            <a:endParaRPr lang="de-DE" sz="1400" dirty="0"/>
          </a:p>
        </p:txBody>
      </p:sp>
      <p:pic>
        <p:nvPicPr>
          <p:cNvPr id="51" name="Grafik 50">
            <a:extLst>
              <a:ext uri="{FF2B5EF4-FFF2-40B4-BE49-F238E27FC236}">
                <a16:creationId xmlns:a16="http://schemas.microsoft.com/office/drawing/2014/main" xmlns="" id="{BA4EE1BD-42FE-410F-9195-AF02BC04A523}"/>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8272496" y="1628840"/>
            <a:ext cx="257143" cy="360000"/>
          </a:xfrm>
          <a:prstGeom prst="rect">
            <a:avLst/>
          </a:prstGeom>
        </p:spPr>
      </p:pic>
      <p:pic>
        <p:nvPicPr>
          <p:cNvPr id="52" name="Grafik 51">
            <a:extLst>
              <a:ext uri="{FF2B5EF4-FFF2-40B4-BE49-F238E27FC236}">
                <a16:creationId xmlns:a16="http://schemas.microsoft.com/office/drawing/2014/main" xmlns="" id="{4800A8F5-1EDA-4AF7-BE7E-CBC935B34D12}"/>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576888" y="1628855"/>
            <a:ext cx="219075" cy="359770"/>
          </a:xfrm>
          <a:prstGeom prst="rect">
            <a:avLst/>
          </a:prstGeom>
        </p:spPr>
      </p:pic>
      <p:pic>
        <p:nvPicPr>
          <p:cNvPr id="53" name="Grafik 52">
            <a:extLst>
              <a:ext uri="{FF2B5EF4-FFF2-40B4-BE49-F238E27FC236}">
                <a16:creationId xmlns:a16="http://schemas.microsoft.com/office/drawing/2014/main" xmlns="" id="{A8606D77-AF02-48D0-876A-9645CB235242}"/>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5541963" y="3808444"/>
            <a:ext cx="288925" cy="361493"/>
          </a:xfrm>
          <a:prstGeom prst="rect">
            <a:avLst/>
          </a:prstGeom>
        </p:spPr>
      </p:pic>
      <p:sp>
        <p:nvSpPr>
          <p:cNvPr id="39" name="Textfeld 38">
            <a:extLst>
              <a:ext uri="{FF2B5EF4-FFF2-40B4-BE49-F238E27FC236}">
                <a16:creationId xmlns:a16="http://schemas.microsoft.com/office/drawing/2014/main" xmlns="" id="{559A27B2-BD71-468D-BC5C-16EA7691A15D}"/>
              </a:ext>
            </a:extLst>
          </p:cNvPr>
          <p:cNvSpPr txBox="1"/>
          <p:nvPr/>
        </p:nvSpPr>
        <p:spPr>
          <a:xfrm>
            <a:off x="451758" y="5847075"/>
            <a:ext cx="6064458" cy="246221"/>
          </a:xfrm>
          <a:prstGeom prst="rect">
            <a:avLst/>
          </a:prstGeom>
          <a:noFill/>
        </p:spPr>
        <p:txBody>
          <a:bodyPr wrap="square" rtlCol="0">
            <a:spAutoFit/>
          </a:bodyPr>
          <a:lstStyle/>
          <a:p>
            <a:r>
              <a:rPr lang="de-DE" sz="1000" dirty="0"/>
              <a:t>Quellen: </a:t>
            </a:r>
            <a:r>
              <a:rPr lang="de-DE" sz="1000" dirty="0" err="1"/>
              <a:t>civity</a:t>
            </a:r>
            <a:r>
              <a:rPr lang="de-DE" sz="1000" dirty="0"/>
              <a:t> Analyse 2019, </a:t>
            </a:r>
            <a:r>
              <a:rPr lang="de-DE" sz="1000" dirty="0" err="1"/>
              <a:t>Corine</a:t>
            </a:r>
            <a:r>
              <a:rPr lang="de-DE" sz="1000" dirty="0"/>
              <a:t> Land Cover 2018, ZENSUS RASTER 2011</a:t>
            </a:r>
          </a:p>
        </p:txBody>
      </p:sp>
      <p:sp>
        <p:nvSpPr>
          <p:cNvPr id="47" name="Textfeld 46">
            <a:extLst>
              <a:ext uri="{FF2B5EF4-FFF2-40B4-BE49-F238E27FC236}">
                <a16:creationId xmlns:a16="http://schemas.microsoft.com/office/drawing/2014/main" xmlns="" id="{628A0876-068D-44F4-AF4D-46AA743859B6}"/>
              </a:ext>
            </a:extLst>
          </p:cNvPr>
          <p:cNvSpPr txBox="1"/>
          <p:nvPr/>
        </p:nvSpPr>
        <p:spPr>
          <a:xfrm>
            <a:off x="3361084" y="5467842"/>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48" name="Textfeld 47">
            <a:extLst>
              <a:ext uri="{FF2B5EF4-FFF2-40B4-BE49-F238E27FC236}">
                <a16:creationId xmlns:a16="http://schemas.microsoft.com/office/drawing/2014/main" xmlns="" id="{9A32A94C-724F-478E-A0ED-C22207A89BC5}"/>
              </a:ext>
            </a:extLst>
          </p:cNvPr>
          <p:cNvSpPr txBox="1"/>
          <p:nvPr/>
        </p:nvSpPr>
        <p:spPr>
          <a:xfrm>
            <a:off x="6097934" y="5460808"/>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88" name="Textfeld 87">
            <a:extLst>
              <a:ext uri="{FF2B5EF4-FFF2-40B4-BE49-F238E27FC236}">
                <a16:creationId xmlns:a16="http://schemas.microsoft.com/office/drawing/2014/main" xmlns="" id="{5D0BE99E-D490-4AB1-BB3B-502D6C6057A5}"/>
              </a:ext>
            </a:extLst>
          </p:cNvPr>
          <p:cNvSpPr txBox="1"/>
          <p:nvPr/>
        </p:nvSpPr>
        <p:spPr>
          <a:xfrm>
            <a:off x="3276600" y="3775722"/>
            <a:ext cx="2663825" cy="215305"/>
          </a:xfrm>
          <a:prstGeom prst="rect">
            <a:avLst/>
          </a:prstGeom>
          <a:noFill/>
          <a:ln>
            <a:noFill/>
          </a:ln>
        </p:spPr>
        <p:txBody>
          <a:bodyPr wrap="square" rtlCol="0">
            <a:noAutofit/>
          </a:bodyPr>
          <a:lstStyle/>
          <a:p>
            <a:r>
              <a:rPr lang="de-DE" sz="1400" b="1" dirty="0"/>
              <a:t>München</a:t>
            </a:r>
          </a:p>
        </p:txBody>
      </p:sp>
      <p:sp>
        <p:nvSpPr>
          <p:cNvPr id="110" name="Textfeld 109">
            <a:extLst>
              <a:ext uri="{FF2B5EF4-FFF2-40B4-BE49-F238E27FC236}">
                <a16:creationId xmlns:a16="http://schemas.microsoft.com/office/drawing/2014/main" xmlns="" id="{65BDAD9C-6A2B-4A60-A767-98220A0467A5}"/>
              </a:ext>
            </a:extLst>
          </p:cNvPr>
          <p:cNvSpPr txBox="1"/>
          <p:nvPr/>
        </p:nvSpPr>
        <p:spPr>
          <a:xfrm>
            <a:off x="5946862" y="3775722"/>
            <a:ext cx="2663652" cy="215305"/>
          </a:xfrm>
          <a:prstGeom prst="rect">
            <a:avLst/>
          </a:prstGeom>
          <a:noFill/>
          <a:ln>
            <a:noFill/>
          </a:ln>
        </p:spPr>
        <p:txBody>
          <a:bodyPr wrap="square" rtlCol="0">
            <a:noAutofit/>
          </a:bodyPr>
          <a:lstStyle/>
          <a:p>
            <a:r>
              <a:rPr lang="de-DE" sz="1400" b="1" dirty="0"/>
              <a:t>Köln</a:t>
            </a:r>
          </a:p>
        </p:txBody>
      </p:sp>
      <p:grpSp>
        <p:nvGrpSpPr>
          <p:cNvPr id="6" name="Gruppieren 5">
            <a:extLst>
              <a:ext uri="{FF2B5EF4-FFF2-40B4-BE49-F238E27FC236}">
                <a16:creationId xmlns:a16="http://schemas.microsoft.com/office/drawing/2014/main" xmlns="" id="{DBF1F697-AA8D-4E5C-9404-228B976D210B}"/>
              </a:ext>
            </a:extLst>
          </p:cNvPr>
          <p:cNvGrpSpPr/>
          <p:nvPr/>
        </p:nvGrpSpPr>
        <p:grpSpPr>
          <a:xfrm>
            <a:off x="5055229" y="2240843"/>
            <a:ext cx="833513" cy="1002911"/>
            <a:chOff x="2177404" y="2287860"/>
            <a:chExt cx="833513" cy="1002911"/>
          </a:xfrm>
        </p:grpSpPr>
        <p:sp>
          <p:nvSpPr>
            <p:cNvPr id="70" name="Textfeld 69">
              <a:extLst>
                <a:ext uri="{FF2B5EF4-FFF2-40B4-BE49-F238E27FC236}">
                  <a16:creationId xmlns:a16="http://schemas.microsoft.com/office/drawing/2014/main" xmlns="" id="{1325BAFD-804F-4CFF-8083-8E81B27E1D09}"/>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a:ea typeface="+mn-ea"/>
                  <a:cs typeface="+mn-cs"/>
                </a:rPr>
                <a:t>43 %</a:t>
              </a:r>
            </a:p>
          </p:txBody>
        </p:sp>
        <p:cxnSp>
          <p:nvCxnSpPr>
            <p:cNvPr id="71" name="Gerade Verbindung 6">
              <a:extLst>
                <a:ext uri="{FF2B5EF4-FFF2-40B4-BE49-F238E27FC236}">
                  <a16:creationId xmlns:a16="http://schemas.microsoft.com/office/drawing/2014/main" xmlns="" id="{00926A2D-AFC3-492A-A151-0EBC3D668BD5}"/>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xmlns="" id="{7FC3D708-4FF2-4AC1-A462-8C876AC132DE}"/>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58</a:t>
              </a:r>
              <a:r>
                <a:rPr kumimoji="0" lang="de-DE" sz="1400" b="0" i="0" u="none" strike="noStrike" kern="1200" cap="none" spc="0" normalizeH="0" baseline="0" noProof="0" dirty="0">
                  <a:ln>
                    <a:noFill/>
                  </a:ln>
                  <a:effectLst/>
                  <a:uLnTx/>
                  <a:uFillTx/>
                  <a:latin typeface="Arial"/>
                  <a:ea typeface="+mn-ea"/>
                  <a:cs typeface="+mn-cs"/>
                </a:rPr>
                <a:t> %</a:t>
              </a:r>
            </a:p>
          </p:txBody>
        </p:sp>
        <p:sp>
          <p:nvSpPr>
            <p:cNvPr id="73" name="Textfeld 72">
              <a:extLst>
                <a:ext uri="{FF2B5EF4-FFF2-40B4-BE49-F238E27FC236}">
                  <a16:creationId xmlns:a16="http://schemas.microsoft.com/office/drawing/2014/main" xmlns="" id="{F8DBCE40-CA3A-4B9F-A14B-5FC6E35082DD}"/>
                </a:ext>
              </a:extLst>
            </p:cNvPr>
            <p:cNvSpPr txBox="1"/>
            <p:nvPr/>
          </p:nvSpPr>
          <p:spPr>
            <a:xfrm>
              <a:off x="2177404" y="2287860"/>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effectLst/>
                <a:uLnTx/>
                <a:uFillTx/>
                <a:latin typeface="Arial"/>
                <a:ea typeface="+mn-ea"/>
                <a:cs typeface="+mn-cs"/>
              </a:endParaRPr>
            </a:p>
          </p:txBody>
        </p:sp>
      </p:grpSp>
      <p:grpSp>
        <p:nvGrpSpPr>
          <p:cNvPr id="87" name="Gruppieren 86">
            <a:extLst>
              <a:ext uri="{FF2B5EF4-FFF2-40B4-BE49-F238E27FC236}">
                <a16:creationId xmlns:a16="http://schemas.microsoft.com/office/drawing/2014/main" xmlns="" id="{0FECB0E8-A603-4662-8C6E-708A9652707E}"/>
              </a:ext>
            </a:extLst>
          </p:cNvPr>
          <p:cNvGrpSpPr/>
          <p:nvPr/>
        </p:nvGrpSpPr>
        <p:grpSpPr>
          <a:xfrm>
            <a:off x="2201885" y="2534722"/>
            <a:ext cx="828000" cy="709032"/>
            <a:chOff x="2182917" y="2581739"/>
            <a:chExt cx="828000" cy="709032"/>
          </a:xfrm>
        </p:grpSpPr>
        <p:sp>
          <p:nvSpPr>
            <p:cNvPr id="89" name="Textfeld 88">
              <a:extLst>
                <a:ext uri="{FF2B5EF4-FFF2-40B4-BE49-F238E27FC236}">
                  <a16:creationId xmlns:a16="http://schemas.microsoft.com/office/drawing/2014/main" xmlns="" id="{0B0D4176-7AC5-42FC-9D7B-D6035AE1CF33}"/>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47</a:t>
              </a:r>
              <a:r>
                <a:rPr kumimoji="0" lang="de-DE" sz="1400" b="0" i="0" u="none" strike="noStrike" kern="1200" cap="none" spc="0" normalizeH="0" baseline="0" noProof="0" dirty="0">
                  <a:ln>
                    <a:noFill/>
                  </a:ln>
                  <a:effectLst/>
                  <a:uLnTx/>
                  <a:uFillTx/>
                  <a:latin typeface="Arial"/>
                  <a:ea typeface="+mn-ea"/>
                  <a:cs typeface="+mn-cs"/>
                </a:rPr>
                <a:t> %</a:t>
              </a:r>
            </a:p>
          </p:txBody>
        </p:sp>
        <p:cxnSp>
          <p:nvCxnSpPr>
            <p:cNvPr id="90" name="Gerade Verbindung 6">
              <a:extLst>
                <a:ext uri="{FF2B5EF4-FFF2-40B4-BE49-F238E27FC236}">
                  <a16:creationId xmlns:a16="http://schemas.microsoft.com/office/drawing/2014/main" xmlns="" id="{460DEBA9-AB54-4178-968C-2D2F0FCA77E6}"/>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1" name="Textfeld 90">
              <a:extLst>
                <a:ext uri="{FF2B5EF4-FFF2-40B4-BE49-F238E27FC236}">
                  <a16:creationId xmlns:a16="http://schemas.microsoft.com/office/drawing/2014/main" xmlns="" id="{B407BDE8-F5B9-46E0-B346-C245727B10F0}"/>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74</a:t>
              </a:r>
              <a:r>
                <a:rPr kumimoji="0" lang="de-DE" sz="1400" b="0" i="0" u="none" strike="noStrike" kern="1200" cap="none" spc="0" normalizeH="0" baseline="0" noProof="0" dirty="0">
                  <a:ln>
                    <a:noFill/>
                  </a:ln>
                  <a:effectLst/>
                  <a:uLnTx/>
                  <a:uFillTx/>
                  <a:latin typeface="Arial"/>
                  <a:ea typeface="+mn-ea"/>
                  <a:cs typeface="+mn-cs"/>
                </a:rPr>
                <a:t> %</a:t>
              </a:r>
            </a:p>
          </p:txBody>
        </p:sp>
      </p:grpSp>
      <p:grpSp>
        <p:nvGrpSpPr>
          <p:cNvPr id="94" name="Gruppieren 93">
            <a:extLst>
              <a:ext uri="{FF2B5EF4-FFF2-40B4-BE49-F238E27FC236}">
                <a16:creationId xmlns:a16="http://schemas.microsoft.com/office/drawing/2014/main" xmlns="" id="{090DB9B6-B6F8-43A5-9D99-D9D67967ED48}"/>
              </a:ext>
            </a:extLst>
          </p:cNvPr>
          <p:cNvGrpSpPr/>
          <p:nvPr/>
        </p:nvGrpSpPr>
        <p:grpSpPr>
          <a:xfrm>
            <a:off x="7825049" y="2534722"/>
            <a:ext cx="828000" cy="709032"/>
            <a:chOff x="2182917" y="2581739"/>
            <a:chExt cx="828000" cy="709032"/>
          </a:xfrm>
        </p:grpSpPr>
        <p:sp>
          <p:nvSpPr>
            <p:cNvPr id="95" name="Textfeld 94">
              <a:extLst>
                <a:ext uri="{FF2B5EF4-FFF2-40B4-BE49-F238E27FC236}">
                  <a16:creationId xmlns:a16="http://schemas.microsoft.com/office/drawing/2014/main" xmlns="" id="{FBADD821-E24C-4237-A29F-6397C37EC789}"/>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a:ea typeface="+mn-ea"/>
                  <a:cs typeface="+mn-cs"/>
                </a:rPr>
                <a:t>22 %</a:t>
              </a:r>
            </a:p>
          </p:txBody>
        </p:sp>
        <p:cxnSp>
          <p:nvCxnSpPr>
            <p:cNvPr id="96" name="Gerade Verbindung 6">
              <a:extLst>
                <a:ext uri="{FF2B5EF4-FFF2-40B4-BE49-F238E27FC236}">
                  <a16:creationId xmlns:a16="http://schemas.microsoft.com/office/drawing/2014/main" xmlns="" id="{21E32432-EDD7-4432-9AAC-98F6DBB6ACF7}"/>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7" name="Textfeld 96">
              <a:extLst>
                <a:ext uri="{FF2B5EF4-FFF2-40B4-BE49-F238E27FC236}">
                  <a16:creationId xmlns:a16="http://schemas.microsoft.com/office/drawing/2014/main" xmlns="" id="{D62E8408-E3F7-455D-B907-697619F8A594}"/>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a:ea typeface="+mn-ea"/>
                  <a:cs typeface="+mn-cs"/>
                </a:rPr>
                <a:t>31 %</a:t>
              </a:r>
            </a:p>
          </p:txBody>
        </p:sp>
      </p:grpSp>
      <p:grpSp>
        <p:nvGrpSpPr>
          <p:cNvPr id="99" name="Gruppieren 98">
            <a:extLst>
              <a:ext uri="{FF2B5EF4-FFF2-40B4-BE49-F238E27FC236}">
                <a16:creationId xmlns:a16="http://schemas.microsoft.com/office/drawing/2014/main" xmlns="" id="{80FFAE11-86E8-4D27-8296-1A179BA4F2AE}"/>
              </a:ext>
            </a:extLst>
          </p:cNvPr>
          <p:cNvGrpSpPr/>
          <p:nvPr/>
        </p:nvGrpSpPr>
        <p:grpSpPr>
          <a:xfrm>
            <a:off x="5060742" y="4700501"/>
            <a:ext cx="828000" cy="709032"/>
            <a:chOff x="2182917" y="2581739"/>
            <a:chExt cx="828000" cy="709032"/>
          </a:xfrm>
        </p:grpSpPr>
        <p:sp>
          <p:nvSpPr>
            <p:cNvPr id="100" name="Textfeld 99">
              <a:extLst>
                <a:ext uri="{FF2B5EF4-FFF2-40B4-BE49-F238E27FC236}">
                  <a16:creationId xmlns:a16="http://schemas.microsoft.com/office/drawing/2014/main" xmlns="" id="{A0DDDBA0-E140-4F5D-8E60-7C13508AEA8D}"/>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47</a:t>
              </a:r>
              <a:r>
                <a:rPr kumimoji="0" lang="de-DE" sz="1400" b="0" i="0" u="none" strike="noStrike" kern="1200" cap="none" spc="0" normalizeH="0" baseline="0" noProof="0" dirty="0">
                  <a:ln>
                    <a:noFill/>
                  </a:ln>
                  <a:effectLst/>
                  <a:uLnTx/>
                  <a:uFillTx/>
                  <a:latin typeface="Arial"/>
                  <a:ea typeface="+mn-ea"/>
                  <a:cs typeface="+mn-cs"/>
                </a:rPr>
                <a:t> %</a:t>
              </a:r>
            </a:p>
          </p:txBody>
        </p:sp>
        <p:cxnSp>
          <p:nvCxnSpPr>
            <p:cNvPr id="101" name="Gerade Verbindung 6">
              <a:extLst>
                <a:ext uri="{FF2B5EF4-FFF2-40B4-BE49-F238E27FC236}">
                  <a16:creationId xmlns:a16="http://schemas.microsoft.com/office/drawing/2014/main" xmlns="" id="{2AA5E747-5CEB-417D-9D7D-F84A92ABBB9C}"/>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2" name="Textfeld 101">
              <a:extLst>
                <a:ext uri="{FF2B5EF4-FFF2-40B4-BE49-F238E27FC236}">
                  <a16:creationId xmlns:a16="http://schemas.microsoft.com/office/drawing/2014/main" xmlns="" id="{EB4FD8A1-0EFD-4267-BD63-9337EBF5B1AD}"/>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62</a:t>
              </a:r>
              <a:r>
                <a:rPr kumimoji="0" lang="de-DE" sz="1400" b="0" i="0" u="none" strike="noStrike" kern="1200" cap="none" spc="0" normalizeH="0" baseline="0" noProof="0" dirty="0">
                  <a:ln>
                    <a:noFill/>
                  </a:ln>
                  <a:effectLst/>
                  <a:uLnTx/>
                  <a:uFillTx/>
                  <a:latin typeface="Arial"/>
                  <a:ea typeface="+mn-ea"/>
                  <a:cs typeface="+mn-cs"/>
                </a:rPr>
                <a:t> %</a:t>
              </a:r>
            </a:p>
          </p:txBody>
        </p:sp>
      </p:grpSp>
      <p:grpSp>
        <p:nvGrpSpPr>
          <p:cNvPr id="104" name="Gruppieren 103">
            <a:extLst>
              <a:ext uri="{FF2B5EF4-FFF2-40B4-BE49-F238E27FC236}">
                <a16:creationId xmlns:a16="http://schemas.microsoft.com/office/drawing/2014/main" xmlns="" id="{70F5B17C-56F3-44DE-BCE8-2C5365CBFE98}"/>
              </a:ext>
            </a:extLst>
          </p:cNvPr>
          <p:cNvGrpSpPr/>
          <p:nvPr/>
        </p:nvGrpSpPr>
        <p:grpSpPr>
          <a:xfrm>
            <a:off x="7819536" y="4406622"/>
            <a:ext cx="833513" cy="1002911"/>
            <a:chOff x="2177404" y="2287860"/>
            <a:chExt cx="833513" cy="1002911"/>
          </a:xfrm>
        </p:grpSpPr>
        <p:sp>
          <p:nvSpPr>
            <p:cNvPr id="105" name="Textfeld 104">
              <a:extLst>
                <a:ext uri="{FF2B5EF4-FFF2-40B4-BE49-F238E27FC236}">
                  <a16:creationId xmlns:a16="http://schemas.microsoft.com/office/drawing/2014/main" xmlns="" id="{D119CCA3-5414-4014-B302-82D66808B161}"/>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37</a:t>
              </a:r>
              <a:r>
                <a:rPr kumimoji="0" lang="de-DE" sz="1400" b="0" i="0" u="none" strike="noStrike" kern="1200" cap="none" spc="0" normalizeH="0" baseline="0" noProof="0" dirty="0">
                  <a:ln>
                    <a:noFill/>
                  </a:ln>
                  <a:effectLst/>
                  <a:uLnTx/>
                  <a:uFillTx/>
                  <a:latin typeface="Arial"/>
                  <a:ea typeface="+mn-ea"/>
                  <a:cs typeface="+mn-cs"/>
                </a:rPr>
                <a:t> %</a:t>
              </a:r>
            </a:p>
          </p:txBody>
        </p:sp>
        <p:cxnSp>
          <p:nvCxnSpPr>
            <p:cNvPr id="106" name="Gerade Verbindung 6">
              <a:extLst>
                <a:ext uri="{FF2B5EF4-FFF2-40B4-BE49-F238E27FC236}">
                  <a16:creationId xmlns:a16="http://schemas.microsoft.com/office/drawing/2014/main" xmlns="" id="{BA432384-7733-495F-B5FD-DFB97B327648}"/>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Textfeld 106">
              <a:extLst>
                <a:ext uri="{FF2B5EF4-FFF2-40B4-BE49-F238E27FC236}">
                  <a16:creationId xmlns:a16="http://schemas.microsoft.com/office/drawing/2014/main" xmlns="" id="{0B68ED9F-D3FC-4B1E-A0E5-40FBD5DDB807}"/>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54</a:t>
              </a:r>
              <a:r>
                <a:rPr kumimoji="0" lang="de-DE" sz="1400" b="0" i="0" u="none" strike="noStrike" kern="1200" cap="none" spc="0" normalizeH="0" baseline="0" noProof="0" dirty="0">
                  <a:ln>
                    <a:noFill/>
                  </a:ln>
                  <a:effectLst/>
                  <a:uLnTx/>
                  <a:uFillTx/>
                  <a:latin typeface="Arial"/>
                  <a:ea typeface="+mn-ea"/>
                  <a:cs typeface="+mn-cs"/>
                </a:rPr>
                <a:t> %</a:t>
              </a:r>
            </a:p>
          </p:txBody>
        </p:sp>
        <p:sp>
          <p:nvSpPr>
            <p:cNvPr id="108" name="Textfeld 107">
              <a:extLst>
                <a:ext uri="{FF2B5EF4-FFF2-40B4-BE49-F238E27FC236}">
                  <a16:creationId xmlns:a16="http://schemas.microsoft.com/office/drawing/2014/main" xmlns="" id="{DFCE238A-1A8C-403C-8072-B83848EBA57A}"/>
                </a:ext>
              </a:extLst>
            </p:cNvPr>
            <p:cNvSpPr txBox="1"/>
            <p:nvPr/>
          </p:nvSpPr>
          <p:spPr>
            <a:xfrm>
              <a:off x="2177404" y="2287860"/>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effectLst/>
                <a:uLnTx/>
                <a:uFillTx/>
                <a:latin typeface="Arial"/>
                <a:ea typeface="+mn-ea"/>
                <a:cs typeface="+mn-cs"/>
              </a:endParaRPr>
            </a:p>
          </p:txBody>
        </p:sp>
      </p:grpSp>
      <p:pic>
        <p:nvPicPr>
          <p:cNvPr id="84" name="Grafik 83">
            <a:extLst>
              <a:ext uri="{FF2B5EF4-FFF2-40B4-BE49-F238E27FC236}">
                <a16:creationId xmlns:a16="http://schemas.microsoft.com/office/drawing/2014/main" xmlns="" id="{660B3049-C7BD-4CE0-8731-3657D4DD14D0}"/>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2527681" y="1631827"/>
            <a:ext cx="257142" cy="334284"/>
          </a:xfrm>
          <a:prstGeom prst="rect">
            <a:avLst/>
          </a:prstGeom>
        </p:spPr>
      </p:pic>
      <p:pic>
        <p:nvPicPr>
          <p:cNvPr id="7" name="Grafik 6">
            <a:extLst>
              <a:ext uri="{FF2B5EF4-FFF2-40B4-BE49-F238E27FC236}">
                <a16:creationId xmlns:a16="http://schemas.microsoft.com/office/drawing/2014/main" xmlns="" id="{B9ADEAB4-4B69-43B6-8433-371438281A11}"/>
              </a:ext>
            </a:extLst>
          </p:cNvPr>
          <p:cNvPicPr>
            <a:picLocks noChangeAspect="1"/>
          </p:cNvPicPr>
          <p:nvPr/>
        </p:nvPicPr>
        <p:blipFill>
          <a:blip r:embed="rId19"/>
          <a:stretch>
            <a:fillRect/>
          </a:stretch>
        </p:blipFill>
        <p:spPr>
          <a:xfrm flipH="1">
            <a:off x="8251112" y="3810781"/>
            <a:ext cx="299047" cy="359155"/>
          </a:xfrm>
          <a:prstGeom prst="rect">
            <a:avLst/>
          </a:prstGeom>
        </p:spPr>
      </p:pic>
      <p:sp>
        <p:nvSpPr>
          <p:cNvPr id="122" name="Textfeld 121">
            <a:extLst>
              <a:ext uri="{FF2B5EF4-FFF2-40B4-BE49-F238E27FC236}">
                <a16:creationId xmlns:a16="http://schemas.microsoft.com/office/drawing/2014/main" xmlns="" id="{65E61D81-C269-4CA7-892A-9746411300FC}"/>
              </a:ext>
            </a:extLst>
          </p:cNvPr>
          <p:cNvSpPr txBox="1"/>
          <p:nvPr/>
        </p:nvSpPr>
        <p:spPr>
          <a:xfrm>
            <a:off x="467544" y="4149080"/>
            <a:ext cx="918841" cy="325752"/>
          </a:xfrm>
          <a:prstGeom prst="rect">
            <a:avLst/>
          </a:prstGeom>
          <a:noFill/>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prstClr val="black"/>
                </a:solidFill>
                <a:effectLst/>
                <a:uLnTx/>
                <a:uFillTx/>
                <a:latin typeface="Arial"/>
                <a:ea typeface="+mn-ea"/>
                <a:cs typeface="+mn-cs"/>
              </a:rPr>
              <a:t>Legende</a:t>
            </a:r>
          </a:p>
        </p:txBody>
      </p:sp>
      <p:cxnSp>
        <p:nvCxnSpPr>
          <p:cNvPr id="143" name="Gerade Verbindung 19">
            <a:extLst>
              <a:ext uri="{FF2B5EF4-FFF2-40B4-BE49-F238E27FC236}">
                <a16:creationId xmlns:a16="http://schemas.microsoft.com/office/drawing/2014/main" xmlns="" id="{19235B5E-7483-4707-ABC3-B7BC6F404E9D}"/>
              </a:ext>
            </a:extLst>
          </p:cNvPr>
          <p:cNvCxnSpPr>
            <a:cxnSpLocks/>
          </p:cNvCxnSpPr>
          <p:nvPr/>
        </p:nvCxnSpPr>
        <p:spPr>
          <a:xfrm>
            <a:off x="542527" y="4474698"/>
            <a:ext cx="2230499" cy="13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9" name="Textfeld 108">
            <a:extLst>
              <a:ext uri="{FF2B5EF4-FFF2-40B4-BE49-F238E27FC236}">
                <a16:creationId xmlns:a16="http://schemas.microsoft.com/office/drawing/2014/main" xmlns="" id="{F5650B42-932E-41D0-8A03-25531F6DCAE5}"/>
              </a:ext>
            </a:extLst>
          </p:cNvPr>
          <p:cNvSpPr txBox="1"/>
          <p:nvPr/>
        </p:nvSpPr>
        <p:spPr>
          <a:xfrm>
            <a:off x="3376985" y="3259723"/>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111" name="Textfeld 110">
            <a:extLst>
              <a:ext uri="{FF2B5EF4-FFF2-40B4-BE49-F238E27FC236}">
                <a16:creationId xmlns:a16="http://schemas.microsoft.com/office/drawing/2014/main" xmlns="" id="{ED9EF861-8FB4-49BF-985B-AFC72ED96B3F}"/>
              </a:ext>
            </a:extLst>
          </p:cNvPr>
          <p:cNvSpPr txBox="1"/>
          <p:nvPr/>
        </p:nvSpPr>
        <p:spPr>
          <a:xfrm>
            <a:off x="6123739" y="3259723"/>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117" name="Textfeld 116">
            <a:extLst>
              <a:ext uri="{FF2B5EF4-FFF2-40B4-BE49-F238E27FC236}">
                <a16:creationId xmlns:a16="http://schemas.microsoft.com/office/drawing/2014/main" xmlns="" id="{5A01ACA5-D32F-4E64-95C1-29FD6F16235E}"/>
              </a:ext>
            </a:extLst>
          </p:cNvPr>
          <p:cNvSpPr txBox="1"/>
          <p:nvPr/>
        </p:nvSpPr>
        <p:spPr>
          <a:xfrm>
            <a:off x="562773" y="3259723"/>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192" name="Textfeld 191">
            <a:extLst>
              <a:ext uri="{FF2B5EF4-FFF2-40B4-BE49-F238E27FC236}">
                <a16:creationId xmlns:a16="http://schemas.microsoft.com/office/drawing/2014/main" xmlns="" id="{270BDA7B-5AE2-4853-A667-8C904B97979B}"/>
              </a:ext>
            </a:extLst>
          </p:cNvPr>
          <p:cNvSpPr txBox="1"/>
          <p:nvPr/>
        </p:nvSpPr>
        <p:spPr>
          <a:xfrm>
            <a:off x="898810" y="5265620"/>
            <a:ext cx="2147292" cy="307777"/>
          </a:xfrm>
          <a:prstGeom prst="rect">
            <a:avLst/>
          </a:prstGeom>
          <a:noFill/>
        </p:spPr>
        <p:txBody>
          <a:bodyPr wrap="square" rtlCol="0">
            <a:spAutoFit/>
          </a:bodyPr>
          <a:lstStyle/>
          <a:p>
            <a:r>
              <a:rPr lang="de-DE" sz="1400" dirty="0"/>
              <a:t>Erschlossene </a:t>
            </a:r>
            <a:r>
              <a:rPr lang="de-DE" sz="1400" dirty="0" err="1"/>
              <a:t>SuV</a:t>
            </a:r>
            <a:endParaRPr lang="de-DE" sz="1400" dirty="0"/>
          </a:p>
        </p:txBody>
      </p:sp>
      <p:cxnSp>
        <p:nvCxnSpPr>
          <p:cNvPr id="193" name="Gerade Verbindung 6">
            <a:extLst>
              <a:ext uri="{FF2B5EF4-FFF2-40B4-BE49-F238E27FC236}">
                <a16:creationId xmlns:a16="http://schemas.microsoft.com/office/drawing/2014/main" xmlns="" id="{E5910214-A741-4677-8F08-CE0F3E39EE25}"/>
              </a:ext>
            </a:extLst>
          </p:cNvPr>
          <p:cNvCxnSpPr>
            <a:cxnSpLocks/>
          </p:cNvCxnSpPr>
          <p:nvPr/>
        </p:nvCxnSpPr>
        <p:spPr>
          <a:xfrm>
            <a:off x="539552" y="5085184"/>
            <a:ext cx="23037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4" name="Ellipse 193">
            <a:extLst>
              <a:ext uri="{FF2B5EF4-FFF2-40B4-BE49-F238E27FC236}">
                <a16:creationId xmlns:a16="http://schemas.microsoft.com/office/drawing/2014/main" xmlns="" id="{ED09A9A6-3407-4FC8-987E-E0886DB554A0}"/>
              </a:ext>
            </a:extLst>
          </p:cNvPr>
          <p:cNvSpPr/>
          <p:nvPr/>
        </p:nvSpPr>
        <p:spPr>
          <a:xfrm>
            <a:off x="539552" y="522920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nvGrpSpPr>
          <p:cNvPr id="195" name="Group 31">
            <a:extLst>
              <a:ext uri="{FF2B5EF4-FFF2-40B4-BE49-F238E27FC236}">
                <a16:creationId xmlns:a16="http://schemas.microsoft.com/office/drawing/2014/main" xmlns="" id="{3A1EB37F-772D-4061-B6E2-E1B490E087E8}"/>
              </a:ext>
            </a:extLst>
          </p:cNvPr>
          <p:cNvGrpSpPr>
            <a:grpSpLocks/>
          </p:cNvGrpSpPr>
          <p:nvPr/>
        </p:nvGrpSpPr>
        <p:grpSpPr bwMode="auto">
          <a:xfrm>
            <a:off x="587194" y="5287697"/>
            <a:ext cx="264757" cy="199884"/>
            <a:chOff x="1044" y="1284"/>
            <a:chExt cx="3576" cy="2700"/>
          </a:xfrm>
          <a:solidFill>
            <a:srgbClr val="A4A399"/>
          </a:solidFill>
        </p:grpSpPr>
        <p:grpSp>
          <p:nvGrpSpPr>
            <p:cNvPr id="196" name="Group 32">
              <a:extLst>
                <a:ext uri="{FF2B5EF4-FFF2-40B4-BE49-F238E27FC236}">
                  <a16:creationId xmlns:a16="http://schemas.microsoft.com/office/drawing/2014/main" xmlns="" id="{4EE9F3B6-9D02-4577-988D-7C185BEF741C}"/>
                </a:ext>
              </a:extLst>
            </p:cNvPr>
            <p:cNvGrpSpPr>
              <a:grpSpLocks/>
            </p:cNvGrpSpPr>
            <p:nvPr/>
          </p:nvGrpSpPr>
          <p:grpSpPr bwMode="auto">
            <a:xfrm>
              <a:off x="1044" y="1284"/>
              <a:ext cx="3576" cy="2700"/>
              <a:chOff x="1044" y="1284"/>
              <a:chExt cx="3576" cy="2700"/>
            </a:xfrm>
            <a:grpFill/>
          </p:grpSpPr>
          <p:sp>
            <p:nvSpPr>
              <p:cNvPr id="198" name="Freeform 33">
                <a:extLst>
                  <a:ext uri="{FF2B5EF4-FFF2-40B4-BE49-F238E27FC236}">
                    <a16:creationId xmlns:a16="http://schemas.microsoft.com/office/drawing/2014/main" xmlns="" id="{AFACB1B7-8EB1-4232-8395-857785B27911}"/>
                  </a:ext>
                </a:extLst>
              </p:cNvPr>
              <p:cNvSpPr>
                <a:spLocks/>
              </p:cNvSpPr>
              <p:nvPr/>
            </p:nvSpPr>
            <p:spPr bwMode="auto">
              <a:xfrm>
                <a:off x="1677" y="1409"/>
                <a:ext cx="966" cy="940"/>
              </a:xfrm>
              <a:custGeom>
                <a:avLst/>
                <a:gdLst/>
                <a:ahLst/>
                <a:cxnLst>
                  <a:cxn ang="0">
                    <a:pos x="449" y="0"/>
                  </a:cxn>
                  <a:cxn ang="0">
                    <a:pos x="447" y="52"/>
                  </a:cxn>
                  <a:cxn ang="0">
                    <a:pos x="471" y="78"/>
                  </a:cxn>
                  <a:cxn ang="0">
                    <a:pos x="458" y="132"/>
                  </a:cxn>
                  <a:cxn ang="0">
                    <a:pos x="396" y="187"/>
                  </a:cxn>
                  <a:cxn ang="0">
                    <a:pos x="348" y="241"/>
                  </a:cxn>
                  <a:cxn ang="0">
                    <a:pos x="306" y="286"/>
                  </a:cxn>
                  <a:cxn ang="0">
                    <a:pos x="210" y="304"/>
                  </a:cxn>
                  <a:cxn ang="0">
                    <a:pos x="108" y="307"/>
                  </a:cxn>
                  <a:cxn ang="0">
                    <a:pos x="66" y="415"/>
                  </a:cxn>
                  <a:cxn ang="0">
                    <a:pos x="0" y="499"/>
                  </a:cxn>
                  <a:cxn ang="0">
                    <a:pos x="51" y="573"/>
                  </a:cxn>
                  <a:cxn ang="0">
                    <a:pos x="81" y="634"/>
                  </a:cxn>
                  <a:cxn ang="0">
                    <a:pos x="81" y="685"/>
                  </a:cxn>
                  <a:cxn ang="0">
                    <a:pos x="123" y="748"/>
                  </a:cxn>
                  <a:cxn ang="0">
                    <a:pos x="206" y="888"/>
                  </a:cxn>
                  <a:cxn ang="0">
                    <a:pos x="276" y="940"/>
                  </a:cxn>
                  <a:cxn ang="0">
                    <a:pos x="381" y="928"/>
                  </a:cxn>
                  <a:cxn ang="0">
                    <a:pos x="519" y="922"/>
                  </a:cxn>
                  <a:cxn ang="0">
                    <a:pos x="606" y="825"/>
                  </a:cxn>
                  <a:cxn ang="0">
                    <a:pos x="677" y="795"/>
                  </a:cxn>
                  <a:cxn ang="0">
                    <a:pos x="816" y="790"/>
                  </a:cxn>
                  <a:cxn ang="0">
                    <a:pos x="879" y="832"/>
                  </a:cxn>
                  <a:cxn ang="0">
                    <a:pos x="933" y="814"/>
                  </a:cxn>
                  <a:cxn ang="0">
                    <a:pos x="966" y="772"/>
                  </a:cxn>
                  <a:cxn ang="0">
                    <a:pos x="792" y="580"/>
                  </a:cxn>
                  <a:cxn ang="0">
                    <a:pos x="846" y="565"/>
                  </a:cxn>
                  <a:cxn ang="0">
                    <a:pos x="873" y="523"/>
                  </a:cxn>
                  <a:cxn ang="0">
                    <a:pos x="896" y="481"/>
                  </a:cxn>
                  <a:cxn ang="0">
                    <a:pos x="915" y="439"/>
                  </a:cxn>
                  <a:cxn ang="0">
                    <a:pos x="912" y="391"/>
                  </a:cxn>
                  <a:cxn ang="0">
                    <a:pos x="833" y="310"/>
                  </a:cxn>
                  <a:cxn ang="0">
                    <a:pos x="765" y="307"/>
                  </a:cxn>
                  <a:cxn ang="0">
                    <a:pos x="597" y="283"/>
                  </a:cxn>
                  <a:cxn ang="0">
                    <a:pos x="531" y="292"/>
                  </a:cxn>
                  <a:cxn ang="0">
                    <a:pos x="564" y="228"/>
                  </a:cxn>
                  <a:cxn ang="0">
                    <a:pos x="578" y="172"/>
                  </a:cxn>
                  <a:cxn ang="0">
                    <a:pos x="561" y="97"/>
                  </a:cxn>
                  <a:cxn ang="0">
                    <a:pos x="600" y="22"/>
                  </a:cxn>
                  <a:cxn ang="0">
                    <a:pos x="570" y="4"/>
                  </a:cxn>
                </a:cxnLst>
                <a:rect l="0" t="0" r="r" b="b"/>
                <a:pathLst>
                  <a:path w="966" h="940">
                    <a:moveTo>
                      <a:pt x="570" y="4"/>
                    </a:moveTo>
                    <a:lnTo>
                      <a:pt x="449" y="0"/>
                    </a:lnTo>
                    <a:lnTo>
                      <a:pt x="450" y="28"/>
                    </a:lnTo>
                    <a:lnTo>
                      <a:pt x="447" y="52"/>
                    </a:lnTo>
                    <a:lnTo>
                      <a:pt x="468" y="57"/>
                    </a:lnTo>
                    <a:lnTo>
                      <a:pt x="471" y="78"/>
                    </a:lnTo>
                    <a:lnTo>
                      <a:pt x="447" y="109"/>
                    </a:lnTo>
                    <a:lnTo>
                      <a:pt x="458" y="132"/>
                    </a:lnTo>
                    <a:lnTo>
                      <a:pt x="447" y="172"/>
                    </a:lnTo>
                    <a:lnTo>
                      <a:pt x="396" y="187"/>
                    </a:lnTo>
                    <a:lnTo>
                      <a:pt x="327" y="184"/>
                    </a:lnTo>
                    <a:lnTo>
                      <a:pt x="348" y="241"/>
                    </a:lnTo>
                    <a:lnTo>
                      <a:pt x="339" y="289"/>
                    </a:lnTo>
                    <a:lnTo>
                      <a:pt x="306" y="286"/>
                    </a:lnTo>
                    <a:lnTo>
                      <a:pt x="267" y="298"/>
                    </a:lnTo>
                    <a:lnTo>
                      <a:pt x="210" y="304"/>
                    </a:lnTo>
                    <a:lnTo>
                      <a:pt x="168" y="313"/>
                    </a:lnTo>
                    <a:lnTo>
                      <a:pt x="108" y="307"/>
                    </a:lnTo>
                    <a:lnTo>
                      <a:pt x="89" y="373"/>
                    </a:lnTo>
                    <a:lnTo>
                      <a:pt x="66" y="415"/>
                    </a:lnTo>
                    <a:lnTo>
                      <a:pt x="45" y="456"/>
                    </a:lnTo>
                    <a:lnTo>
                      <a:pt x="0" y="499"/>
                    </a:lnTo>
                    <a:lnTo>
                      <a:pt x="8" y="526"/>
                    </a:lnTo>
                    <a:lnTo>
                      <a:pt x="51" y="573"/>
                    </a:lnTo>
                    <a:lnTo>
                      <a:pt x="96" y="616"/>
                    </a:lnTo>
                    <a:lnTo>
                      <a:pt x="81" y="634"/>
                    </a:lnTo>
                    <a:lnTo>
                      <a:pt x="78" y="673"/>
                    </a:lnTo>
                    <a:lnTo>
                      <a:pt x="81" y="685"/>
                    </a:lnTo>
                    <a:lnTo>
                      <a:pt x="75" y="700"/>
                    </a:lnTo>
                    <a:lnTo>
                      <a:pt x="123" y="748"/>
                    </a:lnTo>
                    <a:lnTo>
                      <a:pt x="144" y="847"/>
                    </a:lnTo>
                    <a:lnTo>
                      <a:pt x="206" y="888"/>
                    </a:lnTo>
                    <a:lnTo>
                      <a:pt x="234" y="916"/>
                    </a:lnTo>
                    <a:lnTo>
                      <a:pt x="276" y="940"/>
                    </a:lnTo>
                    <a:lnTo>
                      <a:pt x="338" y="937"/>
                    </a:lnTo>
                    <a:lnTo>
                      <a:pt x="381" y="928"/>
                    </a:lnTo>
                    <a:lnTo>
                      <a:pt x="449" y="927"/>
                    </a:lnTo>
                    <a:lnTo>
                      <a:pt x="519" y="922"/>
                    </a:lnTo>
                    <a:lnTo>
                      <a:pt x="572" y="843"/>
                    </a:lnTo>
                    <a:lnTo>
                      <a:pt x="606" y="825"/>
                    </a:lnTo>
                    <a:lnTo>
                      <a:pt x="657" y="820"/>
                    </a:lnTo>
                    <a:lnTo>
                      <a:pt x="677" y="795"/>
                    </a:lnTo>
                    <a:lnTo>
                      <a:pt x="708" y="787"/>
                    </a:lnTo>
                    <a:lnTo>
                      <a:pt x="816" y="790"/>
                    </a:lnTo>
                    <a:lnTo>
                      <a:pt x="870" y="811"/>
                    </a:lnTo>
                    <a:lnTo>
                      <a:pt x="879" y="832"/>
                    </a:lnTo>
                    <a:lnTo>
                      <a:pt x="897" y="814"/>
                    </a:lnTo>
                    <a:lnTo>
                      <a:pt x="933" y="814"/>
                    </a:lnTo>
                    <a:lnTo>
                      <a:pt x="945" y="787"/>
                    </a:lnTo>
                    <a:lnTo>
                      <a:pt x="966" y="772"/>
                    </a:lnTo>
                    <a:lnTo>
                      <a:pt x="966" y="748"/>
                    </a:lnTo>
                    <a:lnTo>
                      <a:pt x="792" y="580"/>
                    </a:lnTo>
                    <a:lnTo>
                      <a:pt x="830" y="579"/>
                    </a:lnTo>
                    <a:lnTo>
                      <a:pt x="846" y="565"/>
                    </a:lnTo>
                    <a:lnTo>
                      <a:pt x="855" y="541"/>
                    </a:lnTo>
                    <a:lnTo>
                      <a:pt x="873" y="523"/>
                    </a:lnTo>
                    <a:lnTo>
                      <a:pt x="900" y="502"/>
                    </a:lnTo>
                    <a:lnTo>
                      <a:pt x="896" y="481"/>
                    </a:lnTo>
                    <a:lnTo>
                      <a:pt x="908" y="468"/>
                    </a:lnTo>
                    <a:lnTo>
                      <a:pt x="915" y="439"/>
                    </a:lnTo>
                    <a:lnTo>
                      <a:pt x="918" y="411"/>
                    </a:lnTo>
                    <a:lnTo>
                      <a:pt x="912" y="391"/>
                    </a:lnTo>
                    <a:lnTo>
                      <a:pt x="864" y="301"/>
                    </a:lnTo>
                    <a:lnTo>
                      <a:pt x="833" y="310"/>
                    </a:lnTo>
                    <a:lnTo>
                      <a:pt x="807" y="316"/>
                    </a:lnTo>
                    <a:lnTo>
                      <a:pt x="765" y="307"/>
                    </a:lnTo>
                    <a:lnTo>
                      <a:pt x="735" y="322"/>
                    </a:lnTo>
                    <a:lnTo>
                      <a:pt x="597" y="283"/>
                    </a:lnTo>
                    <a:lnTo>
                      <a:pt x="566" y="289"/>
                    </a:lnTo>
                    <a:lnTo>
                      <a:pt x="531" y="292"/>
                    </a:lnTo>
                    <a:lnTo>
                      <a:pt x="582" y="262"/>
                    </a:lnTo>
                    <a:lnTo>
                      <a:pt x="564" y="228"/>
                    </a:lnTo>
                    <a:lnTo>
                      <a:pt x="558" y="199"/>
                    </a:lnTo>
                    <a:lnTo>
                      <a:pt x="578" y="172"/>
                    </a:lnTo>
                    <a:lnTo>
                      <a:pt x="582" y="157"/>
                    </a:lnTo>
                    <a:lnTo>
                      <a:pt x="561" y="97"/>
                    </a:lnTo>
                    <a:lnTo>
                      <a:pt x="552" y="52"/>
                    </a:lnTo>
                    <a:lnTo>
                      <a:pt x="600" y="22"/>
                    </a:lnTo>
                    <a:lnTo>
                      <a:pt x="584" y="1"/>
                    </a:lnTo>
                    <a:lnTo>
                      <a:pt x="570" y="4"/>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199" name="Freeform 34">
                <a:extLst>
                  <a:ext uri="{FF2B5EF4-FFF2-40B4-BE49-F238E27FC236}">
                    <a16:creationId xmlns:a16="http://schemas.microsoft.com/office/drawing/2014/main" xmlns="" id="{60382A10-4781-460A-B78A-C64CE0B3F7A6}"/>
                  </a:ext>
                </a:extLst>
              </p:cNvPr>
              <p:cNvSpPr>
                <a:spLocks/>
              </p:cNvSpPr>
              <p:nvPr/>
            </p:nvSpPr>
            <p:spPr bwMode="auto">
              <a:xfrm>
                <a:off x="1182" y="1983"/>
                <a:ext cx="918" cy="1320"/>
              </a:xfrm>
              <a:custGeom>
                <a:avLst/>
                <a:gdLst/>
                <a:ahLst/>
                <a:cxnLst>
                  <a:cxn ang="0">
                    <a:pos x="537" y="63"/>
                  </a:cxn>
                  <a:cxn ang="0">
                    <a:pos x="432" y="51"/>
                  </a:cxn>
                  <a:cxn ang="0">
                    <a:pos x="360" y="21"/>
                  </a:cxn>
                  <a:cxn ang="0">
                    <a:pos x="237" y="36"/>
                  </a:cxn>
                  <a:cxn ang="0">
                    <a:pos x="153" y="93"/>
                  </a:cxn>
                  <a:cxn ang="0">
                    <a:pos x="110" y="110"/>
                  </a:cxn>
                  <a:cxn ang="0">
                    <a:pos x="125" y="158"/>
                  </a:cxn>
                  <a:cxn ang="0">
                    <a:pos x="219" y="135"/>
                  </a:cxn>
                  <a:cxn ang="0">
                    <a:pos x="252" y="177"/>
                  </a:cxn>
                  <a:cxn ang="0">
                    <a:pos x="216" y="303"/>
                  </a:cxn>
                  <a:cxn ang="0">
                    <a:pos x="165" y="396"/>
                  </a:cxn>
                  <a:cxn ang="0">
                    <a:pos x="132" y="375"/>
                  </a:cxn>
                  <a:cxn ang="0">
                    <a:pos x="102" y="447"/>
                  </a:cxn>
                  <a:cxn ang="0">
                    <a:pos x="54" y="624"/>
                  </a:cxn>
                  <a:cxn ang="0">
                    <a:pos x="111" y="693"/>
                  </a:cxn>
                  <a:cxn ang="0">
                    <a:pos x="195" y="666"/>
                  </a:cxn>
                  <a:cxn ang="0">
                    <a:pos x="234" y="690"/>
                  </a:cxn>
                  <a:cxn ang="0">
                    <a:pos x="240" y="789"/>
                  </a:cxn>
                  <a:cxn ang="0">
                    <a:pos x="99" y="1005"/>
                  </a:cxn>
                  <a:cxn ang="0">
                    <a:pos x="54" y="1050"/>
                  </a:cxn>
                  <a:cxn ang="0">
                    <a:pos x="9" y="1116"/>
                  </a:cxn>
                  <a:cxn ang="0">
                    <a:pos x="18" y="1179"/>
                  </a:cxn>
                  <a:cxn ang="0">
                    <a:pos x="0" y="1236"/>
                  </a:cxn>
                  <a:cxn ang="0">
                    <a:pos x="18" y="1290"/>
                  </a:cxn>
                  <a:cxn ang="0">
                    <a:pos x="57" y="1320"/>
                  </a:cxn>
                  <a:cxn ang="0">
                    <a:pos x="96" y="1314"/>
                  </a:cxn>
                  <a:cxn ang="0">
                    <a:pos x="192" y="1281"/>
                  </a:cxn>
                  <a:cxn ang="0">
                    <a:pos x="351" y="1152"/>
                  </a:cxn>
                  <a:cxn ang="0">
                    <a:pos x="390" y="1104"/>
                  </a:cxn>
                  <a:cxn ang="0">
                    <a:pos x="414" y="996"/>
                  </a:cxn>
                  <a:cxn ang="0">
                    <a:pos x="426" y="909"/>
                  </a:cxn>
                  <a:cxn ang="0">
                    <a:pos x="417" y="861"/>
                  </a:cxn>
                  <a:cxn ang="0">
                    <a:pos x="429" y="801"/>
                  </a:cxn>
                  <a:cxn ang="0">
                    <a:pos x="531" y="762"/>
                  </a:cxn>
                  <a:cxn ang="0">
                    <a:pos x="528" y="750"/>
                  </a:cxn>
                  <a:cxn ang="0">
                    <a:pos x="543" y="711"/>
                  </a:cxn>
                  <a:cxn ang="0">
                    <a:pos x="561" y="684"/>
                  </a:cxn>
                  <a:cxn ang="0">
                    <a:pos x="594" y="660"/>
                  </a:cxn>
                  <a:cxn ang="0">
                    <a:pos x="573" y="609"/>
                  </a:cxn>
                  <a:cxn ang="0">
                    <a:pos x="639" y="567"/>
                  </a:cxn>
                  <a:cxn ang="0">
                    <a:pos x="726" y="570"/>
                  </a:cxn>
                  <a:cxn ang="0">
                    <a:pos x="774" y="546"/>
                  </a:cxn>
                  <a:cxn ang="0">
                    <a:pos x="875" y="527"/>
                  </a:cxn>
                  <a:cxn ang="0">
                    <a:pos x="918" y="504"/>
                  </a:cxn>
                  <a:cxn ang="0">
                    <a:pos x="891" y="468"/>
                  </a:cxn>
                  <a:cxn ang="0">
                    <a:pos x="869" y="440"/>
                  </a:cxn>
                  <a:cxn ang="0">
                    <a:pos x="855" y="363"/>
                  </a:cxn>
                  <a:cxn ang="0">
                    <a:pos x="696" y="309"/>
                  </a:cxn>
                  <a:cxn ang="0">
                    <a:pos x="630" y="227"/>
                  </a:cxn>
                  <a:cxn ang="0">
                    <a:pos x="569" y="131"/>
                  </a:cxn>
                  <a:cxn ang="0">
                    <a:pos x="573" y="57"/>
                  </a:cxn>
                </a:cxnLst>
                <a:rect l="0" t="0" r="r" b="b"/>
                <a:pathLst>
                  <a:path w="918" h="1320">
                    <a:moveTo>
                      <a:pt x="573" y="57"/>
                    </a:moveTo>
                    <a:lnTo>
                      <a:pt x="537" y="63"/>
                    </a:lnTo>
                    <a:lnTo>
                      <a:pt x="524" y="74"/>
                    </a:lnTo>
                    <a:lnTo>
                      <a:pt x="432" y="51"/>
                    </a:lnTo>
                    <a:lnTo>
                      <a:pt x="405" y="24"/>
                    </a:lnTo>
                    <a:lnTo>
                      <a:pt x="360" y="21"/>
                    </a:lnTo>
                    <a:lnTo>
                      <a:pt x="297" y="0"/>
                    </a:lnTo>
                    <a:lnTo>
                      <a:pt x="237" y="36"/>
                    </a:lnTo>
                    <a:lnTo>
                      <a:pt x="213" y="75"/>
                    </a:lnTo>
                    <a:lnTo>
                      <a:pt x="153" y="93"/>
                    </a:lnTo>
                    <a:lnTo>
                      <a:pt x="147" y="111"/>
                    </a:lnTo>
                    <a:lnTo>
                      <a:pt x="110" y="110"/>
                    </a:lnTo>
                    <a:lnTo>
                      <a:pt x="111" y="144"/>
                    </a:lnTo>
                    <a:lnTo>
                      <a:pt x="125" y="158"/>
                    </a:lnTo>
                    <a:lnTo>
                      <a:pt x="135" y="177"/>
                    </a:lnTo>
                    <a:lnTo>
                      <a:pt x="219" y="135"/>
                    </a:lnTo>
                    <a:cubicBezTo>
                      <a:pt x="234" y="142"/>
                      <a:pt x="228" y="138"/>
                      <a:pt x="237" y="147"/>
                    </a:cubicBezTo>
                    <a:lnTo>
                      <a:pt x="252" y="177"/>
                    </a:lnTo>
                    <a:lnTo>
                      <a:pt x="249" y="225"/>
                    </a:lnTo>
                    <a:lnTo>
                      <a:pt x="216" y="303"/>
                    </a:lnTo>
                    <a:lnTo>
                      <a:pt x="207" y="399"/>
                    </a:lnTo>
                    <a:lnTo>
                      <a:pt x="165" y="396"/>
                    </a:lnTo>
                    <a:lnTo>
                      <a:pt x="147" y="396"/>
                    </a:lnTo>
                    <a:lnTo>
                      <a:pt x="132" y="375"/>
                    </a:lnTo>
                    <a:lnTo>
                      <a:pt x="114" y="399"/>
                    </a:lnTo>
                    <a:lnTo>
                      <a:pt x="102" y="447"/>
                    </a:lnTo>
                    <a:lnTo>
                      <a:pt x="84" y="525"/>
                    </a:lnTo>
                    <a:lnTo>
                      <a:pt x="54" y="624"/>
                    </a:lnTo>
                    <a:lnTo>
                      <a:pt x="54" y="696"/>
                    </a:lnTo>
                    <a:lnTo>
                      <a:pt x="111" y="693"/>
                    </a:lnTo>
                    <a:lnTo>
                      <a:pt x="168" y="675"/>
                    </a:lnTo>
                    <a:lnTo>
                      <a:pt x="195" y="666"/>
                    </a:lnTo>
                    <a:lnTo>
                      <a:pt x="210" y="680"/>
                    </a:lnTo>
                    <a:lnTo>
                      <a:pt x="234" y="690"/>
                    </a:lnTo>
                    <a:lnTo>
                      <a:pt x="306" y="723"/>
                    </a:lnTo>
                    <a:lnTo>
                      <a:pt x="240" y="789"/>
                    </a:lnTo>
                    <a:lnTo>
                      <a:pt x="197" y="863"/>
                    </a:lnTo>
                    <a:lnTo>
                      <a:pt x="99" y="1005"/>
                    </a:lnTo>
                    <a:lnTo>
                      <a:pt x="48" y="1026"/>
                    </a:lnTo>
                    <a:lnTo>
                      <a:pt x="54" y="1050"/>
                    </a:lnTo>
                    <a:lnTo>
                      <a:pt x="39" y="1083"/>
                    </a:lnTo>
                    <a:lnTo>
                      <a:pt x="9" y="1116"/>
                    </a:lnTo>
                    <a:lnTo>
                      <a:pt x="12" y="1140"/>
                    </a:lnTo>
                    <a:lnTo>
                      <a:pt x="18" y="1179"/>
                    </a:lnTo>
                    <a:lnTo>
                      <a:pt x="12" y="1212"/>
                    </a:lnTo>
                    <a:lnTo>
                      <a:pt x="0" y="1236"/>
                    </a:lnTo>
                    <a:lnTo>
                      <a:pt x="3" y="1272"/>
                    </a:lnTo>
                    <a:lnTo>
                      <a:pt x="18" y="1290"/>
                    </a:lnTo>
                    <a:lnTo>
                      <a:pt x="41" y="1317"/>
                    </a:lnTo>
                    <a:lnTo>
                      <a:pt x="57" y="1320"/>
                    </a:lnTo>
                    <a:lnTo>
                      <a:pt x="69" y="1313"/>
                    </a:lnTo>
                    <a:lnTo>
                      <a:pt x="96" y="1314"/>
                    </a:lnTo>
                    <a:lnTo>
                      <a:pt x="108" y="1296"/>
                    </a:lnTo>
                    <a:lnTo>
                      <a:pt x="192" y="1281"/>
                    </a:lnTo>
                    <a:lnTo>
                      <a:pt x="324" y="1158"/>
                    </a:lnTo>
                    <a:lnTo>
                      <a:pt x="351" y="1152"/>
                    </a:lnTo>
                    <a:lnTo>
                      <a:pt x="372" y="1122"/>
                    </a:lnTo>
                    <a:lnTo>
                      <a:pt x="390" y="1104"/>
                    </a:lnTo>
                    <a:lnTo>
                      <a:pt x="405" y="1014"/>
                    </a:lnTo>
                    <a:lnTo>
                      <a:pt x="414" y="996"/>
                    </a:lnTo>
                    <a:lnTo>
                      <a:pt x="402" y="963"/>
                    </a:lnTo>
                    <a:lnTo>
                      <a:pt x="426" y="909"/>
                    </a:lnTo>
                    <a:lnTo>
                      <a:pt x="402" y="876"/>
                    </a:lnTo>
                    <a:lnTo>
                      <a:pt x="417" y="861"/>
                    </a:lnTo>
                    <a:cubicBezTo>
                      <a:pt x="432" y="835"/>
                      <a:pt x="429" y="848"/>
                      <a:pt x="429" y="822"/>
                    </a:cubicBezTo>
                    <a:lnTo>
                      <a:pt x="429" y="801"/>
                    </a:lnTo>
                    <a:lnTo>
                      <a:pt x="483" y="789"/>
                    </a:lnTo>
                    <a:lnTo>
                      <a:pt x="531" y="762"/>
                    </a:lnTo>
                    <a:lnTo>
                      <a:pt x="555" y="765"/>
                    </a:lnTo>
                    <a:lnTo>
                      <a:pt x="528" y="750"/>
                    </a:lnTo>
                    <a:lnTo>
                      <a:pt x="531" y="732"/>
                    </a:lnTo>
                    <a:lnTo>
                      <a:pt x="543" y="711"/>
                    </a:lnTo>
                    <a:lnTo>
                      <a:pt x="564" y="711"/>
                    </a:lnTo>
                    <a:lnTo>
                      <a:pt x="561" y="684"/>
                    </a:lnTo>
                    <a:lnTo>
                      <a:pt x="579" y="672"/>
                    </a:lnTo>
                    <a:lnTo>
                      <a:pt x="594" y="660"/>
                    </a:lnTo>
                    <a:lnTo>
                      <a:pt x="585" y="636"/>
                    </a:lnTo>
                    <a:lnTo>
                      <a:pt x="573" y="609"/>
                    </a:lnTo>
                    <a:lnTo>
                      <a:pt x="594" y="561"/>
                    </a:lnTo>
                    <a:lnTo>
                      <a:pt x="639" y="567"/>
                    </a:lnTo>
                    <a:lnTo>
                      <a:pt x="681" y="555"/>
                    </a:lnTo>
                    <a:lnTo>
                      <a:pt x="726" y="570"/>
                    </a:lnTo>
                    <a:lnTo>
                      <a:pt x="717" y="540"/>
                    </a:lnTo>
                    <a:lnTo>
                      <a:pt x="774" y="546"/>
                    </a:lnTo>
                    <a:lnTo>
                      <a:pt x="843" y="522"/>
                    </a:lnTo>
                    <a:lnTo>
                      <a:pt x="875" y="527"/>
                    </a:lnTo>
                    <a:lnTo>
                      <a:pt x="900" y="507"/>
                    </a:lnTo>
                    <a:lnTo>
                      <a:pt x="918" y="504"/>
                    </a:lnTo>
                    <a:lnTo>
                      <a:pt x="912" y="477"/>
                    </a:lnTo>
                    <a:lnTo>
                      <a:pt x="891" y="468"/>
                    </a:lnTo>
                    <a:lnTo>
                      <a:pt x="879" y="444"/>
                    </a:lnTo>
                    <a:lnTo>
                      <a:pt x="869" y="440"/>
                    </a:lnTo>
                    <a:lnTo>
                      <a:pt x="870" y="414"/>
                    </a:lnTo>
                    <a:lnTo>
                      <a:pt x="855" y="363"/>
                    </a:lnTo>
                    <a:lnTo>
                      <a:pt x="758" y="362"/>
                    </a:lnTo>
                    <a:lnTo>
                      <a:pt x="696" y="309"/>
                    </a:lnTo>
                    <a:lnTo>
                      <a:pt x="641" y="273"/>
                    </a:lnTo>
                    <a:lnTo>
                      <a:pt x="630" y="227"/>
                    </a:lnTo>
                    <a:lnTo>
                      <a:pt x="620" y="177"/>
                    </a:lnTo>
                    <a:lnTo>
                      <a:pt x="569" y="131"/>
                    </a:lnTo>
                    <a:lnTo>
                      <a:pt x="576" y="114"/>
                    </a:lnTo>
                    <a:lnTo>
                      <a:pt x="573" y="57"/>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0" name="Freeform 35">
                <a:extLst>
                  <a:ext uri="{FF2B5EF4-FFF2-40B4-BE49-F238E27FC236}">
                    <a16:creationId xmlns:a16="http://schemas.microsoft.com/office/drawing/2014/main" xmlns="" id="{131BD4E6-5612-4F06-AFF0-0471D318C368}"/>
                  </a:ext>
                </a:extLst>
              </p:cNvPr>
              <p:cNvSpPr>
                <a:spLocks/>
              </p:cNvSpPr>
              <p:nvPr/>
            </p:nvSpPr>
            <p:spPr bwMode="auto">
              <a:xfrm>
                <a:off x="1583" y="2325"/>
                <a:ext cx="799" cy="705"/>
              </a:xfrm>
              <a:custGeom>
                <a:avLst/>
                <a:gdLst/>
                <a:ahLst/>
                <a:cxnLst>
                  <a:cxn ang="0">
                    <a:pos x="46" y="675"/>
                  </a:cxn>
                  <a:cxn ang="0">
                    <a:pos x="94" y="678"/>
                  </a:cxn>
                  <a:cxn ang="0">
                    <a:pos x="183" y="687"/>
                  </a:cxn>
                  <a:cxn ang="0">
                    <a:pos x="262" y="693"/>
                  </a:cxn>
                  <a:cxn ang="0">
                    <a:pos x="310" y="699"/>
                  </a:cxn>
                  <a:cxn ang="0">
                    <a:pos x="358" y="705"/>
                  </a:cxn>
                  <a:cxn ang="0">
                    <a:pos x="417" y="704"/>
                  </a:cxn>
                  <a:cxn ang="0">
                    <a:pos x="553" y="660"/>
                  </a:cxn>
                  <a:cxn ang="0">
                    <a:pos x="643" y="672"/>
                  </a:cxn>
                  <a:cxn ang="0">
                    <a:pos x="709" y="675"/>
                  </a:cxn>
                  <a:cxn ang="0">
                    <a:pos x="799" y="590"/>
                  </a:cxn>
                  <a:cxn ang="0">
                    <a:pos x="799" y="408"/>
                  </a:cxn>
                  <a:cxn ang="0">
                    <a:pos x="796" y="372"/>
                  </a:cxn>
                  <a:cxn ang="0">
                    <a:pos x="778" y="338"/>
                  </a:cxn>
                  <a:cxn ang="0">
                    <a:pos x="766" y="306"/>
                  </a:cxn>
                  <a:cxn ang="0">
                    <a:pos x="760" y="258"/>
                  </a:cxn>
                  <a:cxn ang="0">
                    <a:pos x="742" y="207"/>
                  </a:cxn>
                  <a:cxn ang="0">
                    <a:pos x="700" y="240"/>
                  </a:cxn>
                  <a:cxn ang="0">
                    <a:pos x="676" y="165"/>
                  </a:cxn>
                  <a:cxn ang="0">
                    <a:pos x="670" y="126"/>
                  </a:cxn>
                  <a:cxn ang="0">
                    <a:pos x="748" y="81"/>
                  </a:cxn>
                  <a:cxn ang="0">
                    <a:pos x="709" y="9"/>
                  </a:cxn>
                  <a:cxn ang="0">
                    <a:pos x="630" y="14"/>
                  </a:cxn>
                  <a:cxn ang="0">
                    <a:pos x="456" y="33"/>
                  </a:cxn>
                  <a:cxn ang="0">
                    <a:pos x="469" y="78"/>
                  </a:cxn>
                  <a:cxn ang="0">
                    <a:pos x="487" y="111"/>
                  </a:cxn>
                  <a:cxn ang="0">
                    <a:pos x="511" y="129"/>
                  </a:cxn>
                  <a:cxn ang="0">
                    <a:pos x="496" y="168"/>
                  </a:cxn>
                  <a:cxn ang="0">
                    <a:pos x="478" y="182"/>
                  </a:cxn>
                  <a:cxn ang="0">
                    <a:pos x="393" y="197"/>
                  </a:cxn>
                  <a:cxn ang="0">
                    <a:pos x="372" y="204"/>
                  </a:cxn>
                  <a:cxn ang="0">
                    <a:pos x="325" y="225"/>
                  </a:cxn>
                  <a:cxn ang="0">
                    <a:pos x="244" y="228"/>
                  </a:cxn>
                  <a:cxn ang="0">
                    <a:pos x="175" y="270"/>
                  </a:cxn>
                  <a:cxn ang="0">
                    <a:pos x="160" y="342"/>
                  </a:cxn>
                  <a:cxn ang="0">
                    <a:pos x="141" y="369"/>
                  </a:cxn>
                  <a:cxn ang="0">
                    <a:pos x="148" y="417"/>
                  </a:cxn>
                  <a:cxn ang="0">
                    <a:pos x="82" y="444"/>
                  </a:cxn>
                  <a:cxn ang="0">
                    <a:pos x="28" y="495"/>
                  </a:cxn>
                  <a:cxn ang="0">
                    <a:pos x="0" y="536"/>
                  </a:cxn>
                  <a:cxn ang="0">
                    <a:pos x="1" y="615"/>
                  </a:cxn>
                  <a:cxn ang="0">
                    <a:pos x="3" y="675"/>
                  </a:cxn>
                </a:cxnLst>
                <a:rect l="0" t="0" r="r" b="b"/>
                <a:pathLst>
                  <a:path w="799" h="705">
                    <a:moveTo>
                      <a:pt x="3" y="675"/>
                    </a:moveTo>
                    <a:lnTo>
                      <a:pt x="46" y="675"/>
                    </a:lnTo>
                    <a:lnTo>
                      <a:pt x="64" y="696"/>
                    </a:lnTo>
                    <a:lnTo>
                      <a:pt x="94" y="678"/>
                    </a:lnTo>
                    <a:lnTo>
                      <a:pt x="115" y="690"/>
                    </a:lnTo>
                    <a:lnTo>
                      <a:pt x="183" y="687"/>
                    </a:lnTo>
                    <a:lnTo>
                      <a:pt x="247" y="681"/>
                    </a:lnTo>
                    <a:lnTo>
                      <a:pt x="262" y="693"/>
                    </a:lnTo>
                    <a:lnTo>
                      <a:pt x="292" y="690"/>
                    </a:lnTo>
                    <a:lnTo>
                      <a:pt x="310" y="699"/>
                    </a:lnTo>
                    <a:lnTo>
                      <a:pt x="334" y="699"/>
                    </a:lnTo>
                    <a:lnTo>
                      <a:pt x="358" y="705"/>
                    </a:lnTo>
                    <a:lnTo>
                      <a:pt x="397" y="693"/>
                    </a:lnTo>
                    <a:lnTo>
                      <a:pt x="417" y="704"/>
                    </a:lnTo>
                    <a:lnTo>
                      <a:pt x="477" y="684"/>
                    </a:lnTo>
                    <a:lnTo>
                      <a:pt x="553" y="660"/>
                    </a:lnTo>
                    <a:lnTo>
                      <a:pt x="619" y="678"/>
                    </a:lnTo>
                    <a:lnTo>
                      <a:pt x="643" y="672"/>
                    </a:lnTo>
                    <a:lnTo>
                      <a:pt x="673" y="686"/>
                    </a:lnTo>
                    <a:lnTo>
                      <a:pt x="709" y="675"/>
                    </a:lnTo>
                    <a:lnTo>
                      <a:pt x="715" y="594"/>
                    </a:lnTo>
                    <a:lnTo>
                      <a:pt x="799" y="590"/>
                    </a:lnTo>
                    <a:lnTo>
                      <a:pt x="790" y="462"/>
                    </a:lnTo>
                    <a:lnTo>
                      <a:pt x="799" y="408"/>
                    </a:lnTo>
                    <a:lnTo>
                      <a:pt x="781" y="405"/>
                    </a:lnTo>
                    <a:lnTo>
                      <a:pt x="796" y="372"/>
                    </a:lnTo>
                    <a:lnTo>
                      <a:pt x="772" y="366"/>
                    </a:lnTo>
                    <a:lnTo>
                      <a:pt x="778" y="338"/>
                    </a:lnTo>
                    <a:lnTo>
                      <a:pt x="769" y="324"/>
                    </a:lnTo>
                    <a:lnTo>
                      <a:pt x="766" y="306"/>
                    </a:lnTo>
                    <a:lnTo>
                      <a:pt x="781" y="282"/>
                    </a:lnTo>
                    <a:lnTo>
                      <a:pt x="760" y="258"/>
                    </a:lnTo>
                    <a:lnTo>
                      <a:pt x="751" y="231"/>
                    </a:lnTo>
                    <a:lnTo>
                      <a:pt x="742" y="207"/>
                    </a:lnTo>
                    <a:lnTo>
                      <a:pt x="721" y="201"/>
                    </a:lnTo>
                    <a:lnTo>
                      <a:pt x="700" y="240"/>
                    </a:lnTo>
                    <a:lnTo>
                      <a:pt x="682" y="204"/>
                    </a:lnTo>
                    <a:lnTo>
                      <a:pt x="676" y="165"/>
                    </a:lnTo>
                    <a:lnTo>
                      <a:pt x="693" y="138"/>
                    </a:lnTo>
                    <a:lnTo>
                      <a:pt x="670" y="126"/>
                    </a:lnTo>
                    <a:lnTo>
                      <a:pt x="676" y="102"/>
                    </a:lnTo>
                    <a:lnTo>
                      <a:pt x="748" y="81"/>
                    </a:lnTo>
                    <a:lnTo>
                      <a:pt x="727" y="21"/>
                    </a:lnTo>
                    <a:lnTo>
                      <a:pt x="709" y="9"/>
                    </a:lnTo>
                    <a:lnTo>
                      <a:pt x="679" y="0"/>
                    </a:lnTo>
                    <a:lnTo>
                      <a:pt x="630" y="14"/>
                    </a:lnTo>
                    <a:lnTo>
                      <a:pt x="454" y="15"/>
                    </a:lnTo>
                    <a:lnTo>
                      <a:pt x="456" y="33"/>
                    </a:lnTo>
                    <a:lnTo>
                      <a:pt x="465" y="56"/>
                    </a:lnTo>
                    <a:lnTo>
                      <a:pt x="469" y="78"/>
                    </a:lnTo>
                    <a:lnTo>
                      <a:pt x="466" y="99"/>
                    </a:lnTo>
                    <a:lnTo>
                      <a:pt x="487" y="111"/>
                    </a:lnTo>
                    <a:lnTo>
                      <a:pt x="490" y="123"/>
                    </a:lnTo>
                    <a:lnTo>
                      <a:pt x="511" y="129"/>
                    </a:lnTo>
                    <a:lnTo>
                      <a:pt x="514" y="159"/>
                    </a:lnTo>
                    <a:lnTo>
                      <a:pt x="496" y="168"/>
                    </a:lnTo>
                    <a:lnTo>
                      <a:pt x="486" y="174"/>
                    </a:lnTo>
                    <a:lnTo>
                      <a:pt x="478" y="182"/>
                    </a:lnTo>
                    <a:lnTo>
                      <a:pt x="445" y="180"/>
                    </a:lnTo>
                    <a:lnTo>
                      <a:pt x="393" y="197"/>
                    </a:lnTo>
                    <a:lnTo>
                      <a:pt x="382" y="210"/>
                    </a:lnTo>
                    <a:lnTo>
                      <a:pt x="372" y="204"/>
                    </a:lnTo>
                    <a:lnTo>
                      <a:pt x="319" y="195"/>
                    </a:lnTo>
                    <a:lnTo>
                      <a:pt x="325" y="225"/>
                    </a:lnTo>
                    <a:lnTo>
                      <a:pt x="283" y="210"/>
                    </a:lnTo>
                    <a:lnTo>
                      <a:pt x="244" y="228"/>
                    </a:lnTo>
                    <a:lnTo>
                      <a:pt x="192" y="219"/>
                    </a:lnTo>
                    <a:lnTo>
                      <a:pt x="175" y="270"/>
                    </a:lnTo>
                    <a:lnTo>
                      <a:pt x="196" y="324"/>
                    </a:lnTo>
                    <a:lnTo>
                      <a:pt x="160" y="342"/>
                    </a:lnTo>
                    <a:lnTo>
                      <a:pt x="157" y="366"/>
                    </a:lnTo>
                    <a:lnTo>
                      <a:pt x="141" y="369"/>
                    </a:lnTo>
                    <a:lnTo>
                      <a:pt x="124" y="402"/>
                    </a:lnTo>
                    <a:lnTo>
                      <a:pt x="148" y="417"/>
                    </a:lnTo>
                    <a:lnTo>
                      <a:pt x="129" y="420"/>
                    </a:lnTo>
                    <a:lnTo>
                      <a:pt x="82" y="444"/>
                    </a:lnTo>
                    <a:lnTo>
                      <a:pt x="25" y="459"/>
                    </a:lnTo>
                    <a:lnTo>
                      <a:pt x="28" y="495"/>
                    </a:lnTo>
                    <a:lnTo>
                      <a:pt x="21" y="510"/>
                    </a:lnTo>
                    <a:lnTo>
                      <a:pt x="0" y="536"/>
                    </a:lnTo>
                    <a:lnTo>
                      <a:pt x="27" y="572"/>
                    </a:lnTo>
                    <a:lnTo>
                      <a:pt x="1" y="615"/>
                    </a:lnTo>
                    <a:lnTo>
                      <a:pt x="10" y="647"/>
                    </a:lnTo>
                    <a:lnTo>
                      <a:pt x="3" y="675"/>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1" name="Freeform 36">
                <a:extLst>
                  <a:ext uri="{FF2B5EF4-FFF2-40B4-BE49-F238E27FC236}">
                    <a16:creationId xmlns:a16="http://schemas.microsoft.com/office/drawing/2014/main" xmlns="" id="{7295F980-DC86-4B5A-A7AB-BB860F52549A}"/>
                  </a:ext>
                </a:extLst>
              </p:cNvPr>
              <p:cNvSpPr>
                <a:spLocks/>
              </p:cNvSpPr>
              <p:nvPr/>
            </p:nvSpPr>
            <p:spPr bwMode="auto">
              <a:xfrm>
                <a:off x="2195" y="2160"/>
                <a:ext cx="690" cy="587"/>
              </a:xfrm>
              <a:custGeom>
                <a:avLst/>
                <a:gdLst/>
                <a:ahLst/>
                <a:cxnLst>
                  <a:cxn ang="0">
                    <a:pos x="45" y="102"/>
                  </a:cxn>
                  <a:cxn ang="0">
                    <a:pos x="97" y="71"/>
                  </a:cxn>
                  <a:cxn ang="0">
                    <a:pos x="169" y="45"/>
                  </a:cxn>
                  <a:cxn ang="0">
                    <a:pos x="228" y="30"/>
                  </a:cxn>
                  <a:cxn ang="0">
                    <a:pos x="349" y="57"/>
                  </a:cxn>
                  <a:cxn ang="0">
                    <a:pos x="379" y="62"/>
                  </a:cxn>
                  <a:cxn ang="0">
                    <a:pos x="429" y="33"/>
                  </a:cxn>
                  <a:cxn ang="0">
                    <a:pos x="448" y="0"/>
                  </a:cxn>
                  <a:cxn ang="0">
                    <a:pos x="496" y="38"/>
                  </a:cxn>
                  <a:cxn ang="0">
                    <a:pos x="523" y="150"/>
                  </a:cxn>
                  <a:cxn ang="0">
                    <a:pos x="547" y="245"/>
                  </a:cxn>
                  <a:cxn ang="0">
                    <a:pos x="538" y="290"/>
                  </a:cxn>
                  <a:cxn ang="0">
                    <a:pos x="618" y="318"/>
                  </a:cxn>
                  <a:cxn ang="0">
                    <a:pos x="667" y="357"/>
                  </a:cxn>
                  <a:cxn ang="0">
                    <a:pos x="660" y="377"/>
                  </a:cxn>
                  <a:cxn ang="0">
                    <a:pos x="636" y="437"/>
                  </a:cxn>
                  <a:cxn ang="0">
                    <a:pos x="661" y="461"/>
                  </a:cxn>
                  <a:cxn ang="0">
                    <a:pos x="690" y="494"/>
                  </a:cxn>
                  <a:cxn ang="0">
                    <a:pos x="658" y="539"/>
                  </a:cxn>
                  <a:cxn ang="0">
                    <a:pos x="571" y="513"/>
                  </a:cxn>
                  <a:cxn ang="0">
                    <a:pos x="510" y="500"/>
                  </a:cxn>
                  <a:cxn ang="0">
                    <a:pos x="454" y="510"/>
                  </a:cxn>
                  <a:cxn ang="0">
                    <a:pos x="397" y="513"/>
                  </a:cxn>
                  <a:cxn ang="0">
                    <a:pos x="367" y="546"/>
                  </a:cxn>
                  <a:cxn ang="0">
                    <a:pos x="348" y="578"/>
                  </a:cxn>
                  <a:cxn ang="0">
                    <a:pos x="273" y="576"/>
                  </a:cxn>
                  <a:cxn ang="0">
                    <a:pos x="243" y="558"/>
                  </a:cxn>
                  <a:cxn ang="0">
                    <a:pos x="181" y="534"/>
                  </a:cxn>
                  <a:cxn ang="0">
                    <a:pos x="163" y="501"/>
                  </a:cxn>
                  <a:cxn ang="0">
                    <a:pos x="151" y="468"/>
                  </a:cxn>
                  <a:cxn ang="0">
                    <a:pos x="145" y="423"/>
                  </a:cxn>
                  <a:cxn ang="0">
                    <a:pos x="130" y="369"/>
                  </a:cxn>
                  <a:cxn ang="0">
                    <a:pos x="88" y="407"/>
                  </a:cxn>
                  <a:cxn ang="0">
                    <a:pos x="64" y="329"/>
                  </a:cxn>
                  <a:cxn ang="0">
                    <a:pos x="57" y="291"/>
                  </a:cxn>
                  <a:cxn ang="0">
                    <a:pos x="135" y="246"/>
                  </a:cxn>
                  <a:cxn ang="0">
                    <a:pos x="99" y="173"/>
                  </a:cxn>
                  <a:cxn ang="0">
                    <a:pos x="18" y="177"/>
                  </a:cxn>
                </a:cxnLst>
                <a:rect l="0" t="0" r="r" b="b"/>
                <a:pathLst>
                  <a:path w="690" h="587">
                    <a:moveTo>
                      <a:pt x="0" y="168"/>
                    </a:moveTo>
                    <a:lnTo>
                      <a:pt x="45" y="102"/>
                    </a:lnTo>
                    <a:lnTo>
                      <a:pt x="57" y="84"/>
                    </a:lnTo>
                    <a:lnTo>
                      <a:pt x="97" y="71"/>
                    </a:lnTo>
                    <a:lnTo>
                      <a:pt x="142" y="68"/>
                    </a:lnTo>
                    <a:lnTo>
                      <a:pt x="169" y="45"/>
                    </a:lnTo>
                    <a:lnTo>
                      <a:pt x="181" y="44"/>
                    </a:lnTo>
                    <a:lnTo>
                      <a:pt x="228" y="30"/>
                    </a:lnTo>
                    <a:lnTo>
                      <a:pt x="307" y="39"/>
                    </a:lnTo>
                    <a:lnTo>
                      <a:pt x="349" y="57"/>
                    </a:lnTo>
                    <a:lnTo>
                      <a:pt x="357" y="77"/>
                    </a:lnTo>
                    <a:lnTo>
                      <a:pt x="379" y="62"/>
                    </a:lnTo>
                    <a:lnTo>
                      <a:pt x="412" y="63"/>
                    </a:lnTo>
                    <a:lnTo>
                      <a:pt x="429" y="33"/>
                    </a:lnTo>
                    <a:lnTo>
                      <a:pt x="448" y="24"/>
                    </a:lnTo>
                    <a:lnTo>
                      <a:pt x="448" y="0"/>
                    </a:lnTo>
                    <a:lnTo>
                      <a:pt x="484" y="17"/>
                    </a:lnTo>
                    <a:lnTo>
                      <a:pt x="496" y="38"/>
                    </a:lnTo>
                    <a:lnTo>
                      <a:pt x="540" y="68"/>
                    </a:lnTo>
                    <a:lnTo>
                      <a:pt x="523" y="150"/>
                    </a:lnTo>
                    <a:lnTo>
                      <a:pt x="528" y="215"/>
                    </a:lnTo>
                    <a:lnTo>
                      <a:pt x="547" y="245"/>
                    </a:lnTo>
                    <a:lnTo>
                      <a:pt x="550" y="272"/>
                    </a:lnTo>
                    <a:lnTo>
                      <a:pt x="538" y="290"/>
                    </a:lnTo>
                    <a:lnTo>
                      <a:pt x="556" y="303"/>
                    </a:lnTo>
                    <a:lnTo>
                      <a:pt x="618" y="318"/>
                    </a:lnTo>
                    <a:lnTo>
                      <a:pt x="648" y="345"/>
                    </a:lnTo>
                    <a:lnTo>
                      <a:pt x="667" y="357"/>
                    </a:lnTo>
                    <a:lnTo>
                      <a:pt x="675" y="369"/>
                    </a:lnTo>
                    <a:lnTo>
                      <a:pt x="660" y="377"/>
                    </a:lnTo>
                    <a:lnTo>
                      <a:pt x="643" y="419"/>
                    </a:lnTo>
                    <a:lnTo>
                      <a:pt x="636" y="437"/>
                    </a:lnTo>
                    <a:lnTo>
                      <a:pt x="648" y="464"/>
                    </a:lnTo>
                    <a:lnTo>
                      <a:pt x="661" y="461"/>
                    </a:lnTo>
                    <a:lnTo>
                      <a:pt x="684" y="468"/>
                    </a:lnTo>
                    <a:lnTo>
                      <a:pt x="690" y="494"/>
                    </a:lnTo>
                    <a:lnTo>
                      <a:pt x="670" y="534"/>
                    </a:lnTo>
                    <a:lnTo>
                      <a:pt x="658" y="539"/>
                    </a:lnTo>
                    <a:lnTo>
                      <a:pt x="625" y="530"/>
                    </a:lnTo>
                    <a:lnTo>
                      <a:pt x="571" y="513"/>
                    </a:lnTo>
                    <a:lnTo>
                      <a:pt x="532" y="485"/>
                    </a:lnTo>
                    <a:lnTo>
                      <a:pt x="510" y="500"/>
                    </a:lnTo>
                    <a:lnTo>
                      <a:pt x="483" y="509"/>
                    </a:lnTo>
                    <a:lnTo>
                      <a:pt x="454" y="510"/>
                    </a:lnTo>
                    <a:lnTo>
                      <a:pt x="405" y="504"/>
                    </a:lnTo>
                    <a:lnTo>
                      <a:pt x="397" y="513"/>
                    </a:lnTo>
                    <a:lnTo>
                      <a:pt x="384" y="533"/>
                    </a:lnTo>
                    <a:lnTo>
                      <a:pt x="367" y="546"/>
                    </a:lnTo>
                    <a:lnTo>
                      <a:pt x="357" y="549"/>
                    </a:lnTo>
                    <a:lnTo>
                      <a:pt x="348" y="578"/>
                    </a:lnTo>
                    <a:lnTo>
                      <a:pt x="327" y="587"/>
                    </a:lnTo>
                    <a:lnTo>
                      <a:pt x="273" y="576"/>
                    </a:lnTo>
                    <a:lnTo>
                      <a:pt x="264" y="570"/>
                    </a:lnTo>
                    <a:lnTo>
                      <a:pt x="243" y="558"/>
                    </a:lnTo>
                    <a:lnTo>
                      <a:pt x="201" y="542"/>
                    </a:lnTo>
                    <a:lnTo>
                      <a:pt x="181" y="534"/>
                    </a:lnTo>
                    <a:lnTo>
                      <a:pt x="159" y="528"/>
                    </a:lnTo>
                    <a:lnTo>
                      <a:pt x="163" y="501"/>
                    </a:lnTo>
                    <a:lnTo>
                      <a:pt x="156" y="488"/>
                    </a:lnTo>
                    <a:lnTo>
                      <a:pt x="151" y="468"/>
                    </a:lnTo>
                    <a:lnTo>
                      <a:pt x="168" y="447"/>
                    </a:lnTo>
                    <a:lnTo>
                      <a:pt x="145" y="423"/>
                    </a:lnTo>
                    <a:lnTo>
                      <a:pt x="139" y="395"/>
                    </a:lnTo>
                    <a:lnTo>
                      <a:pt x="130" y="369"/>
                    </a:lnTo>
                    <a:lnTo>
                      <a:pt x="109" y="365"/>
                    </a:lnTo>
                    <a:lnTo>
                      <a:pt x="88" y="407"/>
                    </a:lnTo>
                    <a:lnTo>
                      <a:pt x="69" y="369"/>
                    </a:lnTo>
                    <a:lnTo>
                      <a:pt x="64" y="329"/>
                    </a:lnTo>
                    <a:lnTo>
                      <a:pt x="81" y="300"/>
                    </a:lnTo>
                    <a:lnTo>
                      <a:pt x="57" y="291"/>
                    </a:lnTo>
                    <a:lnTo>
                      <a:pt x="64" y="266"/>
                    </a:lnTo>
                    <a:lnTo>
                      <a:pt x="135" y="246"/>
                    </a:lnTo>
                    <a:lnTo>
                      <a:pt x="114" y="182"/>
                    </a:lnTo>
                    <a:lnTo>
                      <a:pt x="99" y="173"/>
                    </a:lnTo>
                    <a:lnTo>
                      <a:pt x="64" y="164"/>
                    </a:lnTo>
                    <a:lnTo>
                      <a:pt x="18" y="177"/>
                    </a:lnTo>
                    <a:lnTo>
                      <a:pt x="0" y="168"/>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2" name="Freeform 37">
                <a:extLst>
                  <a:ext uri="{FF2B5EF4-FFF2-40B4-BE49-F238E27FC236}">
                    <a16:creationId xmlns:a16="http://schemas.microsoft.com/office/drawing/2014/main" xmlns="" id="{8F86E582-B186-4762-BA8D-69FDB8057E61}"/>
                  </a:ext>
                </a:extLst>
              </p:cNvPr>
              <p:cNvSpPr>
                <a:spLocks/>
              </p:cNvSpPr>
              <p:nvPr/>
            </p:nvSpPr>
            <p:spPr bwMode="auto">
              <a:xfrm>
                <a:off x="1044" y="2984"/>
                <a:ext cx="1509" cy="679"/>
              </a:xfrm>
              <a:custGeom>
                <a:avLst/>
                <a:gdLst/>
                <a:ahLst/>
                <a:cxnLst>
                  <a:cxn ang="0">
                    <a:pos x="443" y="648"/>
                  </a:cxn>
                  <a:cxn ang="0">
                    <a:pos x="422" y="679"/>
                  </a:cxn>
                  <a:cxn ang="0">
                    <a:pos x="294" y="670"/>
                  </a:cxn>
                  <a:cxn ang="0">
                    <a:pos x="252" y="669"/>
                  </a:cxn>
                  <a:cxn ang="0">
                    <a:pos x="246" y="652"/>
                  </a:cxn>
                  <a:cxn ang="0">
                    <a:pos x="209" y="675"/>
                  </a:cxn>
                  <a:cxn ang="0">
                    <a:pos x="173" y="672"/>
                  </a:cxn>
                  <a:cxn ang="0">
                    <a:pos x="108" y="618"/>
                  </a:cxn>
                  <a:cxn ang="0">
                    <a:pos x="117" y="574"/>
                  </a:cxn>
                  <a:cxn ang="0">
                    <a:pos x="99" y="550"/>
                  </a:cxn>
                  <a:cxn ang="0">
                    <a:pos x="57" y="574"/>
                  </a:cxn>
                  <a:cxn ang="0">
                    <a:pos x="33" y="558"/>
                  </a:cxn>
                  <a:cxn ang="0">
                    <a:pos x="35" y="588"/>
                  </a:cxn>
                  <a:cxn ang="0">
                    <a:pos x="9" y="534"/>
                  </a:cxn>
                  <a:cxn ang="0">
                    <a:pos x="54" y="462"/>
                  </a:cxn>
                  <a:cxn ang="0">
                    <a:pos x="122" y="417"/>
                  </a:cxn>
                  <a:cxn ang="0">
                    <a:pos x="194" y="321"/>
                  </a:cxn>
                  <a:cxn ang="0">
                    <a:pos x="233" y="312"/>
                  </a:cxn>
                  <a:cxn ang="0">
                    <a:pos x="330" y="280"/>
                  </a:cxn>
                  <a:cxn ang="0">
                    <a:pos x="491" y="148"/>
                  </a:cxn>
                  <a:cxn ang="0">
                    <a:pos x="542" y="19"/>
                  </a:cxn>
                  <a:cxn ang="0">
                    <a:pos x="602" y="37"/>
                  </a:cxn>
                  <a:cxn ang="0">
                    <a:pos x="653" y="30"/>
                  </a:cxn>
                  <a:cxn ang="0">
                    <a:pos x="786" y="22"/>
                  </a:cxn>
                  <a:cxn ang="0">
                    <a:pos x="827" y="31"/>
                  </a:cxn>
                  <a:cxn ang="0">
                    <a:pos x="887" y="40"/>
                  </a:cxn>
                  <a:cxn ang="0">
                    <a:pos x="936" y="33"/>
                  </a:cxn>
                  <a:cxn ang="0">
                    <a:pos x="1092" y="0"/>
                  </a:cxn>
                  <a:cxn ang="0">
                    <a:pos x="1182" y="10"/>
                  </a:cxn>
                  <a:cxn ang="0">
                    <a:pos x="1248" y="16"/>
                  </a:cxn>
                  <a:cxn ang="0">
                    <a:pos x="1310" y="30"/>
                  </a:cxn>
                  <a:cxn ang="0">
                    <a:pos x="1377" y="55"/>
                  </a:cxn>
                  <a:cxn ang="0">
                    <a:pos x="1397" y="97"/>
                  </a:cxn>
                  <a:cxn ang="0">
                    <a:pos x="1433" y="96"/>
                  </a:cxn>
                  <a:cxn ang="0">
                    <a:pos x="1497" y="318"/>
                  </a:cxn>
                  <a:cxn ang="0">
                    <a:pos x="1469" y="373"/>
                  </a:cxn>
                  <a:cxn ang="0">
                    <a:pos x="1361" y="447"/>
                  </a:cxn>
                  <a:cxn ang="0">
                    <a:pos x="1221" y="543"/>
                  </a:cxn>
                  <a:cxn ang="0">
                    <a:pos x="1119" y="471"/>
                  </a:cxn>
                  <a:cxn ang="0">
                    <a:pos x="1010" y="537"/>
                  </a:cxn>
                  <a:cxn ang="0">
                    <a:pos x="966" y="555"/>
                  </a:cxn>
                  <a:cxn ang="0">
                    <a:pos x="959" y="558"/>
                  </a:cxn>
                  <a:cxn ang="0">
                    <a:pos x="900" y="541"/>
                  </a:cxn>
                  <a:cxn ang="0">
                    <a:pos x="861" y="564"/>
                  </a:cxn>
                  <a:cxn ang="0">
                    <a:pos x="849" y="441"/>
                  </a:cxn>
                  <a:cxn ang="0">
                    <a:pos x="801" y="417"/>
                  </a:cxn>
                  <a:cxn ang="0">
                    <a:pos x="713" y="420"/>
                  </a:cxn>
                  <a:cxn ang="0">
                    <a:pos x="626" y="474"/>
                  </a:cxn>
                  <a:cxn ang="0">
                    <a:pos x="467" y="555"/>
                  </a:cxn>
                  <a:cxn ang="0">
                    <a:pos x="410" y="588"/>
                  </a:cxn>
                  <a:cxn ang="0">
                    <a:pos x="381" y="621"/>
                  </a:cxn>
                  <a:cxn ang="0">
                    <a:pos x="369" y="664"/>
                  </a:cxn>
                </a:cxnLst>
                <a:rect l="0" t="0" r="r" b="b"/>
                <a:pathLst>
                  <a:path w="1509" h="679">
                    <a:moveTo>
                      <a:pt x="369" y="664"/>
                    </a:moveTo>
                    <a:lnTo>
                      <a:pt x="443" y="648"/>
                    </a:lnTo>
                    <a:lnTo>
                      <a:pt x="449" y="663"/>
                    </a:lnTo>
                    <a:lnTo>
                      <a:pt x="422" y="679"/>
                    </a:lnTo>
                    <a:lnTo>
                      <a:pt x="314" y="676"/>
                    </a:lnTo>
                    <a:lnTo>
                      <a:pt x="294" y="670"/>
                    </a:lnTo>
                    <a:lnTo>
                      <a:pt x="266" y="679"/>
                    </a:lnTo>
                    <a:lnTo>
                      <a:pt x="252" y="669"/>
                    </a:lnTo>
                    <a:lnTo>
                      <a:pt x="263" y="661"/>
                    </a:lnTo>
                    <a:lnTo>
                      <a:pt x="246" y="652"/>
                    </a:lnTo>
                    <a:lnTo>
                      <a:pt x="233" y="654"/>
                    </a:lnTo>
                    <a:lnTo>
                      <a:pt x="209" y="675"/>
                    </a:lnTo>
                    <a:lnTo>
                      <a:pt x="183" y="675"/>
                    </a:lnTo>
                    <a:lnTo>
                      <a:pt x="173" y="672"/>
                    </a:lnTo>
                    <a:lnTo>
                      <a:pt x="161" y="649"/>
                    </a:lnTo>
                    <a:lnTo>
                      <a:pt x="108" y="618"/>
                    </a:lnTo>
                    <a:lnTo>
                      <a:pt x="90" y="591"/>
                    </a:lnTo>
                    <a:lnTo>
                      <a:pt x="117" y="574"/>
                    </a:lnTo>
                    <a:lnTo>
                      <a:pt x="117" y="564"/>
                    </a:lnTo>
                    <a:lnTo>
                      <a:pt x="99" y="550"/>
                    </a:lnTo>
                    <a:lnTo>
                      <a:pt x="93" y="574"/>
                    </a:lnTo>
                    <a:lnTo>
                      <a:pt x="57" y="574"/>
                    </a:lnTo>
                    <a:lnTo>
                      <a:pt x="54" y="555"/>
                    </a:lnTo>
                    <a:lnTo>
                      <a:pt x="33" y="558"/>
                    </a:lnTo>
                    <a:lnTo>
                      <a:pt x="41" y="577"/>
                    </a:lnTo>
                    <a:lnTo>
                      <a:pt x="35" y="588"/>
                    </a:lnTo>
                    <a:lnTo>
                      <a:pt x="0" y="579"/>
                    </a:lnTo>
                    <a:lnTo>
                      <a:pt x="9" y="534"/>
                    </a:lnTo>
                    <a:lnTo>
                      <a:pt x="32" y="493"/>
                    </a:lnTo>
                    <a:lnTo>
                      <a:pt x="54" y="462"/>
                    </a:lnTo>
                    <a:lnTo>
                      <a:pt x="74" y="465"/>
                    </a:lnTo>
                    <a:lnTo>
                      <a:pt x="122" y="417"/>
                    </a:lnTo>
                    <a:lnTo>
                      <a:pt x="137" y="376"/>
                    </a:lnTo>
                    <a:lnTo>
                      <a:pt x="194" y="321"/>
                    </a:lnTo>
                    <a:lnTo>
                      <a:pt x="206" y="310"/>
                    </a:lnTo>
                    <a:lnTo>
                      <a:pt x="233" y="312"/>
                    </a:lnTo>
                    <a:lnTo>
                      <a:pt x="245" y="294"/>
                    </a:lnTo>
                    <a:lnTo>
                      <a:pt x="330" y="280"/>
                    </a:lnTo>
                    <a:lnTo>
                      <a:pt x="461" y="156"/>
                    </a:lnTo>
                    <a:lnTo>
                      <a:pt x="491" y="148"/>
                    </a:lnTo>
                    <a:lnTo>
                      <a:pt x="528" y="100"/>
                    </a:lnTo>
                    <a:lnTo>
                      <a:pt x="542" y="19"/>
                    </a:lnTo>
                    <a:lnTo>
                      <a:pt x="585" y="16"/>
                    </a:lnTo>
                    <a:lnTo>
                      <a:pt x="602" y="37"/>
                    </a:lnTo>
                    <a:lnTo>
                      <a:pt x="630" y="16"/>
                    </a:lnTo>
                    <a:lnTo>
                      <a:pt x="653" y="30"/>
                    </a:lnTo>
                    <a:lnTo>
                      <a:pt x="737" y="27"/>
                    </a:lnTo>
                    <a:lnTo>
                      <a:pt x="786" y="22"/>
                    </a:lnTo>
                    <a:lnTo>
                      <a:pt x="800" y="31"/>
                    </a:lnTo>
                    <a:lnTo>
                      <a:pt x="827" y="31"/>
                    </a:lnTo>
                    <a:lnTo>
                      <a:pt x="846" y="37"/>
                    </a:lnTo>
                    <a:lnTo>
                      <a:pt x="887" y="40"/>
                    </a:lnTo>
                    <a:lnTo>
                      <a:pt x="896" y="45"/>
                    </a:lnTo>
                    <a:lnTo>
                      <a:pt x="936" y="33"/>
                    </a:lnTo>
                    <a:lnTo>
                      <a:pt x="954" y="42"/>
                    </a:lnTo>
                    <a:lnTo>
                      <a:pt x="1092" y="0"/>
                    </a:lnTo>
                    <a:lnTo>
                      <a:pt x="1158" y="19"/>
                    </a:lnTo>
                    <a:lnTo>
                      <a:pt x="1182" y="10"/>
                    </a:lnTo>
                    <a:lnTo>
                      <a:pt x="1212" y="25"/>
                    </a:lnTo>
                    <a:lnTo>
                      <a:pt x="1248" y="16"/>
                    </a:lnTo>
                    <a:lnTo>
                      <a:pt x="1283" y="39"/>
                    </a:lnTo>
                    <a:lnTo>
                      <a:pt x="1310" y="30"/>
                    </a:lnTo>
                    <a:lnTo>
                      <a:pt x="1331" y="12"/>
                    </a:lnTo>
                    <a:lnTo>
                      <a:pt x="1377" y="55"/>
                    </a:lnTo>
                    <a:lnTo>
                      <a:pt x="1394" y="79"/>
                    </a:lnTo>
                    <a:lnTo>
                      <a:pt x="1397" y="97"/>
                    </a:lnTo>
                    <a:lnTo>
                      <a:pt x="1416" y="91"/>
                    </a:lnTo>
                    <a:lnTo>
                      <a:pt x="1433" y="96"/>
                    </a:lnTo>
                    <a:lnTo>
                      <a:pt x="1509" y="310"/>
                    </a:lnTo>
                    <a:lnTo>
                      <a:pt x="1497" y="318"/>
                    </a:lnTo>
                    <a:lnTo>
                      <a:pt x="1484" y="334"/>
                    </a:lnTo>
                    <a:lnTo>
                      <a:pt x="1469" y="373"/>
                    </a:lnTo>
                    <a:lnTo>
                      <a:pt x="1457" y="387"/>
                    </a:lnTo>
                    <a:lnTo>
                      <a:pt x="1361" y="447"/>
                    </a:lnTo>
                    <a:lnTo>
                      <a:pt x="1365" y="469"/>
                    </a:lnTo>
                    <a:lnTo>
                      <a:pt x="1221" y="543"/>
                    </a:lnTo>
                    <a:lnTo>
                      <a:pt x="1197" y="558"/>
                    </a:lnTo>
                    <a:lnTo>
                      <a:pt x="1119" y="471"/>
                    </a:lnTo>
                    <a:lnTo>
                      <a:pt x="1116" y="450"/>
                    </a:lnTo>
                    <a:lnTo>
                      <a:pt x="1010" y="537"/>
                    </a:lnTo>
                    <a:lnTo>
                      <a:pt x="984" y="552"/>
                    </a:lnTo>
                    <a:lnTo>
                      <a:pt x="966" y="555"/>
                    </a:lnTo>
                    <a:lnTo>
                      <a:pt x="962" y="535"/>
                    </a:lnTo>
                    <a:lnTo>
                      <a:pt x="959" y="558"/>
                    </a:lnTo>
                    <a:lnTo>
                      <a:pt x="921" y="546"/>
                    </a:lnTo>
                    <a:lnTo>
                      <a:pt x="900" y="541"/>
                    </a:lnTo>
                    <a:lnTo>
                      <a:pt x="882" y="550"/>
                    </a:lnTo>
                    <a:lnTo>
                      <a:pt x="861" y="564"/>
                    </a:lnTo>
                    <a:lnTo>
                      <a:pt x="858" y="453"/>
                    </a:lnTo>
                    <a:lnTo>
                      <a:pt x="849" y="441"/>
                    </a:lnTo>
                    <a:lnTo>
                      <a:pt x="845" y="406"/>
                    </a:lnTo>
                    <a:lnTo>
                      <a:pt x="801" y="417"/>
                    </a:lnTo>
                    <a:lnTo>
                      <a:pt x="743" y="415"/>
                    </a:lnTo>
                    <a:lnTo>
                      <a:pt x="713" y="420"/>
                    </a:lnTo>
                    <a:lnTo>
                      <a:pt x="671" y="450"/>
                    </a:lnTo>
                    <a:lnTo>
                      <a:pt x="626" y="474"/>
                    </a:lnTo>
                    <a:lnTo>
                      <a:pt x="591" y="477"/>
                    </a:lnTo>
                    <a:lnTo>
                      <a:pt x="467" y="555"/>
                    </a:lnTo>
                    <a:lnTo>
                      <a:pt x="438" y="574"/>
                    </a:lnTo>
                    <a:lnTo>
                      <a:pt x="410" y="588"/>
                    </a:lnTo>
                    <a:lnTo>
                      <a:pt x="390" y="600"/>
                    </a:lnTo>
                    <a:lnTo>
                      <a:pt x="381" y="621"/>
                    </a:lnTo>
                    <a:lnTo>
                      <a:pt x="380" y="640"/>
                    </a:lnTo>
                    <a:lnTo>
                      <a:pt x="369" y="664"/>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3" name="Freeform 38">
                <a:extLst>
                  <a:ext uri="{FF2B5EF4-FFF2-40B4-BE49-F238E27FC236}">
                    <a16:creationId xmlns:a16="http://schemas.microsoft.com/office/drawing/2014/main" xmlns="" id="{E27D27E3-632C-4F7C-8937-3E94CE4C627F}"/>
                  </a:ext>
                </a:extLst>
              </p:cNvPr>
              <p:cNvSpPr>
                <a:spLocks/>
              </p:cNvSpPr>
              <p:nvPr/>
            </p:nvSpPr>
            <p:spPr bwMode="auto">
              <a:xfrm>
                <a:off x="2289" y="2696"/>
                <a:ext cx="573" cy="1008"/>
              </a:xfrm>
              <a:custGeom>
                <a:avLst/>
                <a:gdLst/>
                <a:ahLst/>
                <a:cxnLst>
                  <a:cxn ang="0">
                    <a:pos x="36" y="328"/>
                  </a:cxn>
                  <a:cxn ang="0">
                    <a:pos x="84" y="298"/>
                  </a:cxn>
                  <a:cxn ang="0">
                    <a:pos x="150" y="366"/>
                  </a:cxn>
                  <a:cxn ang="0">
                    <a:pos x="171" y="378"/>
                  </a:cxn>
                  <a:cxn ang="0">
                    <a:pos x="264" y="598"/>
                  </a:cxn>
                  <a:cxn ang="0">
                    <a:pos x="239" y="624"/>
                  </a:cxn>
                  <a:cxn ang="0">
                    <a:pos x="212" y="676"/>
                  </a:cxn>
                  <a:cxn ang="0">
                    <a:pos x="116" y="735"/>
                  </a:cxn>
                  <a:cxn ang="0">
                    <a:pos x="125" y="799"/>
                  </a:cxn>
                  <a:cxn ang="0">
                    <a:pos x="263" y="918"/>
                  </a:cxn>
                  <a:cxn ang="0">
                    <a:pos x="332" y="921"/>
                  </a:cxn>
                  <a:cxn ang="0">
                    <a:pos x="362" y="1003"/>
                  </a:cxn>
                  <a:cxn ang="0">
                    <a:pos x="545" y="991"/>
                  </a:cxn>
                  <a:cxn ang="0">
                    <a:pos x="573" y="930"/>
                  </a:cxn>
                  <a:cxn ang="0">
                    <a:pos x="527" y="787"/>
                  </a:cxn>
                  <a:cxn ang="0">
                    <a:pos x="516" y="736"/>
                  </a:cxn>
                  <a:cxn ang="0">
                    <a:pos x="500" y="724"/>
                  </a:cxn>
                  <a:cxn ang="0">
                    <a:pos x="464" y="711"/>
                  </a:cxn>
                  <a:cxn ang="0">
                    <a:pos x="414" y="673"/>
                  </a:cxn>
                  <a:cxn ang="0">
                    <a:pos x="437" y="648"/>
                  </a:cxn>
                  <a:cxn ang="0">
                    <a:pos x="476" y="487"/>
                  </a:cxn>
                  <a:cxn ang="0">
                    <a:pos x="504" y="397"/>
                  </a:cxn>
                  <a:cxn ang="0">
                    <a:pos x="530" y="346"/>
                  </a:cxn>
                  <a:cxn ang="0">
                    <a:pos x="548" y="331"/>
                  </a:cxn>
                  <a:cxn ang="0">
                    <a:pos x="546" y="307"/>
                  </a:cxn>
                  <a:cxn ang="0">
                    <a:pos x="534" y="273"/>
                  </a:cxn>
                  <a:cxn ang="0">
                    <a:pos x="507" y="262"/>
                  </a:cxn>
                  <a:cxn ang="0">
                    <a:pos x="489" y="177"/>
                  </a:cxn>
                  <a:cxn ang="0">
                    <a:pos x="452" y="163"/>
                  </a:cxn>
                  <a:cxn ang="0">
                    <a:pos x="441" y="132"/>
                  </a:cxn>
                  <a:cxn ang="0">
                    <a:pos x="410" y="145"/>
                  </a:cxn>
                  <a:cxn ang="0">
                    <a:pos x="389" y="132"/>
                  </a:cxn>
                  <a:cxn ang="0">
                    <a:pos x="350" y="105"/>
                  </a:cxn>
                  <a:cxn ang="0">
                    <a:pos x="339" y="70"/>
                  </a:cxn>
                  <a:cxn ang="0">
                    <a:pos x="317" y="36"/>
                  </a:cxn>
                  <a:cxn ang="0">
                    <a:pos x="248" y="49"/>
                  </a:cxn>
                  <a:cxn ang="0">
                    <a:pos x="194" y="43"/>
                  </a:cxn>
                  <a:cxn ang="0">
                    <a:pos x="156" y="30"/>
                  </a:cxn>
                  <a:cxn ang="0">
                    <a:pos x="114" y="7"/>
                  </a:cxn>
                  <a:cxn ang="0">
                    <a:pos x="72" y="37"/>
                  </a:cxn>
                  <a:cxn ang="0">
                    <a:pos x="86" y="94"/>
                  </a:cxn>
                  <a:cxn ang="0">
                    <a:pos x="6" y="222"/>
                  </a:cxn>
                </a:cxnLst>
                <a:rect l="0" t="0" r="r" b="b"/>
                <a:pathLst>
                  <a:path w="573" h="1008">
                    <a:moveTo>
                      <a:pt x="0" y="304"/>
                    </a:moveTo>
                    <a:lnTo>
                      <a:pt x="36" y="328"/>
                    </a:lnTo>
                    <a:lnTo>
                      <a:pt x="65" y="316"/>
                    </a:lnTo>
                    <a:lnTo>
                      <a:pt x="84" y="298"/>
                    </a:lnTo>
                    <a:lnTo>
                      <a:pt x="129" y="342"/>
                    </a:lnTo>
                    <a:lnTo>
                      <a:pt x="150" y="366"/>
                    </a:lnTo>
                    <a:lnTo>
                      <a:pt x="152" y="385"/>
                    </a:lnTo>
                    <a:lnTo>
                      <a:pt x="171" y="378"/>
                    </a:lnTo>
                    <a:lnTo>
                      <a:pt x="186" y="381"/>
                    </a:lnTo>
                    <a:lnTo>
                      <a:pt x="264" y="598"/>
                    </a:lnTo>
                    <a:lnTo>
                      <a:pt x="251" y="604"/>
                    </a:lnTo>
                    <a:lnTo>
                      <a:pt x="239" y="624"/>
                    </a:lnTo>
                    <a:lnTo>
                      <a:pt x="227" y="657"/>
                    </a:lnTo>
                    <a:lnTo>
                      <a:pt x="212" y="676"/>
                    </a:lnTo>
                    <a:lnTo>
                      <a:pt x="182" y="693"/>
                    </a:lnTo>
                    <a:lnTo>
                      <a:pt x="116" y="735"/>
                    </a:lnTo>
                    <a:lnTo>
                      <a:pt x="120" y="756"/>
                    </a:lnTo>
                    <a:lnTo>
                      <a:pt x="125" y="799"/>
                    </a:lnTo>
                    <a:lnTo>
                      <a:pt x="282" y="867"/>
                    </a:lnTo>
                    <a:lnTo>
                      <a:pt x="263" y="918"/>
                    </a:lnTo>
                    <a:lnTo>
                      <a:pt x="272" y="922"/>
                    </a:lnTo>
                    <a:lnTo>
                      <a:pt x="332" y="921"/>
                    </a:lnTo>
                    <a:lnTo>
                      <a:pt x="362" y="972"/>
                    </a:lnTo>
                    <a:lnTo>
                      <a:pt x="362" y="1003"/>
                    </a:lnTo>
                    <a:lnTo>
                      <a:pt x="542" y="1008"/>
                    </a:lnTo>
                    <a:lnTo>
                      <a:pt x="545" y="991"/>
                    </a:lnTo>
                    <a:lnTo>
                      <a:pt x="572" y="942"/>
                    </a:lnTo>
                    <a:lnTo>
                      <a:pt x="573" y="930"/>
                    </a:lnTo>
                    <a:lnTo>
                      <a:pt x="530" y="813"/>
                    </a:lnTo>
                    <a:lnTo>
                      <a:pt x="527" y="787"/>
                    </a:lnTo>
                    <a:lnTo>
                      <a:pt x="518" y="753"/>
                    </a:lnTo>
                    <a:lnTo>
                      <a:pt x="516" y="736"/>
                    </a:lnTo>
                    <a:lnTo>
                      <a:pt x="527" y="729"/>
                    </a:lnTo>
                    <a:lnTo>
                      <a:pt x="500" y="724"/>
                    </a:lnTo>
                    <a:lnTo>
                      <a:pt x="477" y="709"/>
                    </a:lnTo>
                    <a:lnTo>
                      <a:pt x="464" y="711"/>
                    </a:lnTo>
                    <a:lnTo>
                      <a:pt x="429" y="718"/>
                    </a:lnTo>
                    <a:lnTo>
                      <a:pt x="414" y="673"/>
                    </a:lnTo>
                    <a:lnTo>
                      <a:pt x="437" y="658"/>
                    </a:lnTo>
                    <a:lnTo>
                      <a:pt x="437" y="648"/>
                    </a:lnTo>
                    <a:lnTo>
                      <a:pt x="426" y="640"/>
                    </a:lnTo>
                    <a:lnTo>
                      <a:pt x="476" y="487"/>
                    </a:lnTo>
                    <a:lnTo>
                      <a:pt x="491" y="427"/>
                    </a:lnTo>
                    <a:lnTo>
                      <a:pt x="504" y="397"/>
                    </a:lnTo>
                    <a:lnTo>
                      <a:pt x="503" y="385"/>
                    </a:lnTo>
                    <a:lnTo>
                      <a:pt x="530" y="346"/>
                    </a:lnTo>
                    <a:lnTo>
                      <a:pt x="551" y="346"/>
                    </a:lnTo>
                    <a:lnTo>
                      <a:pt x="548" y="331"/>
                    </a:lnTo>
                    <a:lnTo>
                      <a:pt x="533" y="325"/>
                    </a:lnTo>
                    <a:lnTo>
                      <a:pt x="546" y="307"/>
                    </a:lnTo>
                    <a:lnTo>
                      <a:pt x="536" y="285"/>
                    </a:lnTo>
                    <a:lnTo>
                      <a:pt x="534" y="273"/>
                    </a:lnTo>
                    <a:lnTo>
                      <a:pt x="512" y="276"/>
                    </a:lnTo>
                    <a:lnTo>
                      <a:pt x="507" y="262"/>
                    </a:lnTo>
                    <a:lnTo>
                      <a:pt x="494" y="187"/>
                    </a:lnTo>
                    <a:lnTo>
                      <a:pt x="489" y="177"/>
                    </a:lnTo>
                    <a:lnTo>
                      <a:pt x="465" y="186"/>
                    </a:lnTo>
                    <a:lnTo>
                      <a:pt x="452" y="163"/>
                    </a:lnTo>
                    <a:lnTo>
                      <a:pt x="455" y="135"/>
                    </a:lnTo>
                    <a:lnTo>
                      <a:pt x="441" y="132"/>
                    </a:lnTo>
                    <a:lnTo>
                      <a:pt x="428" y="145"/>
                    </a:lnTo>
                    <a:lnTo>
                      <a:pt x="410" y="145"/>
                    </a:lnTo>
                    <a:lnTo>
                      <a:pt x="398" y="145"/>
                    </a:lnTo>
                    <a:lnTo>
                      <a:pt x="389" y="132"/>
                    </a:lnTo>
                    <a:lnTo>
                      <a:pt x="369" y="132"/>
                    </a:lnTo>
                    <a:lnTo>
                      <a:pt x="350" y="105"/>
                    </a:lnTo>
                    <a:lnTo>
                      <a:pt x="345" y="90"/>
                    </a:lnTo>
                    <a:lnTo>
                      <a:pt x="339" y="70"/>
                    </a:lnTo>
                    <a:lnTo>
                      <a:pt x="327" y="42"/>
                    </a:lnTo>
                    <a:lnTo>
                      <a:pt x="317" y="36"/>
                    </a:lnTo>
                    <a:lnTo>
                      <a:pt x="269" y="43"/>
                    </a:lnTo>
                    <a:lnTo>
                      <a:pt x="248" y="49"/>
                    </a:lnTo>
                    <a:lnTo>
                      <a:pt x="225" y="51"/>
                    </a:lnTo>
                    <a:lnTo>
                      <a:pt x="194" y="43"/>
                    </a:lnTo>
                    <a:lnTo>
                      <a:pt x="180" y="39"/>
                    </a:lnTo>
                    <a:lnTo>
                      <a:pt x="156" y="30"/>
                    </a:lnTo>
                    <a:lnTo>
                      <a:pt x="140" y="24"/>
                    </a:lnTo>
                    <a:lnTo>
                      <a:pt x="114" y="7"/>
                    </a:lnTo>
                    <a:lnTo>
                      <a:pt x="89" y="0"/>
                    </a:lnTo>
                    <a:lnTo>
                      <a:pt x="72" y="37"/>
                    </a:lnTo>
                    <a:lnTo>
                      <a:pt x="93" y="37"/>
                    </a:lnTo>
                    <a:lnTo>
                      <a:pt x="86" y="94"/>
                    </a:lnTo>
                    <a:lnTo>
                      <a:pt x="93" y="216"/>
                    </a:lnTo>
                    <a:lnTo>
                      <a:pt x="6" y="222"/>
                    </a:lnTo>
                    <a:lnTo>
                      <a:pt x="0" y="304"/>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4" name="Freeform 39">
                <a:extLst>
                  <a:ext uri="{FF2B5EF4-FFF2-40B4-BE49-F238E27FC236}">
                    <a16:creationId xmlns:a16="http://schemas.microsoft.com/office/drawing/2014/main" xmlns="" id="{B7B44422-6F4E-40F3-A7F6-2461B3477AB6}"/>
                  </a:ext>
                </a:extLst>
              </p:cNvPr>
              <p:cNvSpPr>
                <a:spLocks/>
              </p:cNvSpPr>
              <p:nvPr/>
            </p:nvSpPr>
            <p:spPr bwMode="auto">
              <a:xfrm>
                <a:off x="2702" y="2766"/>
                <a:ext cx="648" cy="753"/>
              </a:xfrm>
              <a:custGeom>
                <a:avLst/>
                <a:gdLst/>
                <a:ahLst/>
                <a:cxnLst>
                  <a:cxn ang="0">
                    <a:pos x="85" y="654"/>
                  </a:cxn>
                  <a:cxn ang="0">
                    <a:pos x="48" y="641"/>
                  </a:cxn>
                  <a:cxn ang="0">
                    <a:pos x="0" y="602"/>
                  </a:cxn>
                  <a:cxn ang="0">
                    <a:pos x="22" y="576"/>
                  </a:cxn>
                  <a:cxn ang="0">
                    <a:pos x="63" y="414"/>
                  </a:cxn>
                  <a:cxn ang="0">
                    <a:pos x="93" y="324"/>
                  </a:cxn>
                  <a:cxn ang="0">
                    <a:pos x="109" y="291"/>
                  </a:cxn>
                  <a:cxn ang="0">
                    <a:pos x="142" y="272"/>
                  </a:cxn>
                  <a:cxn ang="0">
                    <a:pos x="118" y="255"/>
                  </a:cxn>
                  <a:cxn ang="0">
                    <a:pos x="121" y="215"/>
                  </a:cxn>
                  <a:cxn ang="0">
                    <a:pos x="99" y="204"/>
                  </a:cxn>
                  <a:cxn ang="0">
                    <a:pos x="79" y="116"/>
                  </a:cxn>
                  <a:cxn ang="0">
                    <a:pos x="51" y="116"/>
                  </a:cxn>
                  <a:cxn ang="0">
                    <a:pos x="42" y="60"/>
                  </a:cxn>
                  <a:cxn ang="0">
                    <a:pos x="49" y="32"/>
                  </a:cxn>
                  <a:cxn ang="0">
                    <a:pos x="108" y="38"/>
                  </a:cxn>
                  <a:cxn ang="0">
                    <a:pos x="135" y="54"/>
                  </a:cxn>
                  <a:cxn ang="0">
                    <a:pos x="115" y="0"/>
                  </a:cxn>
                  <a:cxn ang="0">
                    <a:pos x="201" y="48"/>
                  </a:cxn>
                  <a:cxn ang="0">
                    <a:pos x="229" y="47"/>
                  </a:cxn>
                  <a:cxn ang="0">
                    <a:pos x="295" y="86"/>
                  </a:cxn>
                  <a:cxn ang="0">
                    <a:pos x="370" y="138"/>
                  </a:cxn>
                  <a:cxn ang="0">
                    <a:pos x="358" y="167"/>
                  </a:cxn>
                  <a:cxn ang="0">
                    <a:pos x="399" y="245"/>
                  </a:cxn>
                  <a:cxn ang="0">
                    <a:pos x="382" y="297"/>
                  </a:cxn>
                  <a:cxn ang="0">
                    <a:pos x="286" y="290"/>
                  </a:cxn>
                  <a:cxn ang="0">
                    <a:pos x="454" y="446"/>
                  </a:cxn>
                  <a:cxn ang="0">
                    <a:pos x="502" y="476"/>
                  </a:cxn>
                  <a:cxn ang="0">
                    <a:pos x="585" y="534"/>
                  </a:cxn>
                  <a:cxn ang="0">
                    <a:pos x="615" y="561"/>
                  </a:cxn>
                  <a:cxn ang="0">
                    <a:pos x="643" y="624"/>
                  </a:cxn>
                  <a:cxn ang="0">
                    <a:pos x="648" y="654"/>
                  </a:cxn>
                  <a:cxn ang="0">
                    <a:pos x="628" y="681"/>
                  </a:cxn>
                  <a:cxn ang="0">
                    <a:pos x="361" y="570"/>
                  </a:cxn>
                  <a:cxn ang="0">
                    <a:pos x="324" y="548"/>
                  </a:cxn>
                  <a:cxn ang="0">
                    <a:pos x="267" y="585"/>
                  </a:cxn>
                  <a:cxn ang="0">
                    <a:pos x="172" y="630"/>
                  </a:cxn>
                </a:cxnLst>
                <a:rect l="0" t="0" r="r" b="b"/>
                <a:pathLst>
                  <a:path w="648" h="753">
                    <a:moveTo>
                      <a:pt x="112" y="659"/>
                    </a:moveTo>
                    <a:lnTo>
                      <a:pt x="85" y="654"/>
                    </a:lnTo>
                    <a:lnTo>
                      <a:pt x="63" y="638"/>
                    </a:lnTo>
                    <a:lnTo>
                      <a:pt x="48" y="641"/>
                    </a:lnTo>
                    <a:lnTo>
                      <a:pt x="15" y="648"/>
                    </a:lnTo>
                    <a:lnTo>
                      <a:pt x="0" y="602"/>
                    </a:lnTo>
                    <a:lnTo>
                      <a:pt x="24" y="587"/>
                    </a:lnTo>
                    <a:lnTo>
                      <a:pt x="22" y="576"/>
                    </a:lnTo>
                    <a:lnTo>
                      <a:pt x="12" y="570"/>
                    </a:lnTo>
                    <a:lnTo>
                      <a:pt x="63" y="414"/>
                    </a:lnTo>
                    <a:lnTo>
                      <a:pt x="79" y="356"/>
                    </a:lnTo>
                    <a:lnTo>
                      <a:pt x="93" y="324"/>
                    </a:lnTo>
                    <a:lnTo>
                      <a:pt x="94" y="309"/>
                    </a:lnTo>
                    <a:lnTo>
                      <a:pt x="109" y="291"/>
                    </a:lnTo>
                    <a:lnTo>
                      <a:pt x="115" y="273"/>
                    </a:lnTo>
                    <a:lnTo>
                      <a:pt x="142" y="272"/>
                    </a:lnTo>
                    <a:lnTo>
                      <a:pt x="135" y="261"/>
                    </a:lnTo>
                    <a:lnTo>
                      <a:pt x="118" y="255"/>
                    </a:lnTo>
                    <a:lnTo>
                      <a:pt x="133" y="234"/>
                    </a:lnTo>
                    <a:lnTo>
                      <a:pt x="121" y="215"/>
                    </a:lnTo>
                    <a:lnTo>
                      <a:pt x="121" y="204"/>
                    </a:lnTo>
                    <a:lnTo>
                      <a:pt x="99" y="204"/>
                    </a:lnTo>
                    <a:lnTo>
                      <a:pt x="93" y="191"/>
                    </a:lnTo>
                    <a:lnTo>
                      <a:pt x="79" y="116"/>
                    </a:lnTo>
                    <a:lnTo>
                      <a:pt x="75" y="107"/>
                    </a:lnTo>
                    <a:lnTo>
                      <a:pt x="51" y="116"/>
                    </a:lnTo>
                    <a:lnTo>
                      <a:pt x="39" y="92"/>
                    </a:lnTo>
                    <a:lnTo>
                      <a:pt x="42" y="60"/>
                    </a:lnTo>
                    <a:lnTo>
                      <a:pt x="51" y="53"/>
                    </a:lnTo>
                    <a:lnTo>
                      <a:pt x="49" y="32"/>
                    </a:lnTo>
                    <a:lnTo>
                      <a:pt x="79" y="39"/>
                    </a:lnTo>
                    <a:lnTo>
                      <a:pt x="108" y="38"/>
                    </a:lnTo>
                    <a:lnTo>
                      <a:pt x="123" y="59"/>
                    </a:lnTo>
                    <a:lnTo>
                      <a:pt x="135" y="54"/>
                    </a:lnTo>
                    <a:lnTo>
                      <a:pt x="136" y="44"/>
                    </a:lnTo>
                    <a:lnTo>
                      <a:pt x="115" y="0"/>
                    </a:lnTo>
                    <a:lnTo>
                      <a:pt x="189" y="36"/>
                    </a:lnTo>
                    <a:lnTo>
                      <a:pt x="201" y="48"/>
                    </a:lnTo>
                    <a:lnTo>
                      <a:pt x="219" y="50"/>
                    </a:lnTo>
                    <a:lnTo>
                      <a:pt x="229" y="47"/>
                    </a:lnTo>
                    <a:lnTo>
                      <a:pt x="262" y="59"/>
                    </a:lnTo>
                    <a:lnTo>
                      <a:pt x="295" y="86"/>
                    </a:lnTo>
                    <a:lnTo>
                      <a:pt x="315" y="74"/>
                    </a:lnTo>
                    <a:lnTo>
                      <a:pt x="370" y="138"/>
                    </a:lnTo>
                    <a:lnTo>
                      <a:pt x="369" y="150"/>
                    </a:lnTo>
                    <a:lnTo>
                      <a:pt x="358" y="167"/>
                    </a:lnTo>
                    <a:lnTo>
                      <a:pt x="361" y="180"/>
                    </a:lnTo>
                    <a:lnTo>
                      <a:pt x="399" y="245"/>
                    </a:lnTo>
                    <a:lnTo>
                      <a:pt x="394" y="275"/>
                    </a:lnTo>
                    <a:lnTo>
                      <a:pt x="382" y="297"/>
                    </a:lnTo>
                    <a:cubicBezTo>
                      <a:pt x="353" y="297"/>
                      <a:pt x="295" y="296"/>
                      <a:pt x="295" y="296"/>
                    </a:cubicBezTo>
                    <a:lnTo>
                      <a:pt x="286" y="290"/>
                    </a:lnTo>
                    <a:lnTo>
                      <a:pt x="316" y="353"/>
                    </a:lnTo>
                    <a:lnTo>
                      <a:pt x="454" y="446"/>
                    </a:lnTo>
                    <a:lnTo>
                      <a:pt x="483" y="459"/>
                    </a:lnTo>
                    <a:lnTo>
                      <a:pt x="502" y="476"/>
                    </a:lnTo>
                    <a:lnTo>
                      <a:pt x="513" y="485"/>
                    </a:lnTo>
                    <a:lnTo>
                      <a:pt x="585" y="534"/>
                    </a:lnTo>
                    <a:lnTo>
                      <a:pt x="621" y="537"/>
                    </a:lnTo>
                    <a:lnTo>
                      <a:pt x="615" y="561"/>
                    </a:lnTo>
                    <a:lnTo>
                      <a:pt x="634" y="582"/>
                    </a:lnTo>
                    <a:lnTo>
                      <a:pt x="643" y="624"/>
                    </a:lnTo>
                    <a:lnTo>
                      <a:pt x="645" y="639"/>
                    </a:lnTo>
                    <a:lnTo>
                      <a:pt x="648" y="654"/>
                    </a:lnTo>
                    <a:lnTo>
                      <a:pt x="631" y="671"/>
                    </a:lnTo>
                    <a:lnTo>
                      <a:pt x="628" y="681"/>
                    </a:lnTo>
                    <a:lnTo>
                      <a:pt x="432" y="753"/>
                    </a:lnTo>
                    <a:lnTo>
                      <a:pt x="361" y="570"/>
                    </a:lnTo>
                    <a:lnTo>
                      <a:pt x="346" y="554"/>
                    </a:lnTo>
                    <a:lnTo>
                      <a:pt x="324" y="548"/>
                    </a:lnTo>
                    <a:lnTo>
                      <a:pt x="292" y="564"/>
                    </a:lnTo>
                    <a:lnTo>
                      <a:pt x="267" y="585"/>
                    </a:lnTo>
                    <a:lnTo>
                      <a:pt x="213" y="609"/>
                    </a:lnTo>
                    <a:lnTo>
                      <a:pt x="172" y="630"/>
                    </a:lnTo>
                    <a:lnTo>
                      <a:pt x="112" y="659"/>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5" name="Freeform 40">
                <a:extLst>
                  <a:ext uri="{FF2B5EF4-FFF2-40B4-BE49-F238E27FC236}">
                    <a16:creationId xmlns:a16="http://schemas.microsoft.com/office/drawing/2014/main" xmlns="" id="{61660E9B-C0D2-4A54-A93D-E38BEAC0976A}"/>
                  </a:ext>
                </a:extLst>
              </p:cNvPr>
              <p:cNvSpPr>
                <a:spLocks/>
              </p:cNvSpPr>
              <p:nvPr/>
            </p:nvSpPr>
            <p:spPr bwMode="auto">
              <a:xfrm>
                <a:off x="2468" y="1284"/>
                <a:ext cx="916" cy="1260"/>
              </a:xfrm>
              <a:custGeom>
                <a:avLst/>
                <a:gdLst/>
                <a:ahLst/>
                <a:cxnLst>
                  <a:cxn ang="0">
                    <a:pos x="126" y="538"/>
                  </a:cxn>
                  <a:cxn ang="0">
                    <a:pos x="104" y="606"/>
                  </a:cxn>
                  <a:cxn ang="0">
                    <a:pos x="60" y="662"/>
                  </a:cxn>
                  <a:cxn ang="0">
                    <a:pos x="0" y="702"/>
                  </a:cxn>
                  <a:cxn ang="0">
                    <a:pos x="224" y="922"/>
                  </a:cxn>
                  <a:cxn ang="0">
                    <a:pos x="250" y="1082"/>
                  </a:cxn>
                  <a:cxn ang="0">
                    <a:pos x="266" y="1166"/>
                  </a:cxn>
                  <a:cxn ang="0">
                    <a:pos x="356" y="1208"/>
                  </a:cxn>
                  <a:cxn ang="0">
                    <a:pos x="464" y="1176"/>
                  </a:cxn>
                  <a:cxn ang="0">
                    <a:pos x="530" y="1206"/>
                  </a:cxn>
                  <a:cxn ang="0">
                    <a:pos x="604" y="1260"/>
                  </a:cxn>
                  <a:cxn ang="0">
                    <a:pos x="606" y="1220"/>
                  </a:cxn>
                  <a:cxn ang="0">
                    <a:pos x="574" y="1176"/>
                  </a:cxn>
                  <a:cxn ang="0">
                    <a:pos x="592" y="1032"/>
                  </a:cxn>
                  <a:cxn ang="0">
                    <a:pos x="686" y="1014"/>
                  </a:cxn>
                  <a:cxn ang="0">
                    <a:pos x="760" y="986"/>
                  </a:cxn>
                  <a:cxn ang="0">
                    <a:pos x="700" y="868"/>
                  </a:cxn>
                  <a:cxn ang="0">
                    <a:pos x="682" y="806"/>
                  </a:cxn>
                  <a:cxn ang="0">
                    <a:pos x="692" y="700"/>
                  </a:cxn>
                  <a:cxn ang="0">
                    <a:pos x="722" y="644"/>
                  </a:cxn>
                  <a:cxn ang="0">
                    <a:pos x="770" y="612"/>
                  </a:cxn>
                  <a:cxn ang="0">
                    <a:pos x="760" y="536"/>
                  </a:cxn>
                  <a:cxn ang="0">
                    <a:pos x="826" y="382"/>
                  </a:cxn>
                  <a:cxn ang="0">
                    <a:pos x="856" y="308"/>
                  </a:cxn>
                  <a:cxn ang="0">
                    <a:pos x="916" y="244"/>
                  </a:cxn>
                  <a:cxn ang="0">
                    <a:pos x="894" y="208"/>
                  </a:cxn>
                  <a:cxn ang="0">
                    <a:pos x="842" y="210"/>
                  </a:cxn>
                  <a:cxn ang="0">
                    <a:pos x="778" y="136"/>
                  </a:cxn>
                  <a:cxn ang="0">
                    <a:pos x="720" y="98"/>
                  </a:cxn>
                  <a:cxn ang="0">
                    <a:pos x="654" y="68"/>
                  </a:cxn>
                  <a:cxn ang="0">
                    <a:pos x="608" y="66"/>
                  </a:cxn>
                  <a:cxn ang="0">
                    <a:pos x="596" y="124"/>
                  </a:cxn>
                  <a:cxn ang="0">
                    <a:pos x="646" y="148"/>
                  </a:cxn>
                  <a:cxn ang="0">
                    <a:pos x="602" y="184"/>
                  </a:cxn>
                  <a:cxn ang="0">
                    <a:pos x="482" y="176"/>
                  </a:cxn>
                  <a:cxn ang="0">
                    <a:pos x="446" y="252"/>
                  </a:cxn>
                  <a:cxn ang="0">
                    <a:pos x="382" y="312"/>
                  </a:cxn>
                  <a:cxn ang="0">
                    <a:pos x="328" y="256"/>
                  </a:cxn>
                  <a:cxn ang="0">
                    <a:pos x="250" y="196"/>
                  </a:cxn>
                  <a:cxn ang="0">
                    <a:pos x="210" y="294"/>
                  </a:cxn>
                  <a:cxn ang="0">
                    <a:pos x="160" y="330"/>
                  </a:cxn>
                  <a:cxn ang="0">
                    <a:pos x="128" y="396"/>
                  </a:cxn>
                </a:cxnLst>
                <a:rect l="0" t="0" r="r" b="b"/>
                <a:pathLst>
                  <a:path w="916" h="1260">
                    <a:moveTo>
                      <a:pt x="72" y="426"/>
                    </a:moveTo>
                    <a:lnTo>
                      <a:pt x="122" y="516"/>
                    </a:lnTo>
                    <a:lnTo>
                      <a:pt x="126" y="538"/>
                    </a:lnTo>
                    <a:lnTo>
                      <a:pt x="122" y="566"/>
                    </a:lnTo>
                    <a:lnTo>
                      <a:pt x="120" y="598"/>
                    </a:lnTo>
                    <a:lnTo>
                      <a:pt x="104" y="606"/>
                    </a:lnTo>
                    <a:lnTo>
                      <a:pt x="110" y="630"/>
                    </a:lnTo>
                    <a:lnTo>
                      <a:pt x="82" y="646"/>
                    </a:lnTo>
                    <a:lnTo>
                      <a:pt x="60" y="662"/>
                    </a:lnTo>
                    <a:lnTo>
                      <a:pt x="54" y="688"/>
                    </a:lnTo>
                    <a:lnTo>
                      <a:pt x="40" y="704"/>
                    </a:lnTo>
                    <a:lnTo>
                      <a:pt x="0" y="702"/>
                    </a:lnTo>
                    <a:lnTo>
                      <a:pt x="176" y="872"/>
                    </a:lnTo>
                    <a:lnTo>
                      <a:pt x="212" y="892"/>
                    </a:lnTo>
                    <a:lnTo>
                      <a:pt x="224" y="922"/>
                    </a:lnTo>
                    <a:lnTo>
                      <a:pt x="264" y="944"/>
                    </a:lnTo>
                    <a:lnTo>
                      <a:pt x="250" y="1028"/>
                    </a:lnTo>
                    <a:lnTo>
                      <a:pt x="250" y="1082"/>
                    </a:lnTo>
                    <a:lnTo>
                      <a:pt x="278" y="1132"/>
                    </a:lnTo>
                    <a:lnTo>
                      <a:pt x="278" y="1146"/>
                    </a:lnTo>
                    <a:lnTo>
                      <a:pt x="266" y="1166"/>
                    </a:lnTo>
                    <a:lnTo>
                      <a:pt x="290" y="1178"/>
                    </a:lnTo>
                    <a:lnTo>
                      <a:pt x="344" y="1192"/>
                    </a:lnTo>
                    <a:lnTo>
                      <a:pt x="356" y="1208"/>
                    </a:lnTo>
                    <a:lnTo>
                      <a:pt x="372" y="1194"/>
                    </a:lnTo>
                    <a:lnTo>
                      <a:pt x="442" y="1190"/>
                    </a:lnTo>
                    <a:lnTo>
                      <a:pt x="464" y="1176"/>
                    </a:lnTo>
                    <a:lnTo>
                      <a:pt x="474" y="1148"/>
                    </a:lnTo>
                    <a:lnTo>
                      <a:pt x="500" y="1204"/>
                    </a:lnTo>
                    <a:lnTo>
                      <a:pt x="530" y="1206"/>
                    </a:lnTo>
                    <a:lnTo>
                      <a:pt x="544" y="1218"/>
                    </a:lnTo>
                    <a:lnTo>
                      <a:pt x="546" y="1242"/>
                    </a:lnTo>
                    <a:lnTo>
                      <a:pt x="604" y="1260"/>
                    </a:lnTo>
                    <a:lnTo>
                      <a:pt x="626" y="1246"/>
                    </a:lnTo>
                    <a:lnTo>
                      <a:pt x="620" y="1232"/>
                    </a:lnTo>
                    <a:lnTo>
                      <a:pt x="606" y="1220"/>
                    </a:lnTo>
                    <a:lnTo>
                      <a:pt x="558" y="1206"/>
                    </a:lnTo>
                    <a:lnTo>
                      <a:pt x="548" y="1188"/>
                    </a:lnTo>
                    <a:lnTo>
                      <a:pt x="574" y="1176"/>
                    </a:lnTo>
                    <a:lnTo>
                      <a:pt x="600" y="1110"/>
                    </a:lnTo>
                    <a:lnTo>
                      <a:pt x="618" y="1100"/>
                    </a:lnTo>
                    <a:lnTo>
                      <a:pt x="592" y="1032"/>
                    </a:lnTo>
                    <a:lnTo>
                      <a:pt x="672" y="1032"/>
                    </a:lnTo>
                    <a:lnTo>
                      <a:pt x="670" y="1012"/>
                    </a:lnTo>
                    <a:lnTo>
                      <a:pt x="686" y="1014"/>
                    </a:lnTo>
                    <a:lnTo>
                      <a:pt x="708" y="990"/>
                    </a:lnTo>
                    <a:lnTo>
                      <a:pt x="754" y="996"/>
                    </a:lnTo>
                    <a:lnTo>
                      <a:pt x="760" y="986"/>
                    </a:lnTo>
                    <a:lnTo>
                      <a:pt x="752" y="940"/>
                    </a:lnTo>
                    <a:lnTo>
                      <a:pt x="710" y="896"/>
                    </a:lnTo>
                    <a:lnTo>
                      <a:pt x="700" y="868"/>
                    </a:lnTo>
                    <a:lnTo>
                      <a:pt x="724" y="838"/>
                    </a:lnTo>
                    <a:lnTo>
                      <a:pt x="698" y="810"/>
                    </a:lnTo>
                    <a:lnTo>
                      <a:pt x="682" y="806"/>
                    </a:lnTo>
                    <a:lnTo>
                      <a:pt x="686" y="768"/>
                    </a:lnTo>
                    <a:lnTo>
                      <a:pt x="682" y="712"/>
                    </a:lnTo>
                    <a:lnTo>
                      <a:pt x="692" y="700"/>
                    </a:lnTo>
                    <a:lnTo>
                      <a:pt x="706" y="698"/>
                    </a:lnTo>
                    <a:lnTo>
                      <a:pt x="710" y="664"/>
                    </a:lnTo>
                    <a:lnTo>
                      <a:pt x="722" y="644"/>
                    </a:lnTo>
                    <a:lnTo>
                      <a:pt x="750" y="634"/>
                    </a:lnTo>
                    <a:lnTo>
                      <a:pt x="760" y="618"/>
                    </a:lnTo>
                    <a:lnTo>
                      <a:pt x="770" y="612"/>
                    </a:lnTo>
                    <a:lnTo>
                      <a:pt x="760" y="596"/>
                    </a:lnTo>
                    <a:lnTo>
                      <a:pt x="764" y="556"/>
                    </a:lnTo>
                    <a:lnTo>
                      <a:pt x="760" y="536"/>
                    </a:lnTo>
                    <a:lnTo>
                      <a:pt x="748" y="524"/>
                    </a:lnTo>
                    <a:lnTo>
                      <a:pt x="810" y="398"/>
                    </a:lnTo>
                    <a:lnTo>
                      <a:pt x="826" y="382"/>
                    </a:lnTo>
                    <a:lnTo>
                      <a:pt x="826" y="358"/>
                    </a:lnTo>
                    <a:lnTo>
                      <a:pt x="828" y="332"/>
                    </a:lnTo>
                    <a:lnTo>
                      <a:pt x="856" y="308"/>
                    </a:lnTo>
                    <a:lnTo>
                      <a:pt x="890" y="296"/>
                    </a:lnTo>
                    <a:lnTo>
                      <a:pt x="908" y="294"/>
                    </a:lnTo>
                    <a:lnTo>
                      <a:pt x="916" y="244"/>
                    </a:lnTo>
                    <a:lnTo>
                      <a:pt x="894" y="236"/>
                    </a:lnTo>
                    <a:lnTo>
                      <a:pt x="890" y="220"/>
                    </a:lnTo>
                    <a:lnTo>
                      <a:pt x="894" y="208"/>
                    </a:lnTo>
                    <a:lnTo>
                      <a:pt x="870" y="220"/>
                    </a:lnTo>
                    <a:lnTo>
                      <a:pt x="854" y="214"/>
                    </a:lnTo>
                    <a:lnTo>
                      <a:pt x="842" y="210"/>
                    </a:lnTo>
                    <a:lnTo>
                      <a:pt x="830" y="176"/>
                    </a:lnTo>
                    <a:lnTo>
                      <a:pt x="796" y="164"/>
                    </a:lnTo>
                    <a:lnTo>
                      <a:pt x="778" y="136"/>
                    </a:lnTo>
                    <a:lnTo>
                      <a:pt x="758" y="116"/>
                    </a:lnTo>
                    <a:lnTo>
                      <a:pt x="736" y="110"/>
                    </a:lnTo>
                    <a:lnTo>
                      <a:pt x="720" y="98"/>
                    </a:lnTo>
                    <a:lnTo>
                      <a:pt x="718" y="64"/>
                    </a:lnTo>
                    <a:lnTo>
                      <a:pt x="718" y="38"/>
                    </a:lnTo>
                    <a:lnTo>
                      <a:pt x="654" y="68"/>
                    </a:lnTo>
                    <a:lnTo>
                      <a:pt x="676" y="0"/>
                    </a:lnTo>
                    <a:lnTo>
                      <a:pt x="630" y="26"/>
                    </a:lnTo>
                    <a:lnTo>
                      <a:pt x="608" y="66"/>
                    </a:lnTo>
                    <a:lnTo>
                      <a:pt x="556" y="60"/>
                    </a:lnTo>
                    <a:lnTo>
                      <a:pt x="554" y="74"/>
                    </a:lnTo>
                    <a:lnTo>
                      <a:pt x="596" y="124"/>
                    </a:lnTo>
                    <a:lnTo>
                      <a:pt x="606" y="132"/>
                    </a:lnTo>
                    <a:lnTo>
                      <a:pt x="646" y="130"/>
                    </a:lnTo>
                    <a:lnTo>
                      <a:pt x="646" y="148"/>
                    </a:lnTo>
                    <a:lnTo>
                      <a:pt x="626" y="164"/>
                    </a:lnTo>
                    <a:lnTo>
                      <a:pt x="610" y="166"/>
                    </a:lnTo>
                    <a:lnTo>
                      <a:pt x="602" y="184"/>
                    </a:lnTo>
                    <a:lnTo>
                      <a:pt x="552" y="188"/>
                    </a:lnTo>
                    <a:lnTo>
                      <a:pt x="542" y="162"/>
                    </a:lnTo>
                    <a:lnTo>
                      <a:pt x="482" y="176"/>
                    </a:lnTo>
                    <a:lnTo>
                      <a:pt x="484" y="210"/>
                    </a:lnTo>
                    <a:lnTo>
                      <a:pt x="472" y="232"/>
                    </a:lnTo>
                    <a:lnTo>
                      <a:pt x="446" y="252"/>
                    </a:lnTo>
                    <a:lnTo>
                      <a:pt x="440" y="298"/>
                    </a:lnTo>
                    <a:lnTo>
                      <a:pt x="436" y="314"/>
                    </a:lnTo>
                    <a:lnTo>
                      <a:pt x="382" y="312"/>
                    </a:lnTo>
                    <a:lnTo>
                      <a:pt x="382" y="328"/>
                    </a:lnTo>
                    <a:lnTo>
                      <a:pt x="340" y="280"/>
                    </a:lnTo>
                    <a:lnTo>
                      <a:pt x="328" y="256"/>
                    </a:lnTo>
                    <a:lnTo>
                      <a:pt x="312" y="264"/>
                    </a:lnTo>
                    <a:lnTo>
                      <a:pt x="284" y="240"/>
                    </a:lnTo>
                    <a:lnTo>
                      <a:pt x="250" y="196"/>
                    </a:lnTo>
                    <a:lnTo>
                      <a:pt x="230" y="212"/>
                    </a:lnTo>
                    <a:lnTo>
                      <a:pt x="218" y="244"/>
                    </a:lnTo>
                    <a:lnTo>
                      <a:pt x="210" y="294"/>
                    </a:lnTo>
                    <a:lnTo>
                      <a:pt x="198" y="328"/>
                    </a:lnTo>
                    <a:lnTo>
                      <a:pt x="178" y="332"/>
                    </a:lnTo>
                    <a:lnTo>
                      <a:pt x="160" y="330"/>
                    </a:lnTo>
                    <a:lnTo>
                      <a:pt x="152" y="346"/>
                    </a:lnTo>
                    <a:lnTo>
                      <a:pt x="122" y="368"/>
                    </a:lnTo>
                    <a:lnTo>
                      <a:pt x="128" y="396"/>
                    </a:lnTo>
                    <a:lnTo>
                      <a:pt x="118" y="408"/>
                    </a:lnTo>
                    <a:lnTo>
                      <a:pt x="72" y="426"/>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6" name="Freeform 41">
                <a:extLst>
                  <a:ext uri="{FF2B5EF4-FFF2-40B4-BE49-F238E27FC236}">
                    <a16:creationId xmlns:a16="http://schemas.microsoft.com/office/drawing/2014/main" xmlns="" id="{93922FC9-A7B7-4088-BF3B-41EF2C6D9144}"/>
                  </a:ext>
                </a:extLst>
              </p:cNvPr>
              <p:cNvSpPr>
                <a:spLocks/>
              </p:cNvSpPr>
              <p:nvPr/>
            </p:nvSpPr>
            <p:spPr bwMode="auto">
              <a:xfrm>
                <a:off x="2541" y="2432"/>
                <a:ext cx="661" cy="411"/>
              </a:xfrm>
              <a:custGeom>
                <a:avLst/>
                <a:gdLst/>
                <a:ahLst/>
                <a:cxnLst>
                  <a:cxn ang="0">
                    <a:pos x="9" y="276"/>
                  </a:cxn>
                  <a:cxn ang="0">
                    <a:pos x="37" y="260"/>
                  </a:cxn>
                  <a:cxn ang="0">
                    <a:pos x="59" y="232"/>
                  </a:cxn>
                  <a:cxn ang="0">
                    <a:pos x="137" y="236"/>
                  </a:cxn>
                  <a:cxn ang="0">
                    <a:pos x="185" y="212"/>
                  </a:cxn>
                  <a:cxn ang="0">
                    <a:pos x="279" y="258"/>
                  </a:cxn>
                  <a:cxn ang="0">
                    <a:pos x="325" y="260"/>
                  </a:cxn>
                  <a:cxn ang="0">
                    <a:pos x="337" y="192"/>
                  </a:cxn>
                  <a:cxn ang="0">
                    <a:pos x="301" y="192"/>
                  </a:cxn>
                  <a:cxn ang="0">
                    <a:pos x="297" y="146"/>
                  </a:cxn>
                  <a:cxn ang="0">
                    <a:pos x="329" y="96"/>
                  </a:cxn>
                  <a:cxn ang="0">
                    <a:pos x="299" y="72"/>
                  </a:cxn>
                  <a:cxn ang="0">
                    <a:pos x="299" y="48"/>
                  </a:cxn>
                  <a:cxn ang="0">
                    <a:pos x="391" y="28"/>
                  </a:cxn>
                  <a:cxn ang="0">
                    <a:pos x="429" y="60"/>
                  </a:cxn>
                  <a:cxn ang="0">
                    <a:pos x="467" y="66"/>
                  </a:cxn>
                  <a:cxn ang="0">
                    <a:pos x="473" y="100"/>
                  </a:cxn>
                  <a:cxn ang="0">
                    <a:pos x="535" y="108"/>
                  </a:cxn>
                  <a:cxn ang="0">
                    <a:pos x="587" y="132"/>
                  </a:cxn>
                  <a:cxn ang="0">
                    <a:pos x="577" y="152"/>
                  </a:cxn>
                  <a:cxn ang="0">
                    <a:pos x="559" y="248"/>
                  </a:cxn>
                  <a:cxn ang="0">
                    <a:pos x="567" y="260"/>
                  </a:cxn>
                  <a:cxn ang="0">
                    <a:pos x="595" y="284"/>
                  </a:cxn>
                  <a:cxn ang="0">
                    <a:pos x="615" y="304"/>
                  </a:cxn>
                  <a:cxn ang="0">
                    <a:pos x="631" y="332"/>
                  </a:cxn>
                  <a:cxn ang="0">
                    <a:pos x="661" y="336"/>
                  </a:cxn>
                  <a:cxn ang="0">
                    <a:pos x="625" y="352"/>
                  </a:cxn>
                  <a:cxn ang="0">
                    <a:pos x="589" y="322"/>
                  </a:cxn>
                  <a:cxn ang="0">
                    <a:pos x="517" y="298"/>
                  </a:cxn>
                  <a:cxn ang="0">
                    <a:pos x="461" y="268"/>
                  </a:cxn>
                  <a:cxn ang="0">
                    <a:pos x="363" y="378"/>
                  </a:cxn>
                  <a:cxn ang="0">
                    <a:pos x="299" y="378"/>
                  </a:cxn>
                  <a:cxn ang="0">
                    <a:pos x="279" y="386"/>
                  </a:cxn>
                  <a:cxn ang="0">
                    <a:pos x="239" y="372"/>
                  </a:cxn>
                  <a:cxn ang="0">
                    <a:pos x="211" y="392"/>
                  </a:cxn>
                  <a:cxn ang="0">
                    <a:pos x="189" y="396"/>
                  </a:cxn>
                  <a:cxn ang="0">
                    <a:pos x="177" y="409"/>
                  </a:cxn>
                  <a:cxn ang="0">
                    <a:pos x="134" y="402"/>
                  </a:cxn>
                  <a:cxn ang="0">
                    <a:pos x="96" y="364"/>
                  </a:cxn>
                  <a:cxn ang="0">
                    <a:pos x="59" y="300"/>
                  </a:cxn>
                  <a:cxn ang="0">
                    <a:pos x="1" y="306"/>
                  </a:cxn>
                </a:cxnLst>
                <a:rect l="0" t="0" r="r" b="b"/>
                <a:pathLst>
                  <a:path w="661" h="411">
                    <a:moveTo>
                      <a:pt x="1" y="306"/>
                    </a:moveTo>
                    <a:lnTo>
                      <a:pt x="9" y="276"/>
                    </a:lnTo>
                    <a:lnTo>
                      <a:pt x="21" y="272"/>
                    </a:lnTo>
                    <a:lnTo>
                      <a:pt x="37" y="260"/>
                    </a:lnTo>
                    <a:lnTo>
                      <a:pt x="47" y="240"/>
                    </a:lnTo>
                    <a:lnTo>
                      <a:pt x="59" y="232"/>
                    </a:lnTo>
                    <a:lnTo>
                      <a:pt x="109" y="240"/>
                    </a:lnTo>
                    <a:lnTo>
                      <a:pt x="137" y="236"/>
                    </a:lnTo>
                    <a:lnTo>
                      <a:pt x="167" y="224"/>
                    </a:lnTo>
                    <a:lnTo>
                      <a:pt x="185" y="212"/>
                    </a:lnTo>
                    <a:lnTo>
                      <a:pt x="223" y="240"/>
                    </a:lnTo>
                    <a:lnTo>
                      <a:pt x="279" y="258"/>
                    </a:lnTo>
                    <a:lnTo>
                      <a:pt x="313" y="268"/>
                    </a:lnTo>
                    <a:lnTo>
                      <a:pt x="325" y="260"/>
                    </a:lnTo>
                    <a:lnTo>
                      <a:pt x="345" y="218"/>
                    </a:lnTo>
                    <a:lnTo>
                      <a:pt x="337" y="192"/>
                    </a:lnTo>
                    <a:lnTo>
                      <a:pt x="313" y="188"/>
                    </a:lnTo>
                    <a:lnTo>
                      <a:pt x="301" y="192"/>
                    </a:lnTo>
                    <a:lnTo>
                      <a:pt x="291" y="164"/>
                    </a:lnTo>
                    <a:lnTo>
                      <a:pt x="297" y="146"/>
                    </a:lnTo>
                    <a:lnTo>
                      <a:pt x="313" y="106"/>
                    </a:lnTo>
                    <a:lnTo>
                      <a:pt x="329" y="96"/>
                    </a:lnTo>
                    <a:lnTo>
                      <a:pt x="319" y="82"/>
                    </a:lnTo>
                    <a:lnTo>
                      <a:pt x="299" y="72"/>
                    </a:lnTo>
                    <a:lnTo>
                      <a:pt x="281" y="60"/>
                    </a:lnTo>
                    <a:lnTo>
                      <a:pt x="299" y="48"/>
                    </a:lnTo>
                    <a:lnTo>
                      <a:pt x="371" y="42"/>
                    </a:lnTo>
                    <a:lnTo>
                      <a:pt x="391" y="28"/>
                    </a:lnTo>
                    <a:lnTo>
                      <a:pt x="399" y="0"/>
                    </a:lnTo>
                    <a:lnTo>
                      <a:pt x="429" y="60"/>
                    </a:lnTo>
                    <a:lnTo>
                      <a:pt x="449" y="51"/>
                    </a:lnTo>
                    <a:lnTo>
                      <a:pt x="467" y="66"/>
                    </a:lnTo>
                    <a:lnTo>
                      <a:pt x="475" y="76"/>
                    </a:lnTo>
                    <a:lnTo>
                      <a:pt x="473" y="100"/>
                    </a:lnTo>
                    <a:lnTo>
                      <a:pt x="507" y="100"/>
                    </a:lnTo>
                    <a:lnTo>
                      <a:pt x="535" y="108"/>
                    </a:lnTo>
                    <a:lnTo>
                      <a:pt x="551" y="96"/>
                    </a:lnTo>
                    <a:lnTo>
                      <a:pt x="587" y="132"/>
                    </a:lnTo>
                    <a:lnTo>
                      <a:pt x="589" y="146"/>
                    </a:lnTo>
                    <a:lnTo>
                      <a:pt x="577" y="152"/>
                    </a:lnTo>
                    <a:lnTo>
                      <a:pt x="593" y="182"/>
                    </a:lnTo>
                    <a:cubicBezTo>
                      <a:pt x="582" y="204"/>
                      <a:pt x="568" y="225"/>
                      <a:pt x="559" y="248"/>
                    </a:cubicBezTo>
                    <a:cubicBezTo>
                      <a:pt x="558" y="250"/>
                      <a:pt x="563" y="250"/>
                      <a:pt x="565" y="252"/>
                    </a:cubicBezTo>
                    <a:cubicBezTo>
                      <a:pt x="567" y="255"/>
                      <a:pt x="567" y="257"/>
                      <a:pt x="567" y="260"/>
                    </a:cubicBezTo>
                    <a:lnTo>
                      <a:pt x="575" y="278"/>
                    </a:lnTo>
                    <a:lnTo>
                      <a:pt x="595" y="284"/>
                    </a:lnTo>
                    <a:lnTo>
                      <a:pt x="593" y="302"/>
                    </a:lnTo>
                    <a:lnTo>
                      <a:pt x="615" y="304"/>
                    </a:lnTo>
                    <a:lnTo>
                      <a:pt x="623" y="314"/>
                    </a:lnTo>
                    <a:lnTo>
                      <a:pt x="631" y="332"/>
                    </a:lnTo>
                    <a:lnTo>
                      <a:pt x="645" y="324"/>
                    </a:lnTo>
                    <a:lnTo>
                      <a:pt x="661" y="336"/>
                    </a:lnTo>
                    <a:lnTo>
                      <a:pt x="653" y="352"/>
                    </a:lnTo>
                    <a:lnTo>
                      <a:pt x="625" y="352"/>
                    </a:lnTo>
                    <a:lnTo>
                      <a:pt x="603" y="354"/>
                    </a:lnTo>
                    <a:lnTo>
                      <a:pt x="589" y="322"/>
                    </a:lnTo>
                    <a:lnTo>
                      <a:pt x="546" y="313"/>
                    </a:lnTo>
                    <a:lnTo>
                      <a:pt x="517" y="298"/>
                    </a:lnTo>
                    <a:lnTo>
                      <a:pt x="513" y="283"/>
                    </a:lnTo>
                    <a:lnTo>
                      <a:pt x="461" y="268"/>
                    </a:lnTo>
                    <a:lnTo>
                      <a:pt x="377" y="378"/>
                    </a:lnTo>
                    <a:lnTo>
                      <a:pt x="363" y="378"/>
                    </a:lnTo>
                    <a:lnTo>
                      <a:pt x="277" y="332"/>
                    </a:lnTo>
                    <a:lnTo>
                      <a:pt x="299" y="378"/>
                    </a:lnTo>
                    <a:lnTo>
                      <a:pt x="289" y="392"/>
                    </a:lnTo>
                    <a:lnTo>
                      <a:pt x="279" y="386"/>
                    </a:lnTo>
                    <a:lnTo>
                      <a:pt x="267" y="368"/>
                    </a:lnTo>
                    <a:lnTo>
                      <a:pt x="239" y="372"/>
                    </a:lnTo>
                    <a:lnTo>
                      <a:pt x="207" y="364"/>
                    </a:lnTo>
                    <a:lnTo>
                      <a:pt x="211" y="392"/>
                    </a:lnTo>
                    <a:lnTo>
                      <a:pt x="201" y="398"/>
                    </a:lnTo>
                    <a:lnTo>
                      <a:pt x="189" y="396"/>
                    </a:lnTo>
                    <a:lnTo>
                      <a:pt x="171" y="404"/>
                    </a:lnTo>
                    <a:lnTo>
                      <a:pt x="177" y="409"/>
                    </a:lnTo>
                    <a:lnTo>
                      <a:pt x="146" y="411"/>
                    </a:lnTo>
                    <a:lnTo>
                      <a:pt x="134" y="402"/>
                    </a:lnTo>
                    <a:lnTo>
                      <a:pt x="111" y="394"/>
                    </a:lnTo>
                    <a:lnTo>
                      <a:pt x="96" y="364"/>
                    </a:lnTo>
                    <a:lnTo>
                      <a:pt x="75" y="304"/>
                    </a:lnTo>
                    <a:lnTo>
                      <a:pt x="59" y="300"/>
                    </a:lnTo>
                    <a:lnTo>
                      <a:pt x="0" y="309"/>
                    </a:lnTo>
                    <a:lnTo>
                      <a:pt x="1" y="306"/>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7" name="Freeform 42">
                <a:extLst>
                  <a:ext uri="{FF2B5EF4-FFF2-40B4-BE49-F238E27FC236}">
                    <a16:creationId xmlns:a16="http://schemas.microsoft.com/office/drawing/2014/main" xmlns="" id="{34FF68CF-B9EA-4B99-8FE6-9012725FBAE6}"/>
                  </a:ext>
                </a:extLst>
              </p:cNvPr>
              <p:cNvSpPr>
                <a:spLocks/>
              </p:cNvSpPr>
              <p:nvPr/>
            </p:nvSpPr>
            <p:spPr bwMode="auto">
              <a:xfrm>
                <a:off x="3007" y="1896"/>
                <a:ext cx="575" cy="1050"/>
              </a:xfrm>
              <a:custGeom>
                <a:avLst/>
                <a:gdLst/>
                <a:ahLst/>
                <a:cxnLst>
                  <a:cxn ang="0">
                    <a:pos x="79" y="616"/>
                  </a:cxn>
                  <a:cxn ang="0">
                    <a:pos x="17" y="594"/>
                  </a:cxn>
                  <a:cxn ang="0">
                    <a:pos x="51" y="564"/>
                  </a:cxn>
                  <a:cxn ang="0">
                    <a:pos x="59" y="496"/>
                  </a:cxn>
                  <a:cxn ang="0">
                    <a:pos x="53" y="418"/>
                  </a:cxn>
                  <a:cxn ang="0">
                    <a:pos x="127" y="396"/>
                  </a:cxn>
                  <a:cxn ang="0">
                    <a:pos x="173" y="375"/>
                  </a:cxn>
                  <a:cxn ang="0">
                    <a:pos x="221" y="372"/>
                  </a:cxn>
                  <a:cxn ang="0">
                    <a:pos x="169" y="282"/>
                  </a:cxn>
                  <a:cxn ang="0">
                    <a:pos x="185" y="227"/>
                  </a:cxn>
                  <a:cxn ang="0">
                    <a:pos x="143" y="192"/>
                  </a:cxn>
                  <a:cxn ang="0">
                    <a:pos x="145" y="98"/>
                  </a:cxn>
                  <a:cxn ang="0">
                    <a:pos x="169" y="53"/>
                  </a:cxn>
                  <a:cxn ang="0">
                    <a:pos x="213" y="20"/>
                  </a:cxn>
                  <a:cxn ang="0">
                    <a:pos x="231" y="0"/>
                  </a:cxn>
                  <a:cxn ang="0">
                    <a:pos x="241" y="34"/>
                  </a:cxn>
                  <a:cxn ang="0">
                    <a:pos x="331" y="18"/>
                  </a:cxn>
                  <a:cxn ang="0">
                    <a:pos x="467" y="34"/>
                  </a:cxn>
                  <a:cxn ang="0">
                    <a:pos x="559" y="106"/>
                  </a:cxn>
                  <a:cxn ang="0">
                    <a:pos x="565" y="180"/>
                  </a:cxn>
                  <a:cxn ang="0">
                    <a:pos x="505" y="220"/>
                  </a:cxn>
                  <a:cxn ang="0">
                    <a:pos x="475" y="208"/>
                  </a:cxn>
                  <a:cxn ang="0">
                    <a:pos x="377" y="309"/>
                  </a:cxn>
                  <a:cxn ang="0">
                    <a:pos x="427" y="460"/>
                  </a:cxn>
                  <a:cxn ang="0">
                    <a:pos x="361" y="520"/>
                  </a:cxn>
                  <a:cxn ang="0">
                    <a:pos x="357" y="580"/>
                  </a:cxn>
                  <a:cxn ang="0">
                    <a:pos x="338" y="677"/>
                  </a:cxn>
                  <a:cxn ang="0">
                    <a:pos x="413" y="690"/>
                  </a:cxn>
                  <a:cxn ang="0">
                    <a:pos x="445" y="718"/>
                  </a:cxn>
                  <a:cxn ang="0">
                    <a:pos x="449" y="806"/>
                  </a:cxn>
                  <a:cxn ang="0">
                    <a:pos x="479" y="856"/>
                  </a:cxn>
                  <a:cxn ang="0">
                    <a:pos x="513" y="926"/>
                  </a:cxn>
                  <a:cxn ang="0">
                    <a:pos x="521" y="992"/>
                  </a:cxn>
                  <a:cxn ang="0">
                    <a:pos x="473" y="1010"/>
                  </a:cxn>
                  <a:cxn ang="0">
                    <a:pos x="455" y="1000"/>
                  </a:cxn>
                  <a:cxn ang="0">
                    <a:pos x="421" y="1050"/>
                  </a:cxn>
                  <a:cxn ang="0">
                    <a:pos x="397" y="1023"/>
                  </a:cxn>
                  <a:cxn ang="0">
                    <a:pos x="367" y="1004"/>
                  </a:cxn>
                  <a:cxn ang="0">
                    <a:pos x="299" y="990"/>
                  </a:cxn>
                  <a:cxn ang="0">
                    <a:pos x="263" y="932"/>
                  </a:cxn>
                  <a:cxn ang="0">
                    <a:pos x="213" y="904"/>
                  </a:cxn>
                  <a:cxn ang="0">
                    <a:pos x="187" y="854"/>
                  </a:cxn>
                  <a:cxn ang="0">
                    <a:pos x="153" y="846"/>
                  </a:cxn>
                  <a:cxn ang="0">
                    <a:pos x="127" y="820"/>
                  </a:cxn>
                  <a:cxn ang="0">
                    <a:pos x="97" y="798"/>
                  </a:cxn>
                  <a:cxn ang="0">
                    <a:pos x="127" y="714"/>
                  </a:cxn>
                  <a:cxn ang="0">
                    <a:pos x="119" y="678"/>
                  </a:cxn>
                  <a:cxn ang="0">
                    <a:pos x="85" y="632"/>
                  </a:cxn>
                </a:cxnLst>
                <a:rect l="0" t="0" r="r" b="b"/>
                <a:pathLst>
                  <a:path w="575" h="1050">
                    <a:moveTo>
                      <a:pt x="85" y="632"/>
                    </a:moveTo>
                    <a:lnTo>
                      <a:pt x="79" y="616"/>
                    </a:lnTo>
                    <a:lnTo>
                      <a:pt x="65" y="604"/>
                    </a:lnTo>
                    <a:lnTo>
                      <a:pt x="17" y="594"/>
                    </a:lnTo>
                    <a:cubicBezTo>
                      <a:pt x="0" y="559"/>
                      <a:pt x="14" y="571"/>
                      <a:pt x="45" y="568"/>
                    </a:cubicBezTo>
                    <a:cubicBezTo>
                      <a:pt x="47" y="567"/>
                      <a:pt x="51" y="564"/>
                      <a:pt x="51" y="564"/>
                    </a:cubicBezTo>
                    <a:lnTo>
                      <a:pt x="35" y="562"/>
                    </a:lnTo>
                    <a:lnTo>
                      <a:pt x="59" y="496"/>
                    </a:lnTo>
                    <a:lnTo>
                      <a:pt x="79" y="484"/>
                    </a:lnTo>
                    <a:lnTo>
                      <a:pt x="53" y="418"/>
                    </a:lnTo>
                    <a:lnTo>
                      <a:pt x="133" y="420"/>
                    </a:lnTo>
                    <a:lnTo>
                      <a:pt x="127" y="396"/>
                    </a:lnTo>
                    <a:lnTo>
                      <a:pt x="147" y="402"/>
                    </a:lnTo>
                    <a:lnTo>
                      <a:pt x="173" y="375"/>
                    </a:lnTo>
                    <a:lnTo>
                      <a:pt x="211" y="384"/>
                    </a:lnTo>
                    <a:lnTo>
                      <a:pt x="221" y="372"/>
                    </a:lnTo>
                    <a:lnTo>
                      <a:pt x="213" y="326"/>
                    </a:lnTo>
                    <a:lnTo>
                      <a:pt x="169" y="282"/>
                    </a:lnTo>
                    <a:lnTo>
                      <a:pt x="161" y="252"/>
                    </a:lnTo>
                    <a:lnTo>
                      <a:pt x="185" y="227"/>
                    </a:lnTo>
                    <a:lnTo>
                      <a:pt x="155" y="194"/>
                    </a:lnTo>
                    <a:lnTo>
                      <a:pt x="143" y="192"/>
                    </a:lnTo>
                    <a:lnTo>
                      <a:pt x="148" y="147"/>
                    </a:lnTo>
                    <a:lnTo>
                      <a:pt x="145" y="98"/>
                    </a:lnTo>
                    <a:lnTo>
                      <a:pt x="169" y="86"/>
                    </a:lnTo>
                    <a:lnTo>
                      <a:pt x="169" y="53"/>
                    </a:lnTo>
                    <a:lnTo>
                      <a:pt x="184" y="33"/>
                    </a:lnTo>
                    <a:lnTo>
                      <a:pt x="213" y="20"/>
                    </a:lnTo>
                    <a:lnTo>
                      <a:pt x="219" y="8"/>
                    </a:lnTo>
                    <a:lnTo>
                      <a:pt x="231" y="0"/>
                    </a:lnTo>
                    <a:lnTo>
                      <a:pt x="239" y="14"/>
                    </a:lnTo>
                    <a:lnTo>
                      <a:pt x="241" y="34"/>
                    </a:lnTo>
                    <a:lnTo>
                      <a:pt x="251" y="40"/>
                    </a:lnTo>
                    <a:lnTo>
                      <a:pt x="331" y="18"/>
                    </a:lnTo>
                    <a:lnTo>
                      <a:pt x="395" y="32"/>
                    </a:lnTo>
                    <a:lnTo>
                      <a:pt x="467" y="34"/>
                    </a:lnTo>
                    <a:lnTo>
                      <a:pt x="519" y="72"/>
                    </a:lnTo>
                    <a:lnTo>
                      <a:pt x="559" y="106"/>
                    </a:lnTo>
                    <a:lnTo>
                      <a:pt x="575" y="154"/>
                    </a:lnTo>
                    <a:lnTo>
                      <a:pt x="565" y="180"/>
                    </a:lnTo>
                    <a:lnTo>
                      <a:pt x="535" y="204"/>
                    </a:lnTo>
                    <a:lnTo>
                      <a:pt x="505" y="220"/>
                    </a:lnTo>
                    <a:lnTo>
                      <a:pt x="493" y="216"/>
                    </a:lnTo>
                    <a:lnTo>
                      <a:pt x="475" y="208"/>
                    </a:lnTo>
                    <a:lnTo>
                      <a:pt x="423" y="252"/>
                    </a:lnTo>
                    <a:lnTo>
                      <a:pt x="377" y="309"/>
                    </a:lnTo>
                    <a:lnTo>
                      <a:pt x="423" y="418"/>
                    </a:lnTo>
                    <a:lnTo>
                      <a:pt x="427" y="460"/>
                    </a:lnTo>
                    <a:lnTo>
                      <a:pt x="411" y="478"/>
                    </a:lnTo>
                    <a:lnTo>
                      <a:pt x="361" y="520"/>
                    </a:lnTo>
                    <a:lnTo>
                      <a:pt x="345" y="536"/>
                    </a:lnTo>
                    <a:lnTo>
                      <a:pt x="357" y="580"/>
                    </a:lnTo>
                    <a:lnTo>
                      <a:pt x="347" y="640"/>
                    </a:lnTo>
                    <a:lnTo>
                      <a:pt x="338" y="677"/>
                    </a:lnTo>
                    <a:lnTo>
                      <a:pt x="375" y="690"/>
                    </a:lnTo>
                    <a:lnTo>
                      <a:pt x="413" y="690"/>
                    </a:lnTo>
                    <a:lnTo>
                      <a:pt x="443" y="698"/>
                    </a:lnTo>
                    <a:lnTo>
                      <a:pt x="445" y="718"/>
                    </a:lnTo>
                    <a:lnTo>
                      <a:pt x="437" y="764"/>
                    </a:lnTo>
                    <a:lnTo>
                      <a:pt x="449" y="806"/>
                    </a:lnTo>
                    <a:lnTo>
                      <a:pt x="479" y="836"/>
                    </a:lnTo>
                    <a:lnTo>
                      <a:pt x="479" y="856"/>
                    </a:lnTo>
                    <a:lnTo>
                      <a:pt x="509" y="910"/>
                    </a:lnTo>
                    <a:lnTo>
                      <a:pt x="513" y="926"/>
                    </a:lnTo>
                    <a:lnTo>
                      <a:pt x="503" y="960"/>
                    </a:lnTo>
                    <a:lnTo>
                      <a:pt x="521" y="992"/>
                    </a:lnTo>
                    <a:lnTo>
                      <a:pt x="511" y="1008"/>
                    </a:lnTo>
                    <a:lnTo>
                      <a:pt x="473" y="1010"/>
                    </a:lnTo>
                    <a:lnTo>
                      <a:pt x="465" y="994"/>
                    </a:lnTo>
                    <a:lnTo>
                      <a:pt x="455" y="1000"/>
                    </a:lnTo>
                    <a:lnTo>
                      <a:pt x="437" y="1026"/>
                    </a:lnTo>
                    <a:lnTo>
                      <a:pt x="421" y="1050"/>
                    </a:lnTo>
                    <a:lnTo>
                      <a:pt x="409" y="1048"/>
                    </a:lnTo>
                    <a:lnTo>
                      <a:pt x="397" y="1023"/>
                    </a:lnTo>
                    <a:lnTo>
                      <a:pt x="383" y="996"/>
                    </a:lnTo>
                    <a:lnTo>
                      <a:pt x="367" y="1004"/>
                    </a:lnTo>
                    <a:lnTo>
                      <a:pt x="327" y="992"/>
                    </a:lnTo>
                    <a:lnTo>
                      <a:pt x="299" y="990"/>
                    </a:lnTo>
                    <a:lnTo>
                      <a:pt x="271" y="942"/>
                    </a:lnTo>
                    <a:lnTo>
                      <a:pt x="263" y="932"/>
                    </a:lnTo>
                    <a:lnTo>
                      <a:pt x="233" y="930"/>
                    </a:lnTo>
                    <a:lnTo>
                      <a:pt x="213" y="904"/>
                    </a:lnTo>
                    <a:lnTo>
                      <a:pt x="195" y="878"/>
                    </a:lnTo>
                    <a:lnTo>
                      <a:pt x="187" y="854"/>
                    </a:lnTo>
                    <a:lnTo>
                      <a:pt x="169" y="868"/>
                    </a:lnTo>
                    <a:lnTo>
                      <a:pt x="153" y="846"/>
                    </a:lnTo>
                    <a:lnTo>
                      <a:pt x="127" y="836"/>
                    </a:lnTo>
                    <a:lnTo>
                      <a:pt x="127" y="820"/>
                    </a:lnTo>
                    <a:lnTo>
                      <a:pt x="109" y="810"/>
                    </a:lnTo>
                    <a:lnTo>
                      <a:pt x="97" y="798"/>
                    </a:lnTo>
                    <a:lnTo>
                      <a:pt x="95" y="776"/>
                    </a:lnTo>
                    <a:lnTo>
                      <a:pt x="127" y="714"/>
                    </a:lnTo>
                    <a:lnTo>
                      <a:pt x="113" y="688"/>
                    </a:lnTo>
                    <a:lnTo>
                      <a:pt x="119" y="678"/>
                    </a:lnTo>
                    <a:lnTo>
                      <a:pt x="119" y="664"/>
                    </a:lnTo>
                    <a:lnTo>
                      <a:pt x="85" y="632"/>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8" name="Freeform 43">
                <a:extLst>
                  <a:ext uri="{FF2B5EF4-FFF2-40B4-BE49-F238E27FC236}">
                    <a16:creationId xmlns:a16="http://schemas.microsoft.com/office/drawing/2014/main" xmlns="" id="{EEFAFBC8-73FD-4882-908A-8FB904F46F5F}"/>
                  </a:ext>
                </a:extLst>
              </p:cNvPr>
              <p:cNvSpPr>
                <a:spLocks/>
              </p:cNvSpPr>
              <p:nvPr/>
            </p:nvSpPr>
            <p:spPr bwMode="auto">
              <a:xfrm>
                <a:off x="3344" y="2058"/>
                <a:ext cx="702" cy="882"/>
              </a:xfrm>
              <a:custGeom>
                <a:avLst/>
                <a:gdLst/>
                <a:ahLst/>
                <a:cxnLst>
                  <a:cxn ang="0">
                    <a:pos x="166" y="796"/>
                  </a:cxn>
                  <a:cxn ang="0">
                    <a:pos x="172" y="746"/>
                  </a:cxn>
                  <a:cxn ang="0">
                    <a:pos x="140" y="672"/>
                  </a:cxn>
                  <a:cxn ang="0">
                    <a:pos x="98" y="598"/>
                  </a:cxn>
                  <a:cxn ang="0">
                    <a:pos x="106" y="532"/>
                  </a:cxn>
                  <a:cxn ang="0">
                    <a:pos x="38" y="528"/>
                  </a:cxn>
                  <a:cxn ang="0">
                    <a:pos x="10" y="474"/>
                  </a:cxn>
                  <a:cxn ang="0">
                    <a:pos x="6" y="372"/>
                  </a:cxn>
                  <a:cxn ang="0">
                    <a:pos x="74" y="314"/>
                  </a:cxn>
                  <a:cxn ang="0">
                    <a:pos x="88" y="263"/>
                  </a:cxn>
                  <a:cxn ang="0">
                    <a:pos x="42" y="148"/>
                  </a:cxn>
                  <a:cxn ang="0">
                    <a:pos x="88" y="88"/>
                  </a:cxn>
                  <a:cxn ang="0">
                    <a:pos x="154" y="54"/>
                  </a:cxn>
                  <a:cxn ang="0">
                    <a:pos x="198" y="42"/>
                  </a:cxn>
                  <a:cxn ang="0">
                    <a:pos x="234" y="8"/>
                  </a:cxn>
                  <a:cxn ang="0">
                    <a:pos x="266" y="0"/>
                  </a:cxn>
                  <a:cxn ang="0">
                    <a:pos x="288" y="50"/>
                  </a:cxn>
                  <a:cxn ang="0">
                    <a:pos x="326" y="112"/>
                  </a:cxn>
                  <a:cxn ang="0">
                    <a:pos x="358" y="180"/>
                  </a:cxn>
                  <a:cxn ang="0">
                    <a:pos x="386" y="246"/>
                  </a:cxn>
                  <a:cxn ang="0">
                    <a:pos x="450" y="268"/>
                  </a:cxn>
                  <a:cxn ang="0">
                    <a:pos x="578" y="276"/>
                  </a:cxn>
                  <a:cxn ang="0">
                    <a:pos x="584" y="312"/>
                  </a:cxn>
                  <a:cxn ang="0">
                    <a:pos x="550" y="308"/>
                  </a:cxn>
                  <a:cxn ang="0">
                    <a:pos x="610" y="364"/>
                  </a:cxn>
                  <a:cxn ang="0">
                    <a:pos x="662" y="376"/>
                  </a:cxn>
                  <a:cxn ang="0">
                    <a:pos x="702" y="404"/>
                  </a:cxn>
                  <a:cxn ang="0">
                    <a:pos x="636" y="470"/>
                  </a:cxn>
                  <a:cxn ang="0">
                    <a:pos x="558" y="624"/>
                  </a:cxn>
                  <a:cxn ang="0">
                    <a:pos x="506" y="744"/>
                  </a:cxn>
                  <a:cxn ang="0">
                    <a:pos x="508" y="816"/>
                  </a:cxn>
                  <a:cxn ang="0">
                    <a:pos x="454" y="882"/>
                  </a:cxn>
                  <a:cxn ang="0">
                    <a:pos x="435" y="863"/>
                  </a:cxn>
                  <a:cxn ang="0">
                    <a:pos x="364" y="806"/>
                  </a:cxn>
                  <a:cxn ang="0">
                    <a:pos x="330" y="796"/>
                  </a:cxn>
                  <a:cxn ang="0">
                    <a:pos x="307" y="807"/>
                  </a:cxn>
                  <a:cxn ang="0">
                    <a:pos x="260" y="828"/>
                  </a:cxn>
                  <a:cxn ang="0">
                    <a:pos x="220" y="844"/>
                  </a:cxn>
                </a:cxnLst>
                <a:rect l="0" t="0" r="r" b="b"/>
                <a:pathLst>
                  <a:path w="702" h="882">
                    <a:moveTo>
                      <a:pt x="184" y="830"/>
                    </a:moveTo>
                    <a:lnTo>
                      <a:pt x="166" y="796"/>
                    </a:lnTo>
                    <a:lnTo>
                      <a:pt x="174" y="760"/>
                    </a:lnTo>
                    <a:lnTo>
                      <a:pt x="172" y="746"/>
                    </a:lnTo>
                    <a:lnTo>
                      <a:pt x="142" y="692"/>
                    </a:lnTo>
                    <a:lnTo>
                      <a:pt x="140" y="672"/>
                    </a:lnTo>
                    <a:lnTo>
                      <a:pt x="110" y="642"/>
                    </a:lnTo>
                    <a:lnTo>
                      <a:pt x="98" y="598"/>
                    </a:lnTo>
                    <a:lnTo>
                      <a:pt x="110" y="550"/>
                    </a:lnTo>
                    <a:lnTo>
                      <a:pt x="106" y="532"/>
                    </a:lnTo>
                    <a:lnTo>
                      <a:pt x="74" y="526"/>
                    </a:lnTo>
                    <a:lnTo>
                      <a:pt x="38" y="528"/>
                    </a:lnTo>
                    <a:lnTo>
                      <a:pt x="0" y="514"/>
                    </a:lnTo>
                    <a:lnTo>
                      <a:pt x="10" y="474"/>
                    </a:lnTo>
                    <a:lnTo>
                      <a:pt x="20" y="416"/>
                    </a:lnTo>
                    <a:lnTo>
                      <a:pt x="6" y="372"/>
                    </a:lnTo>
                    <a:lnTo>
                      <a:pt x="24" y="356"/>
                    </a:lnTo>
                    <a:lnTo>
                      <a:pt x="74" y="314"/>
                    </a:lnTo>
                    <a:lnTo>
                      <a:pt x="90" y="294"/>
                    </a:lnTo>
                    <a:lnTo>
                      <a:pt x="88" y="263"/>
                    </a:lnTo>
                    <a:lnTo>
                      <a:pt x="82" y="248"/>
                    </a:lnTo>
                    <a:lnTo>
                      <a:pt x="42" y="148"/>
                    </a:lnTo>
                    <a:lnTo>
                      <a:pt x="76" y="101"/>
                    </a:lnTo>
                    <a:lnTo>
                      <a:pt x="88" y="88"/>
                    </a:lnTo>
                    <a:lnTo>
                      <a:pt x="138" y="44"/>
                    </a:lnTo>
                    <a:lnTo>
                      <a:pt x="154" y="54"/>
                    </a:lnTo>
                    <a:lnTo>
                      <a:pt x="168" y="58"/>
                    </a:lnTo>
                    <a:lnTo>
                      <a:pt x="198" y="42"/>
                    </a:lnTo>
                    <a:lnTo>
                      <a:pt x="228" y="20"/>
                    </a:lnTo>
                    <a:lnTo>
                      <a:pt x="234" y="8"/>
                    </a:lnTo>
                    <a:lnTo>
                      <a:pt x="254" y="12"/>
                    </a:lnTo>
                    <a:lnTo>
                      <a:pt x="266" y="0"/>
                    </a:lnTo>
                    <a:lnTo>
                      <a:pt x="276" y="30"/>
                    </a:lnTo>
                    <a:lnTo>
                      <a:pt x="288" y="50"/>
                    </a:lnTo>
                    <a:lnTo>
                      <a:pt x="306" y="62"/>
                    </a:lnTo>
                    <a:lnTo>
                      <a:pt x="326" y="112"/>
                    </a:lnTo>
                    <a:lnTo>
                      <a:pt x="356" y="156"/>
                    </a:lnTo>
                    <a:lnTo>
                      <a:pt x="358" y="180"/>
                    </a:lnTo>
                    <a:lnTo>
                      <a:pt x="338" y="232"/>
                    </a:lnTo>
                    <a:lnTo>
                      <a:pt x="386" y="246"/>
                    </a:lnTo>
                    <a:lnTo>
                      <a:pt x="412" y="256"/>
                    </a:lnTo>
                    <a:lnTo>
                      <a:pt x="450" y="268"/>
                    </a:lnTo>
                    <a:lnTo>
                      <a:pt x="508" y="278"/>
                    </a:lnTo>
                    <a:lnTo>
                      <a:pt x="578" y="276"/>
                    </a:lnTo>
                    <a:lnTo>
                      <a:pt x="594" y="284"/>
                    </a:lnTo>
                    <a:lnTo>
                      <a:pt x="584" y="312"/>
                    </a:lnTo>
                    <a:lnTo>
                      <a:pt x="564" y="322"/>
                    </a:lnTo>
                    <a:lnTo>
                      <a:pt x="550" y="308"/>
                    </a:lnTo>
                    <a:lnTo>
                      <a:pt x="552" y="366"/>
                    </a:lnTo>
                    <a:lnTo>
                      <a:pt x="610" y="364"/>
                    </a:lnTo>
                    <a:lnTo>
                      <a:pt x="626" y="360"/>
                    </a:lnTo>
                    <a:lnTo>
                      <a:pt x="662" y="376"/>
                    </a:lnTo>
                    <a:lnTo>
                      <a:pt x="698" y="386"/>
                    </a:lnTo>
                    <a:lnTo>
                      <a:pt x="702" y="404"/>
                    </a:lnTo>
                    <a:lnTo>
                      <a:pt x="692" y="424"/>
                    </a:lnTo>
                    <a:lnTo>
                      <a:pt x="636" y="470"/>
                    </a:lnTo>
                    <a:lnTo>
                      <a:pt x="576" y="572"/>
                    </a:lnTo>
                    <a:lnTo>
                      <a:pt x="558" y="624"/>
                    </a:lnTo>
                    <a:lnTo>
                      <a:pt x="584" y="644"/>
                    </a:lnTo>
                    <a:lnTo>
                      <a:pt x="506" y="744"/>
                    </a:lnTo>
                    <a:lnTo>
                      <a:pt x="494" y="782"/>
                    </a:lnTo>
                    <a:cubicBezTo>
                      <a:pt x="510" y="809"/>
                      <a:pt x="508" y="797"/>
                      <a:pt x="508" y="816"/>
                    </a:cubicBezTo>
                    <a:lnTo>
                      <a:pt x="466" y="880"/>
                    </a:lnTo>
                    <a:lnTo>
                      <a:pt x="454" y="882"/>
                    </a:lnTo>
                    <a:lnTo>
                      <a:pt x="460" y="858"/>
                    </a:lnTo>
                    <a:lnTo>
                      <a:pt x="435" y="863"/>
                    </a:lnTo>
                    <a:lnTo>
                      <a:pt x="412" y="843"/>
                    </a:lnTo>
                    <a:lnTo>
                      <a:pt x="364" y="806"/>
                    </a:lnTo>
                    <a:lnTo>
                      <a:pt x="364" y="784"/>
                    </a:lnTo>
                    <a:lnTo>
                      <a:pt x="330" y="796"/>
                    </a:lnTo>
                    <a:lnTo>
                      <a:pt x="314" y="786"/>
                    </a:lnTo>
                    <a:lnTo>
                      <a:pt x="307" y="807"/>
                    </a:lnTo>
                    <a:lnTo>
                      <a:pt x="284" y="820"/>
                    </a:lnTo>
                    <a:lnTo>
                      <a:pt x="260" y="828"/>
                    </a:lnTo>
                    <a:lnTo>
                      <a:pt x="246" y="828"/>
                    </a:lnTo>
                    <a:lnTo>
                      <a:pt x="220" y="844"/>
                    </a:lnTo>
                    <a:lnTo>
                      <a:pt x="184" y="830"/>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209" name="Freeform 44">
                <a:extLst>
                  <a:ext uri="{FF2B5EF4-FFF2-40B4-BE49-F238E27FC236}">
                    <a16:creationId xmlns:a16="http://schemas.microsoft.com/office/drawing/2014/main" xmlns="" id="{7EDB59CE-834B-435F-ABA3-3CE931A6C14C}"/>
                  </a:ext>
                </a:extLst>
              </p:cNvPr>
              <p:cNvSpPr>
                <a:spLocks/>
              </p:cNvSpPr>
              <p:nvPr/>
            </p:nvSpPr>
            <p:spPr bwMode="auto">
              <a:xfrm>
                <a:off x="2916" y="2700"/>
                <a:ext cx="1704" cy="1284"/>
              </a:xfrm>
              <a:custGeom>
                <a:avLst/>
                <a:gdLst/>
                <a:ahLst/>
                <a:cxnLst>
                  <a:cxn ang="0">
                    <a:pos x="418" y="646"/>
                  </a:cxn>
                  <a:cxn ang="0">
                    <a:pos x="298" y="552"/>
                  </a:cxn>
                  <a:cxn ang="0">
                    <a:pos x="70" y="352"/>
                  </a:cxn>
                  <a:cxn ang="0">
                    <a:pos x="184" y="310"/>
                  </a:cxn>
                  <a:cxn ang="0">
                    <a:pos x="156" y="202"/>
                  </a:cxn>
                  <a:cxn ang="0">
                    <a:pos x="14" y="112"/>
                  </a:cxn>
                  <a:cxn ang="0">
                    <a:pos x="152" y="38"/>
                  </a:cxn>
                  <a:cxn ang="0">
                    <a:pos x="288" y="78"/>
                  </a:cxn>
                  <a:cxn ang="0">
                    <a:pos x="388" y="186"/>
                  </a:cxn>
                  <a:cxn ang="0">
                    <a:pos x="506" y="248"/>
                  </a:cxn>
                  <a:cxn ang="0">
                    <a:pos x="612" y="186"/>
                  </a:cxn>
                  <a:cxn ang="0">
                    <a:pos x="730" y="166"/>
                  </a:cxn>
                  <a:cxn ang="0">
                    <a:pos x="794" y="166"/>
                  </a:cxn>
                  <a:cxn ang="0">
                    <a:pos x="902" y="224"/>
                  </a:cxn>
                  <a:cxn ang="0">
                    <a:pos x="978" y="210"/>
                  </a:cxn>
                  <a:cxn ang="0">
                    <a:pos x="1110" y="160"/>
                  </a:cxn>
                  <a:cxn ang="0">
                    <a:pos x="1200" y="224"/>
                  </a:cxn>
                  <a:cxn ang="0">
                    <a:pos x="1326" y="308"/>
                  </a:cxn>
                  <a:cxn ang="0">
                    <a:pos x="1370" y="380"/>
                  </a:cxn>
                  <a:cxn ang="0">
                    <a:pos x="1362" y="304"/>
                  </a:cxn>
                  <a:cxn ang="0">
                    <a:pos x="1378" y="286"/>
                  </a:cxn>
                  <a:cxn ang="0">
                    <a:pos x="1484" y="382"/>
                  </a:cxn>
                  <a:cxn ang="0">
                    <a:pos x="1566" y="398"/>
                  </a:cxn>
                  <a:cxn ang="0">
                    <a:pos x="1676" y="426"/>
                  </a:cxn>
                  <a:cxn ang="0">
                    <a:pos x="1698" y="480"/>
                  </a:cxn>
                  <a:cxn ang="0">
                    <a:pos x="1658" y="444"/>
                  </a:cxn>
                  <a:cxn ang="0">
                    <a:pos x="1556" y="568"/>
                  </a:cxn>
                  <a:cxn ang="0">
                    <a:pos x="1548" y="674"/>
                  </a:cxn>
                  <a:cxn ang="0">
                    <a:pos x="1534" y="734"/>
                  </a:cxn>
                  <a:cxn ang="0">
                    <a:pos x="1442" y="758"/>
                  </a:cxn>
                  <a:cxn ang="0">
                    <a:pos x="1378" y="836"/>
                  </a:cxn>
                  <a:cxn ang="0">
                    <a:pos x="1296" y="890"/>
                  </a:cxn>
                  <a:cxn ang="0">
                    <a:pos x="1368" y="946"/>
                  </a:cxn>
                  <a:cxn ang="0">
                    <a:pos x="1296" y="1070"/>
                  </a:cxn>
                  <a:cxn ang="0">
                    <a:pos x="1212" y="1070"/>
                  </a:cxn>
                  <a:cxn ang="0">
                    <a:pos x="1162" y="1110"/>
                  </a:cxn>
                  <a:cxn ang="0">
                    <a:pos x="1126" y="1170"/>
                  </a:cxn>
                  <a:cxn ang="0">
                    <a:pos x="1092" y="1272"/>
                  </a:cxn>
                  <a:cxn ang="0">
                    <a:pos x="1022" y="1230"/>
                  </a:cxn>
                  <a:cxn ang="0">
                    <a:pos x="1056" y="1068"/>
                  </a:cxn>
                  <a:cxn ang="0">
                    <a:pos x="1044" y="1012"/>
                  </a:cxn>
                  <a:cxn ang="0">
                    <a:pos x="978" y="964"/>
                  </a:cxn>
                  <a:cxn ang="0">
                    <a:pos x="860" y="932"/>
                  </a:cxn>
                  <a:cxn ang="0">
                    <a:pos x="802" y="852"/>
                  </a:cxn>
                  <a:cxn ang="0">
                    <a:pos x="594" y="854"/>
                  </a:cxn>
                  <a:cxn ang="0">
                    <a:pos x="520" y="792"/>
                  </a:cxn>
                  <a:cxn ang="0">
                    <a:pos x="480" y="778"/>
                  </a:cxn>
                  <a:cxn ang="0">
                    <a:pos x="412" y="750"/>
                  </a:cxn>
                </a:cxnLst>
                <a:rect l="0" t="0" r="r" b="b"/>
                <a:pathLst>
                  <a:path w="1704" h="1284">
                    <a:moveTo>
                      <a:pt x="412" y="750"/>
                    </a:moveTo>
                    <a:lnTo>
                      <a:pt x="416" y="734"/>
                    </a:lnTo>
                    <a:lnTo>
                      <a:pt x="434" y="718"/>
                    </a:lnTo>
                    <a:lnTo>
                      <a:pt x="418" y="646"/>
                    </a:lnTo>
                    <a:lnTo>
                      <a:pt x="402" y="616"/>
                    </a:lnTo>
                    <a:lnTo>
                      <a:pt x="406" y="602"/>
                    </a:lnTo>
                    <a:lnTo>
                      <a:pt x="370" y="598"/>
                    </a:lnTo>
                    <a:lnTo>
                      <a:pt x="298" y="552"/>
                    </a:lnTo>
                    <a:lnTo>
                      <a:pt x="266" y="522"/>
                    </a:lnTo>
                    <a:lnTo>
                      <a:pt x="240" y="510"/>
                    </a:lnTo>
                    <a:lnTo>
                      <a:pt x="100" y="418"/>
                    </a:lnTo>
                    <a:lnTo>
                      <a:pt x="70" y="352"/>
                    </a:lnTo>
                    <a:lnTo>
                      <a:pt x="82" y="360"/>
                    </a:lnTo>
                    <a:lnTo>
                      <a:pt x="166" y="364"/>
                    </a:lnTo>
                    <a:lnTo>
                      <a:pt x="180" y="340"/>
                    </a:lnTo>
                    <a:lnTo>
                      <a:pt x="184" y="310"/>
                    </a:lnTo>
                    <a:lnTo>
                      <a:pt x="146" y="246"/>
                    </a:lnTo>
                    <a:lnTo>
                      <a:pt x="142" y="232"/>
                    </a:lnTo>
                    <a:lnTo>
                      <a:pt x="154" y="218"/>
                    </a:lnTo>
                    <a:lnTo>
                      <a:pt x="156" y="202"/>
                    </a:lnTo>
                    <a:lnTo>
                      <a:pt x="100" y="140"/>
                    </a:lnTo>
                    <a:lnTo>
                      <a:pt x="82" y="152"/>
                    </a:lnTo>
                    <a:lnTo>
                      <a:pt x="48" y="126"/>
                    </a:lnTo>
                    <a:lnTo>
                      <a:pt x="14" y="112"/>
                    </a:lnTo>
                    <a:lnTo>
                      <a:pt x="0" y="108"/>
                    </a:lnTo>
                    <a:lnTo>
                      <a:pt x="88" y="0"/>
                    </a:lnTo>
                    <a:lnTo>
                      <a:pt x="136" y="16"/>
                    </a:lnTo>
                    <a:lnTo>
                      <a:pt x="152" y="38"/>
                    </a:lnTo>
                    <a:lnTo>
                      <a:pt x="208" y="54"/>
                    </a:lnTo>
                    <a:lnTo>
                      <a:pt x="228" y="86"/>
                    </a:lnTo>
                    <a:lnTo>
                      <a:pt x="270" y="84"/>
                    </a:lnTo>
                    <a:lnTo>
                      <a:pt x="288" y="78"/>
                    </a:lnTo>
                    <a:lnTo>
                      <a:pt x="322" y="126"/>
                    </a:lnTo>
                    <a:lnTo>
                      <a:pt x="358" y="132"/>
                    </a:lnTo>
                    <a:lnTo>
                      <a:pt x="380" y="170"/>
                    </a:lnTo>
                    <a:lnTo>
                      <a:pt x="388" y="186"/>
                    </a:lnTo>
                    <a:lnTo>
                      <a:pt x="424" y="188"/>
                    </a:lnTo>
                    <a:lnTo>
                      <a:pt x="452" y="198"/>
                    </a:lnTo>
                    <a:lnTo>
                      <a:pt x="474" y="190"/>
                    </a:lnTo>
                    <a:lnTo>
                      <a:pt x="506" y="248"/>
                    </a:lnTo>
                    <a:lnTo>
                      <a:pt x="550" y="192"/>
                    </a:lnTo>
                    <a:lnTo>
                      <a:pt x="562" y="204"/>
                    </a:lnTo>
                    <a:lnTo>
                      <a:pt x="608" y="202"/>
                    </a:lnTo>
                    <a:lnTo>
                      <a:pt x="612" y="186"/>
                    </a:lnTo>
                    <a:lnTo>
                      <a:pt x="644" y="202"/>
                    </a:lnTo>
                    <a:lnTo>
                      <a:pt x="680" y="184"/>
                    </a:lnTo>
                    <a:lnTo>
                      <a:pt x="710" y="178"/>
                    </a:lnTo>
                    <a:lnTo>
                      <a:pt x="730" y="166"/>
                    </a:lnTo>
                    <a:lnTo>
                      <a:pt x="744" y="144"/>
                    </a:lnTo>
                    <a:lnTo>
                      <a:pt x="764" y="152"/>
                    </a:lnTo>
                    <a:lnTo>
                      <a:pt x="788" y="146"/>
                    </a:lnTo>
                    <a:lnTo>
                      <a:pt x="794" y="166"/>
                    </a:lnTo>
                    <a:lnTo>
                      <a:pt x="864" y="222"/>
                    </a:lnTo>
                    <a:lnTo>
                      <a:pt x="884" y="214"/>
                    </a:lnTo>
                    <a:lnTo>
                      <a:pt x="884" y="240"/>
                    </a:lnTo>
                    <a:lnTo>
                      <a:pt x="902" y="224"/>
                    </a:lnTo>
                    <a:lnTo>
                      <a:pt x="918" y="232"/>
                    </a:lnTo>
                    <a:lnTo>
                      <a:pt x="940" y="204"/>
                    </a:lnTo>
                    <a:lnTo>
                      <a:pt x="964" y="222"/>
                    </a:lnTo>
                    <a:lnTo>
                      <a:pt x="978" y="210"/>
                    </a:lnTo>
                    <a:lnTo>
                      <a:pt x="980" y="180"/>
                    </a:lnTo>
                    <a:lnTo>
                      <a:pt x="1070" y="124"/>
                    </a:lnTo>
                    <a:lnTo>
                      <a:pt x="1086" y="126"/>
                    </a:lnTo>
                    <a:lnTo>
                      <a:pt x="1110" y="160"/>
                    </a:lnTo>
                    <a:lnTo>
                      <a:pt x="1142" y="178"/>
                    </a:lnTo>
                    <a:lnTo>
                      <a:pt x="1164" y="178"/>
                    </a:lnTo>
                    <a:lnTo>
                      <a:pt x="1180" y="198"/>
                    </a:lnTo>
                    <a:lnTo>
                      <a:pt x="1200" y="224"/>
                    </a:lnTo>
                    <a:lnTo>
                      <a:pt x="1248" y="266"/>
                    </a:lnTo>
                    <a:lnTo>
                      <a:pt x="1262" y="292"/>
                    </a:lnTo>
                    <a:lnTo>
                      <a:pt x="1312" y="302"/>
                    </a:lnTo>
                    <a:lnTo>
                      <a:pt x="1326" y="308"/>
                    </a:lnTo>
                    <a:lnTo>
                      <a:pt x="1334" y="336"/>
                    </a:lnTo>
                    <a:lnTo>
                      <a:pt x="1332" y="374"/>
                    </a:lnTo>
                    <a:lnTo>
                      <a:pt x="1352" y="386"/>
                    </a:lnTo>
                    <a:lnTo>
                      <a:pt x="1370" y="380"/>
                    </a:lnTo>
                    <a:lnTo>
                      <a:pt x="1376" y="362"/>
                    </a:lnTo>
                    <a:lnTo>
                      <a:pt x="1376" y="344"/>
                    </a:lnTo>
                    <a:lnTo>
                      <a:pt x="1362" y="338"/>
                    </a:lnTo>
                    <a:lnTo>
                      <a:pt x="1362" y="304"/>
                    </a:lnTo>
                    <a:lnTo>
                      <a:pt x="1352" y="280"/>
                    </a:lnTo>
                    <a:lnTo>
                      <a:pt x="1340" y="270"/>
                    </a:lnTo>
                    <a:lnTo>
                      <a:pt x="1352" y="266"/>
                    </a:lnTo>
                    <a:lnTo>
                      <a:pt x="1378" y="286"/>
                    </a:lnTo>
                    <a:lnTo>
                      <a:pt x="1396" y="302"/>
                    </a:lnTo>
                    <a:lnTo>
                      <a:pt x="1440" y="308"/>
                    </a:lnTo>
                    <a:lnTo>
                      <a:pt x="1454" y="338"/>
                    </a:lnTo>
                    <a:lnTo>
                      <a:pt x="1484" y="382"/>
                    </a:lnTo>
                    <a:lnTo>
                      <a:pt x="1516" y="396"/>
                    </a:lnTo>
                    <a:lnTo>
                      <a:pt x="1530" y="396"/>
                    </a:lnTo>
                    <a:lnTo>
                      <a:pt x="1542" y="384"/>
                    </a:lnTo>
                    <a:lnTo>
                      <a:pt x="1566" y="398"/>
                    </a:lnTo>
                    <a:lnTo>
                      <a:pt x="1636" y="388"/>
                    </a:lnTo>
                    <a:lnTo>
                      <a:pt x="1668" y="394"/>
                    </a:lnTo>
                    <a:lnTo>
                      <a:pt x="1660" y="424"/>
                    </a:lnTo>
                    <a:lnTo>
                      <a:pt x="1676" y="426"/>
                    </a:lnTo>
                    <a:lnTo>
                      <a:pt x="1674" y="438"/>
                    </a:lnTo>
                    <a:lnTo>
                      <a:pt x="1678" y="462"/>
                    </a:lnTo>
                    <a:lnTo>
                      <a:pt x="1704" y="460"/>
                    </a:lnTo>
                    <a:lnTo>
                      <a:pt x="1698" y="480"/>
                    </a:lnTo>
                    <a:lnTo>
                      <a:pt x="1672" y="484"/>
                    </a:lnTo>
                    <a:lnTo>
                      <a:pt x="1678" y="464"/>
                    </a:lnTo>
                    <a:lnTo>
                      <a:pt x="1676" y="434"/>
                    </a:lnTo>
                    <a:lnTo>
                      <a:pt x="1658" y="444"/>
                    </a:lnTo>
                    <a:lnTo>
                      <a:pt x="1628" y="458"/>
                    </a:lnTo>
                    <a:cubicBezTo>
                      <a:pt x="1610" y="483"/>
                      <a:pt x="1594" y="494"/>
                      <a:pt x="1594" y="522"/>
                    </a:cubicBezTo>
                    <a:lnTo>
                      <a:pt x="1576" y="528"/>
                    </a:lnTo>
                    <a:lnTo>
                      <a:pt x="1556" y="568"/>
                    </a:lnTo>
                    <a:lnTo>
                      <a:pt x="1560" y="590"/>
                    </a:lnTo>
                    <a:lnTo>
                      <a:pt x="1540" y="630"/>
                    </a:lnTo>
                    <a:lnTo>
                      <a:pt x="1538" y="662"/>
                    </a:lnTo>
                    <a:lnTo>
                      <a:pt x="1548" y="674"/>
                    </a:lnTo>
                    <a:lnTo>
                      <a:pt x="1556" y="684"/>
                    </a:lnTo>
                    <a:lnTo>
                      <a:pt x="1532" y="698"/>
                    </a:lnTo>
                    <a:lnTo>
                      <a:pt x="1528" y="712"/>
                    </a:lnTo>
                    <a:lnTo>
                      <a:pt x="1534" y="734"/>
                    </a:lnTo>
                    <a:lnTo>
                      <a:pt x="1502" y="754"/>
                    </a:lnTo>
                    <a:lnTo>
                      <a:pt x="1484" y="754"/>
                    </a:lnTo>
                    <a:lnTo>
                      <a:pt x="1456" y="754"/>
                    </a:lnTo>
                    <a:lnTo>
                      <a:pt x="1442" y="758"/>
                    </a:lnTo>
                    <a:lnTo>
                      <a:pt x="1428" y="778"/>
                    </a:lnTo>
                    <a:lnTo>
                      <a:pt x="1414" y="786"/>
                    </a:lnTo>
                    <a:lnTo>
                      <a:pt x="1388" y="824"/>
                    </a:lnTo>
                    <a:lnTo>
                      <a:pt x="1378" y="836"/>
                    </a:lnTo>
                    <a:lnTo>
                      <a:pt x="1362" y="846"/>
                    </a:lnTo>
                    <a:lnTo>
                      <a:pt x="1344" y="862"/>
                    </a:lnTo>
                    <a:lnTo>
                      <a:pt x="1316" y="888"/>
                    </a:lnTo>
                    <a:lnTo>
                      <a:pt x="1296" y="890"/>
                    </a:lnTo>
                    <a:lnTo>
                      <a:pt x="1318" y="914"/>
                    </a:lnTo>
                    <a:lnTo>
                      <a:pt x="1350" y="918"/>
                    </a:lnTo>
                    <a:lnTo>
                      <a:pt x="1348" y="942"/>
                    </a:lnTo>
                    <a:lnTo>
                      <a:pt x="1368" y="946"/>
                    </a:lnTo>
                    <a:lnTo>
                      <a:pt x="1362" y="966"/>
                    </a:lnTo>
                    <a:lnTo>
                      <a:pt x="1334" y="1010"/>
                    </a:lnTo>
                    <a:lnTo>
                      <a:pt x="1316" y="1040"/>
                    </a:lnTo>
                    <a:lnTo>
                      <a:pt x="1296" y="1070"/>
                    </a:lnTo>
                    <a:lnTo>
                      <a:pt x="1292" y="1086"/>
                    </a:lnTo>
                    <a:lnTo>
                      <a:pt x="1262" y="1102"/>
                    </a:lnTo>
                    <a:lnTo>
                      <a:pt x="1238" y="1088"/>
                    </a:lnTo>
                    <a:lnTo>
                      <a:pt x="1212" y="1070"/>
                    </a:lnTo>
                    <a:lnTo>
                      <a:pt x="1192" y="1056"/>
                    </a:lnTo>
                    <a:lnTo>
                      <a:pt x="1174" y="1080"/>
                    </a:lnTo>
                    <a:cubicBezTo>
                      <a:pt x="1171" y="1088"/>
                      <a:pt x="1169" y="1096"/>
                      <a:pt x="1166" y="1104"/>
                    </a:cubicBezTo>
                    <a:cubicBezTo>
                      <a:pt x="1165" y="1106"/>
                      <a:pt x="1162" y="1110"/>
                      <a:pt x="1162" y="1110"/>
                    </a:cubicBezTo>
                    <a:lnTo>
                      <a:pt x="1152" y="1118"/>
                    </a:lnTo>
                    <a:lnTo>
                      <a:pt x="1144" y="1138"/>
                    </a:lnTo>
                    <a:lnTo>
                      <a:pt x="1142" y="1150"/>
                    </a:lnTo>
                    <a:lnTo>
                      <a:pt x="1126" y="1170"/>
                    </a:lnTo>
                    <a:lnTo>
                      <a:pt x="1118" y="1188"/>
                    </a:lnTo>
                    <a:lnTo>
                      <a:pt x="1118" y="1204"/>
                    </a:lnTo>
                    <a:lnTo>
                      <a:pt x="1096" y="1232"/>
                    </a:lnTo>
                    <a:lnTo>
                      <a:pt x="1092" y="1272"/>
                    </a:lnTo>
                    <a:lnTo>
                      <a:pt x="1088" y="1284"/>
                    </a:lnTo>
                    <a:lnTo>
                      <a:pt x="1062" y="1284"/>
                    </a:lnTo>
                    <a:lnTo>
                      <a:pt x="1044" y="1264"/>
                    </a:lnTo>
                    <a:lnTo>
                      <a:pt x="1022" y="1230"/>
                    </a:lnTo>
                    <a:lnTo>
                      <a:pt x="1028" y="1206"/>
                    </a:lnTo>
                    <a:lnTo>
                      <a:pt x="1032" y="1148"/>
                    </a:lnTo>
                    <a:lnTo>
                      <a:pt x="1028" y="1088"/>
                    </a:lnTo>
                    <a:lnTo>
                      <a:pt x="1056" y="1068"/>
                    </a:lnTo>
                    <a:lnTo>
                      <a:pt x="1072" y="1046"/>
                    </a:lnTo>
                    <a:lnTo>
                      <a:pt x="1058" y="1030"/>
                    </a:lnTo>
                    <a:lnTo>
                      <a:pt x="1040" y="1028"/>
                    </a:lnTo>
                    <a:lnTo>
                      <a:pt x="1044" y="1012"/>
                    </a:lnTo>
                    <a:lnTo>
                      <a:pt x="1040" y="998"/>
                    </a:lnTo>
                    <a:lnTo>
                      <a:pt x="1036" y="984"/>
                    </a:lnTo>
                    <a:lnTo>
                      <a:pt x="986" y="988"/>
                    </a:lnTo>
                    <a:lnTo>
                      <a:pt x="978" y="964"/>
                    </a:lnTo>
                    <a:lnTo>
                      <a:pt x="972" y="954"/>
                    </a:lnTo>
                    <a:lnTo>
                      <a:pt x="954" y="950"/>
                    </a:lnTo>
                    <a:lnTo>
                      <a:pt x="870" y="990"/>
                    </a:lnTo>
                    <a:lnTo>
                      <a:pt x="860" y="932"/>
                    </a:lnTo>
                    <a:lnTo>
                      <a:pt x="848" y="914"/>
                    </a:lnTo>
                    <a:lnTo>
                      <a:pt x="810" y="888"/>
                    </a:lnTo>
                    <a:lnTo>
                      <a:pt x="802" y="874"/>
                    </a:lnTo>
                    <a:lnTo>
                      <a:pt x="802" y="852"/>
                    </a:lnTo>
                    <a:lnTo>
                      <a:pt x="794" y="838"/>
                    </a:lnTo>
                    <a:lnTo>
                      <a:pt x="722" y="860"/>
                    </a:lnTo>
                    <a:lnTo>
                      <a:pt x="634" y="866"/>
                    </a:lnTo>
                    <a:lnTo>
                      <a:pt x="594" y="854"/>
                    </a:lnTo>
                    <a:lnTo>
                      <a:pt x="560" y="848"/>
                    </a:lnTo>
                    <a:lnTo>
                      <a:pt x="532" y="844"/>
                    </a:lnTo>
                    <a:lnTo>
                      <a:pt x="520" y="818"/>
                    </a:lnTo>
                    <a:lnTo>
                      <a:pt x="520" y="792"/>
                    </a:lnTo>
                    <a:lnTo>
                      <a:pt x="528" y="774"/>
                    </a:lnTo>
                    <a:lnTo>
                      <a:pt x="524" y="762"/>
                    </a:lnTo>
                    <a:lnTo>
                      <a:pt x="506" y="768"/>
                    </a:lnTo>
                    <a:lnTo>
                      <a:pt x="480" y="778"/>
                    </a:lnTo>
                    <a:lnTo>
                      <a:pt x="464" y="768"/>
                    </a:lnTo>
                    <a:lnTo>
                      <a:pt x="450" y="756"/>
                    </a:lnTo>
                    <a:lnTo>
                      <a:pt x="434" y="752"/>
                    </a:lnTo>
                    <a:lnTo>
                      <a:pt x="412" y="750"/>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grpSp>
        <p:sp>
          <p:nvSpPr>
            <p:cNvPr id="197" name="Freeform 45">
              <a:extLst>
                <a:ext uri="{FF2B5EF4-FFF2-40B4-BE49-F238E27FC236}">
                  <a16:creationId xmlns:a16="http://schemas.microsoft.com/office/drawing/2014/main" xmlns="" id="{8F74DEF9-7F8B-489A-961E-5833759A287D}"/>
                </a:ext>
              </a:extLst>
            </p:cNvPr>
            <p:cNvSpPr>
              <a:spLocks/>
            </p:cNvSpPr>
            <p:nvPr/>
          </p:nvSpPr>
          <p:spPr bwMode="auto">
            <a:xfrm>
              <a:off x="1433" y="1719"/>
              <a:ext cx="2376" cy="1752"/>
            </a:xfrm>
            <a:custGeom>
              <a:avLst/>
              <a:gdLst/>
              <a:ahLst/>
              <a:cxnLst>
                <a:cxn ang="0">
                  <a:pos x="1242" y="48"/>
                </a:cxn>
                <a:cxn ang="0">
                  <a:pos x="1061" y="180"/>
                </a:cxn>
                <a:cxn ang="0">
                  <a:pos x="973" y="246"/>
                </a:cxn>
                <a:cxn ang="0">
                  <a:pos x="819" y="279"/>
                </a:cxn>
                <a:cxn ang="0">
                  <a:pos x="560" y="279"/>
                </a:cxn>
                <a:cxn ang="0">
                  <a:pos x="461" y="307"/>
                </a:cxn>
                <a:cxn ang="0">
                  <a:pos x="351" y="329"/>
                </a:cxn>
                <a:cxn ang="0">
                  <a:pos x="301" y="356"/>
                </a:cxn>
                <a:cxn ang="0">
                  <a:pos x="263" y="532"/>
                </a:cxn>
                <a:cxn ang="0">
                  <a:pos x="174" y="1017"/>
                </a:cxn>
                <a:cxn ang="0">
                  <a:pos x="97" y="1039"/>
                </a:cxn>
                <a:cxn ang="0">
                  <a:pos x="59" y="1138"/>
                </a:cxn>
                <a:cxn ang="0">
                  <a:pos x="15" y="1402"/>
                </a:cxn>
                <a:cxn ang="0">
                  <a:pos x="119" y="1600"/>
                </a:cxn>
                <a:cxn ang="0">
                  <a:pos x="439" y="1573"/>
                </a:cxn>
                <a:cxn ang="0">
                  <a:pos x="565" y="1551"/>
                </a:cxn>
                <a:cxn ang="0">
                  <a:pos x="752" y="1567"/>
                </a:cxn>
                <a:cxn ang="0">
                  <a:pos x="874" y="1606"/>
                </a:cxn>
                <a:cxn ang="0">
                  <a:pos x="978" y="1633"/>
                </a:cxn>
                <a:cxn ang="0">
                  <a:pos x="1000" y="1677"/>
                </a:cxn>
                <a:cxn ang="0">
                  <a:pos x="1039" y="1738"/>
                </a:cxn>
                <a:cxn ang="0">
                  <a:pos x="1116" y="1749"/>
                </a:cxn>
                <a:cxn ang="0">
                  <a:pos x="1193" y="1743"/>
                </a:cxn>
                <a:cxn ang="0">
                  <a:pos x="1242" y="1683"/>
                </a:cxn>
                <a:cxn ang="0">
                  <a:pos x="1380" y="1666"/>
                </a:cxn>
                <a:cxn ang="0">
                  <a:pos x="1397" y="1661"/>
                </a:cxn>
                <a:cxn ang="0">
                  <a:pos x="1419" y="1628"/>
                </a:cxn>
                <a:cxn ang="0">
                  <a:pos x="1452" y="1556"/>
                </a:cxn>
                <a:cxn ang="0">
                  <a:pos x="1529" y="1534"/>
                </a:cxn>
                <a:cxn ang="0">
                  <a:pos x="1584" y="1507"/>
                </a:cxn>
                <a:cxn ang="0">
                  <a:pos x="1727" y="1562"/>
                </a:cxn>
                <a:cxn ang="0">
                  <a:pos x="1793" y="1611"/>
                </a:cxn>
                <a:cxn ang="0">
                  <a:pos x="1815" y="1661"/>
                </a:cxn>
                <a:cxn ang="0">
                  <a:pos x="2019" y="1705"/>
                </a:cxn>
                <a:cxn ang="0">
                  <a:pos x="2178" y="1672"/>
                </a:cxn>
                <a:cxn ang="0">
                  <a:pos x="2233" y="1463"/>
                </a:cxn>
                <a:cxn ang="0">
                  <a:pos x="2244" y="1407"/>
                </a:cxn>
                <a:cxn ang="0">
                  <a:pos x="2299" y="1374"/>
                </a:cxn>
                <a:cxn ang="0">
                  <a:pos x="2343" y="1325"/>
                </a:cxn>
                <a:cxn ang="0">
                  <a:pos x="2376" y="1237"/>
                </a:cxn>
                <a:cxn ang="0">
                  <a:pos x="2272" y="802"/>
                </a:cxn>
                <a:cxn ang="0">
                  <a:pos x="2233" y="626"/>
                </a:cxn>
                <a:cxn ang="0">
                  <a:pos x="2222" y="571"/>
                </a:cxn>
                <a:cxn ang="0">
                  <a:pos x="2178" y="505"/>
                </a:cxn>
                <a:cxn ang="0">
                  <a:pos x="2167" y="472"/>
                </a:cxn>
                <a:cxn ang="0">
                  <a:pos x="2140" y="362"/>
                </a:cxn>
                <a:cxn ang="0">
                  <a:pos x="1958" y="307"/>
                </a:cxn>
                <a:cxn ang="0">
                  <a:pos x="1886" y="279"/>
                </a:cxn>
                <a:cxn ang="0">
                  <a:pos x="1804" y="268"/>
                </a:cxn>
                <a:cxn ang="0">
                  <a:pos x="1776" y="230"/>
                </a:cxn>
                <a:cxn ang="0">
                  <a:pos x="1688" y="125"/>
                </a:cxn>
                <a:cxn ang="0">
                  <a:pos x="1540" y="81"/>
                </a:cxn>
                <a:cxn ang="0">
                  <a:pos x="1358" y="42"/>
                </a:cxn>
                <a:cxn ang="0">
                  <a:pos x="1242" y="48"/>
                </a:cxn>
              </a:cxnLst>
              <a:rect l="0" t="0" r="r" b="b"/>
              <a:pathLst>
                <a:path w="2376" h="1752">
                  <a:moveTo>
                    <a:pt x="1242" y="48"/>
                  </a:moveTo>
                  <a:cubicBezTo>
                    <a:pt x="1167" y="134"/>
                    <a:pt x="1221" y="82"/>
                    <a:pt x="1061" y="180"/>
                  </a:cubicBezTo>
                  <a:cubicBezTo>
                    <a:pt x="1030" y="199"/>
                    <a:pt x="1005" y="229"/>
                    <a:pt x="973" y="246"/>
                  </a:cubicBezTo>
                  <a:cubicBezTo>
                    <a:pt x="915" y="277"/>
                    <a:pt x="879" y="274"/>
                    <a:pt x="819" y="279"/>
                  </a:cubicBezTo>
                  <a:cubicBezTo>
                    <a:pt x="744" y="277"/>
                    <a:pt x="639" y="269"/>
                    <a:pt x="560" y="279"/>
                  </a:cubicBezTo>
                  <a:cubicBezTo>
                    <a:pt x="529" y="283"/>
                    <a:pt x="495" y="302"/>
                    <a:pt x="461" y="307"/>
                  </a:cubicBezTo>
                  <a:cubicBezTo>
                    <a:pt x="418" y="321"/>
                    <a:pt x="400" y="324"/>
                    <a:pt x="351" y="329"/>
                  </a:cubicBezTo>
                  <a:cubicBezTo>
                    <a:pt x="326" y="335"/>
                    <a:pt x="316" y="335"/>
                    <a:pt x="301" y="356"/>
                  </a:cubicBezTo>
                  <a:cubicBezTo>
                    <a:pt x="286" y="415"/>
                    <a:pt x="272" y="472"/>
                    <a:pt x="263" y="532"/>
                  </a:cubicBezTo>
                  <a:cubicBezTo>
                    <a:pt x="261" y="595"/>
                    <a:pt x="294" y="937"/>
                    <a:pt x="174" y="1017"/>
                  </a:cubicBezTo>
                  <a:cubicBezTo>
                    <a:pt x="165" y="1023"/>
                    <a:pt x="103" y="1038"/>
                    <a:pt x="97" y="1039"/>
                  </a:cubicBezTo>
                  <a:cubicBezTo>
                    <a:pt x="61" y="1065"/>
                    <a:pt x="67" y="1096"/>
                    <a:pt x="59" y="1138"/>
                  </a:cubicBezTo>
                  <a:cubicBezTo>
                    <a:pt x="42" y="1225"/>
                    <a:pt x="35" y="1315"/>
                    <a:pt x="15" y="1402"/>
                  </a:cubicBezTo>
                  <a:cubicBezTo>
                    <a:pt x="21" y="1543"/>
                    <a:pt x="0" y="1541"/>
                    <a:pt x="119" y="1600"/>
                  </a:cubicBezTo>
                  <a:cubicBezTo>
                    <a:pt x="235" y="1597"/>
                    <a:pt x="329" y="1595"/>
                    <a:pt x="439" y="1573"/>
                  </a:cubicBezTo>
                  <a:cubicBezTo>
                    <a:pt x="473" y="1550"/>
                    <a:pt x="525" y="1555"/>
                    <a:pt x="565" y="1551"/>
                  </a:cubicBezTo>
                  <a:cubicBezTo>
                    <a:pt x="629" y="1554"/>
                    <a:pt x="689" y="1560"/>
                    <a:pt x="752" y="1567"/>
                  </a:cubicBezTo>
                  <a:cubicBezTo>
                    <a:pt x="795" y="1578"/>
                    <a:pt x="831" y="1594"/>
                    <a:pt x="874" y="1606"/>
                  </a:cubicBezTo>
                  <a:cubicBezTo>
                    <a:pt x="909" y="1616"/>
                    <a:pt x="978" y="1633"/>
                    <a:pt x="978" y="1633"/>
                  </a:cubicBezTo>
                  <a:cubicBezTo>
                    <a:pt x="999" y="1646"/>
                    <a:pt x="1009" y="1652"/>
                    <a:pt x="1000" y="1677"/>
                  </a:cubicBezTo>
                  <a:cubicBezTo>
                    <a:pt x="1005" y="1707"/>
                    <a:pt x="1004" y="1732"/>
                    <a:pt x="1039" y="1738"/>
                  </a:cubicBezTo>
                  <a:cubicBezTo>
                    <a:pt x="1065" y="1743"/>
                    <a:pt x="1116" y="1749"/>
                    <a:pt x="1116" y="1749"/>
                  </a:cubicBezTo>
                  <a:cubicBezTo>
                    <a:pt x="1142" y="1747"/>
                    <a:pt x="1169" y="1752"/>
                    <a:pt x="1193" y="1743"/>
                  </a:cubicBezTo>
                  <a:cubicBezTo>
                    <a:pt x="1216" y="1734"/>
                    <a:pt x="1215" y="1693"/>
                    <a:pt x="1242" y="1683"/>
                  </a:cubicBezTo>
                  <a:cubicBezTo>
                    <a:pt x="1288" y="1666"/>
                    <a:pt x="1330" y="1669"/>
                    <a:pt x="1380" y="1666"/>
                  </a:cubicBezTo>
                  <a:cubicBezTo>
                    <a:pt x="1386" y="1664"/>
                    <a:pt x="1393" y="1665"/>
                    <a:pt x="1397" y="1661"/>
                  </a:cubicBezTo>
                  <a:cubicBezTo>
                    <a:pt x="1406" y="1652"/>
                    <a:pt x="1419" y="1628"/>
                    <a:pt x="1419" y="1628"/>
                  </a:cubicBezTo>
                  <a:cubicBezTo>
                    <a:pt x="1424" y="1612"/>
                    <a:pt x="1444" y="1564"/>
                    <a:pt x="1452" y="1556"/>
                  </a:cubicBezTo>
                  <a:cubicBezTo>
                    <a:pt x="1457" y="1551"/>
                    <a:pt x="1529" y="1534"/>
                    <a:pt x="1529" y="1534"/>
                  </a:cubicBezTo>
                  <a:cubicBezTo>
                    <a:pt x="1549" y="1520"/>
                    <a:pt x="1561" y="1514"/>
                    <a:pt x="1584" y="1507"/>
                  </a:cubicBezTo>
                  <a:cubicBezTo>
                    <a:pt x="1664" y="1514"/>
                    <a:pt x="1665" y="1512"/>
                    <a:pt x="1727" y="1562"/>
                  </a:cubicBezTo>
                  <a:cubicBezTo>
                    <a:pt x="1748" y="1579"/>
                    <a:pt x="1793" y="1611"/>
                    <a:pt x="1793" y="1611"/>
                  </a:cubicBezTo>
                  <a:cubicBezTo>
                    <a:pt x="1802" y="1625"/>
                    <a:pt x="1805" y="1650"/>
                    <a:pt x="1815" y="1661"/>
                  </a:cubicBezTo>
                  <a:cubicBezTo>
                    <a:pt x="1855" y="1708"/>
                    <a:pt x="1977" y="1703"/>
                    <a:pt x="2019" y="1705"/>
                  </a:cubicBezTo>
                  <a:cubicBezTo>
                    <a:pt x="2079" y="1700"/>
                    <a:pt x="2121" y="1686"/>
                    <a:pt x="2178" y="1672"/>
                  </a:cubicBezTo>
                  <a:cubicBezTo>
                    <a:pt x="2201" y="1603"/>
                    <a:pt x="2217" y="1534"/>
                    <a:pt x="2233" y="1463"/>
                  </a:cubicBezTo>
                  <a:cubicBezTo>
                    <a:pt x="2237" y="1444"/>
                    <a:pt x="2233" y="1423"/>
                    <a:pt x="2244" y="1407"/>
                  </a:cubicBezTo>
                  <a:cubicBezTo>
                    <a:pt x="2255" y="1391"/>
                    <a:pt x="2283" y="1385"/>
                    <a:pt x="2299" y="1374"/>
                  </a:cubicBezTo>
                  <a:cubicBezTo>
                    <a:pt x="2311" y="1356"/>
                    <a:pt x="2343" y="1325"/>
                    <a:pt x="2343" y="1325"/>
                  </a:cubicBezTo>
                  <a:cubicBezTo>
                    <a:pt x="2354" y="1295"/>
                    <a:pt x="2369" y="1269"/>
                    <a:pt x="2376" y="1237"/>
                  </a:cubicBezTo>
                  <a:cubicBezTo>
                    <a:pt x="2371" y="1069"/>
                    <a:pt x="2356" y="949"/>
                    <a:pt x="2272" y="802"/>
                  </a:cubicBezTo>
                  <a:cubicBezTo>
                    <a:pt x="2260" y="742"/>
                    <a:pt x="2248" y="685"/>
                    <a:pt x="2233" y="626"/>
                  </a:cubicBezTo>
                  <a:cubicBezTo>
                    <a:pt x="2228" y="608"/>
                    <a:pt x="2230" y="588"/>
                    <a:pt x="2222" y="571"/>
                  </a:cubicBezTo>
                  <a:cubicBezTo>
                    <a:pt x="2211" y="547"/>
                    <a:pt x="2191" y="528"/>
                    <a:pt x="2178" y="505"/>
                  </a:cubicBezTo>
                  <a:cubicBezTo>
                    <a:pt x="2172" y="495"/>
                    <a:pt x="2171" y="483"/>
                    <a:pt x="2167" y="472"/>
                  </a:cubicBezTo>
                  <a:cubicBezTo>
                    <a:pt x="2163" y="445"/>
                    <a:pt x="2155" y="384"/>
                    <a:pt x="2140" y="362"/>
                  </a:cubicBezTo>
                  <a:cubicBezTo>
                    <a:pt x="2103" y="310"/>
                    <a:pt x="2014" y="312"/>
                    <a:pt x="1958" y="307"/>
                  </a:cubicBezTo>
                  <a:cubicBezTo>
                    <a:pt x="1934" y="298"/>
                    <a:pt x="1911" y="283"/>
                    <a:pt x="1886" y="279"/>
                  </a:cubicBezTo>
                  <a:cubicBezTo>
                    <a:pt x="1859" y="275"/>
                    <a:pt x="1804" y="268"/>
                    <a:pt x="1804" y="268"/>
                  </a:cubicBezTo>
                  <a:cubicBezTo>
                    <a:pt x="1773" y="259"/>
                    <a:pt x="1768" y="263"/>
                    <a:pt x="1776" y="230"/>
                  </a:cubicBezTo>
                  <a:cubicBezTo>
                    <a:pt x="1769" y="175"/>
                    <a:pt x="1743" y="143"/>
                    <a:pt x="1688" y="125"/>
                  </a:cubicBezTo>
                  <a:cubicBezTo>
                    <a:pt x="1645" y="95"/>
                    <a:pt x="1590" y="94"/>
                    <a:pt x="1540" y="81"/>
                  </a:cubicBezTo>
                  <a:cubicBezTo>
                    <a:pt x="1478" y="65"/>
                    <a:pt x="1422" y="49"/>
                    <a:pt x="1358" y="42"/>
                  </a:cubicBezTo>
                  <a:cubicBezTo>
                    <a:pt x="1328" y="35"/>
                    <a:pt x="1242" y="0"/>
                    <a:pt x="1242" y="48"/>
                  </a:cubicBez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grpSp>
      <p:grpSp>
        <p:nvGrpSpPr>
          <p:cNvPr id="210" name="Gruppieren 209">
            <a:extLst>
              <a:ext uri="{FF2B5EF4-FFF2-40B4-BE49-F238E27FC236}">
                <a16:creationId xmlns:a16="http://schemas.microsoft.com/office/drawing/2014/main" xmlns="" id="{4FA59B0B-8B3A-4131-A45E-2F9D5FDEA61B}"/>
              </a:ext>
            </a:extLst>
          </p:cNvPr>
          <p:cNvGrpSpPr/>
          <p:nvPr/>
        </p:nvGrpSpPr>
        <p:grpSpPr bwMode="gray">
          <a:xfrm>
            <a:off x="609933" y="4650934"/>
            <a:ext cx="219278" cy="233812"/>
            <a:chOff x="5541963" y="-3381375"/>
            <a:chExt cx="550862" cy="587375"/>
          </a:xfrm>
          <a:solidFill>
            <a:srgbClr val="A4A399"/>
          </a:solidFill>
        </p:grpSpPr>
        <p:sp>
          <p:nvSpPr>
            <p:cNvPr id="211" name="Oval 203">
              <a:extLst>
                <a:ext uri="{FF2B5EF4-FFF2-40B4-BE49-F238E27FC236}">
                  <a16:creationId xmlns:a16="http://schemas.microsoft.com/office/drawing/2014/main" xmlns="" id="{874C5F6C-6935-47B8-9B50-C13985958604}"/>
                </a:ext>
              </a:extLst>
            </p:cNvPr>
            <p:cNvSpPr>
              <a:spLocks noChangeArrowheads="1"/>
            </p:cNvSpPr>
            <p:nvPr/>
          </p:nvSpPr>
          <p:spPr bwMode="gray">
            <a:xfrm>
              <a:off x="5954713" y="-3351213"/>
              <a:ext cx="100012"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12" name="Freeform 204">
              <a:extLst>
                <a:ext uri="{FF2B5EF4-FFF2-40B4-BE49-F238E27FC236}">
                  <a16:creationId xmlns:a16="http://schemas.microsoft.com/office/drawing/2014/main" xmlns="" id="{BE2B52FF-838D-462D-9B64-4B300FAE242E}"/>
                </a:ext>
              </a:extLst>
            </p:cNvPr>
            <p:cNvSpPr>
              <a:spLocks/>
            </p:cNvSpPr>
            <p:nvPr/>
          </p:nvSpPr>
          <p:spPr bwMode="gray">
            <a:xfrm>
              <a:off x="5946775" y="-3232150"/>
              <a:ext cx="146050" cy="355600"/>
            </a:xfrm>
            <a:custGeom>
              <a:avLst/>
              <a:gdLst>
                <a:gd name="T0" fmla="*/ 29 w 39"/>
                <a:gd name="T1" fmla="*/ 0 h 95"/>
                <a:gd name="T2" fmla="*/ 3 w 39"/>
                <a:gd name="T3" fmla="*/ 0 h 95"/>
                <a:gd name="T4" fmla="*/ 6 w 39"/>
                <a:gd name="T5" fmla="*/ 10 h 95"/>
                <a:gd name="T6" fmla="*/ 6 w 39"/>
                <a:gd name="T7" fmla="*/ 48 h 95"/>
                <a:gd name="T8" fmla="*/ 0 w 39"/>
                <a:gd name="T9" fmla="*/ 61 h 95"/>
                <a:gd name="T10" fmla="*/ 0 w 39"/>
                <a:gd name="T11" fmla="*/ 87 h 95"/>
                <a:gd name="T12" fmla="*/ 8 w 39"/>
                <a:gd name="T13" fmla="*/ 95 h 95"/>
                <a:gd name="T14" fmla="*/ 16 w 39"/>
                <a:gd name="T15" fmla="*/ 88 h 95"/>
                <a:gd name="T16" fmla="*/ 23 w 39"/>
                <a:gd name="T17" fmla="*/ 95 h 95"/>
                <a:gd name="T18" fmla="*/ 31 w 39"/>
                <a:gd name="T19" fmla="*/ 87 h 95"/>
                <a:gd name="T20" fmla="*/ 31 w 39"/>
                <a:gd name="T21" fmla="*/ 50 h 95"/>
                <a:gd name="T22" fmla="*/ 39 w 39"/>
                <a:gd name="T23" fmla="*/ 40 h 95"/>
                <a:gd name="T24" fmla="*/ 39 w 39"/>
                <a:gd name="T25" fmla="*/ 11 h 95"/>
                <a:gd name="T26" fmla="*/ 29 w 39"/>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95">
                  <a:moveTo>
                    <a:pt x="29" y="0"/>
                  </a:moveTo>
                  <a:cubicBezTo>
                    <a:pt x="3" y="0"/>
                    <a:pt x="3" y="0"/>
                    <a:pt x="3" y="0"/>
                  </a:cubicBezTo>
                  <a:cubicBezTo>
                    <a:pt x="5" y="3"/>
                    <a:pt x="6" y="7"/>
                    <a:pt x="6" y="10"/>
                  </a:cubicBezTo>
                  <a:cubicBezTo>
                    <a:pt x="6" y="48"/>
                    <a:pt x="6" y="48"/>
                    <a:pt x="6" y="48"/>
                  </a:cubicBezTo>
                  <a:cubicBezTo>
                    <a:pt x="6" y="53"/>
                    <a:pt x="4" y="58"/>
                    <a:pt x="0" y="61"/>
                  </a:cubicBezTo>
                  <a:cubicBezTo>
                    <a:pt x="0" y="87"/>
                    <a:pt x="0" y="87"/>
                    <a:pt x="0" y="87"/>
                  </a:cubicBezTo>
                  <a:cubicBezTo>
                    <a:pt x="0" y="91"/>
                    <a:pt x="4" y="95"/>
                    <a:pt x="8" y="95"/>
                  </a:cubicBezTo>
                  <a:cubicBezTo>
                    <a:pt x="12" y="95"/>
                    <a:pt x="15" y="92"/>
                    <a:pt x="16" y="88"/>
                  </a:cubicBezTo>
                  <a:cubicBezTo>
                    <a:pt x="16" y="92"/>
                    <a:pt x="19" y="95"/>
                    <a:pt x="23" y="95"/>
                  </a:cubicBezTo>
                  <a:cubicBezTo>
                    <a:pt x="28" y="95"/>
                    <a:pt x="31" y="91"/>
                    <a:pt x="31" y="87"/>
                  </a:cubicBezTo>
                  <a:cubicBezTo>
                    <a:pt x="31" y="50"/>
                    <a:pt x="31" y="50"/>
                    <a:pt x="31" y="50"/>
                  </a:cubicBezTo>
                  <a:cubicBezTo>
                    <a:pt x="36" y="49"/>
                    <a:pt x="39" y="45"/>
                    <a:pt x="39" y="40"/>
                  </a:cubicBezTo>
                  <a:cubicBezTo>
                    <a:pt x="39" y="11"/>
                    <a:pt x="39" y="11"/>
                    <a:pt x="39" y="11"/>
                  </a:cubicBezTo>
                  <a:cubicBezTo>
                    <a:pt x="39" y="5"/>
                    <a:pt x="34"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13" name="Freeform 205">
              <a:extLst>
                <a:ext uri="{FF2B5EF4-FFF2-40B4-BE49-F238E27FC236}">
                  <a16:creationId xmlns:a16="http://schemas.microsoft.com/office/drawing/2014/main" xmlns="" id="{76FA4DB2-D4F8-44CC-AFA7-E9F224BD963F}"/>
                </a:ext>
              </a:extLst>
            </p:cNvPr>
            <p:cNvSpPr>
              <a:spLocks/>
            </p:cNvSpPr>
            <p:nvPr/>
          </p:nvSpPr>
          <p:spPr bwMode="gray">
            <a:xfrm>
              <a:off x="5541963" y="-3232150"/>
              <a:ext cx="146050" cy="355600"/>
            </a:xfrm>
            <a:custGeom>
              <a:avLst/>
              <a:gdLst>
                <a:gd name="T0" fmla="*/ 32 w 39"/>
                <a:gd name="T1" fmla="*/ 48 h 95"/>
                <a:gd name="T2" fmla="*/ 32 w 39"/>
                <a:gd name="T3" fmla="*/ 10 h 95"/>
                <a:gd name="T4" fmla="*/ 35 w 39"/>
                <a:gd name="T5" fmla="*/ 0 h 95"/>
                <a:gd name="T6" fmla="*/ 10 w 39"/>
                <a:gd name="T7" fmla="*/ 0 h 95"/>
                <a:gd name="T8" fmla="*/ 0 w 39"/>
                <a:gd name="T9" fmla="*/ 11 h 95"/>
                <a:gd name="T10" fmla="*/ 0 w 39"/>
                <a:gd name="T11" fmla="*/ 40 h 95"/>
                <a:gd name="T12" fmla="*/ 8 w 39"/>
                <a:gd name="T13" fmla="*/ 50 h 95"/>
                <a:gd name="T14" fmla="*/ 8 w 39"/>
                <a:gd name="T15" fmla="*/ 87 h 95"/>
                <a:gd name="T16" fmla="*/ 16 w 39"/>
                <a:gd name="T17" fmla="*/ 95 h 95"/>
                <a:gd name="T18" fmla="*/ 24 w 39"/>
                <a:gd name="T19" fmla="*/ 88 h 95"/>
                <a:gd name="T20" fmla="*/ 31 w 39"/>
                <a:gd name="T21" fmla="*/ 95 h 95"/>
                <a:gd name="T22" fmla="*/ 39 w 39"/>
                <a:gd name="T23" fmla="*/ 87 h 95"/>
                <a:gd name="T24" fmla="*/ 39 w 39"/>
                <a:gd name="T25" fmla="*/ 61 h 95"/>
                <a:gd name="T26" fmla="*/ 32 w 39"/>
                <a:gd name="T27" fmla="*/ 4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95">
                  <a:moveTo>
                    <a:pt x="32" y="48"/>
                  </a:moveTo>
                  <a:cubicBezTo>
                    <a:pt x="32" y="10"/>
                    <a:pt x="32" y="10"/>
                    <a:pt x="32" y="10"/>
                  </a:cubicBezTo>
                  <a:cubicBezTo>
                    <a:pt x="32" y="7"/>
                    <a:pt x="33" y="3"/>
                    <a:pt x="35" y="0"/>
                  </a:cubicBezTo>
                  <a:cubicBezTo>
                    <a:pt x="10" y="0"/>
                    <a:pt x="10" y="0"/>
                    <a:pt x="10" y="0"/>
                  </a:cubicBezTo>
                  <a:cubicBezTo>
                    <a:pt x="5" y="0"/>
                    <a:pt x="0" y="5"/>
                    <a:pt x="0" y="11"/>
                  </a:cubicBezTo>
                  <a:cubicBezTo>
                    <a:pt x="0" y="40"/>
                    <a:pt x="0" y="40"/>
                    <a:pt x="0" y="40"/>
                  </a:cubicBezTo>
                  <a:cubicBezTo>
                    <a:pt x="0" y="45"/>
                    <a:pt x="4" y="49"/>
                    <a:pt x="8" y="50"/>
                  </a:cubicBezTo>
                  <a:cubicBezTo>
                    <a:pt x="8" y="87"/>
                    <a:pt x="8" y="87"/>
                    <a:pt x="8" y="87"/>
                  </a:cubicBezTo>
                  <a:cubicBezTo>
                    <a:pt x="8" y="91"/>
                    <a:pt x="11" y="95"/>
                    <a:pt x="16" y="95"/>
                  </a:cubicBezTo>
                  <a:cubicBezTo>
                    <a:pt x="20" y="95"/>
                    <a:pt x="23" y="92"/>
                    <a:pt x="24" y="88"/>
                  </a:cubicBezTo>
                  <a:cubicBezTo>
                    <a:pt x="24" y="92"/>
                    <a:pt x="27" y="95"/>
                    <a:pt x="31" y="95"/>
                  </a:cubicBezTo>
                  <a:cubicBezTo>
                    <a:pt x="36" y="95"/>
                    <a:pt x="39" y="91"/>
                    <a:pt x="39" y="87"/>
                  </a:cubicBezTo>
                  <a:cubicBezTo>
                    <a:pt x="39" y="61"/>
                    <a:pt x="39" y="61"/>
                    <a:pt x="39" y="61"/>
                  </a:cubicBezTo>
                  <a:cubicBezTo>
                    <a:pt x="35" y="58"/>
                    <a:pt x="32" y="53"/>
                    <a:pt x="32"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14" name="Oval 206">
              <a:extLst>
                <a:ext uri="{FF2B5EF4-FFF2-40B4-BE49-F238E27FC236}">
                  <a16:creationId xmlns:a16="http://schemas.microsoft.com/office/drawing/2014/main" xmlns="" id="{771C3863-9456-4C93-A35A-8C76CA82961D}"/>
                </a:ext>
              </a:extLst>
            </p:cNvPr>
            <p:cNvSpPr>
              <a:spLocks noChangeArrowheads="1"/>
            </p:cNvSpPr>
            <p:nvPr/>
          </p:nvSpPr>
          <p:spPr bwMode="gray">
            <a:xfrm>
              <a:off x="5580063" y="-3351213"/>
              <a:ext cx="100012"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15" name="Freeform 207">
              <a:extLst>
                <a:ext uri="{FF2B5EF4-FFF2-40B4-BE49-F238E27FC236}">
                  <a16:creationId xmlns:a16="http://schemas.microsoft.com/office/drawing/2014/main" xmlns="" id="{EB04E981-32BF-4283-9439-03881862C6D6}"/>
                </a:ext>
              </a:extLst>
            </p:cNvPr>
            <p:cNvSpPr>
              <a:spLocks/>
            </p:cNvSpPr>
            <p:nvPr/>
          </p:nvSpPr>
          <p:spPr bwMode="gray">
            <a:xfrm>
              <a:off x="5691188" y="-3232150"/>
              <a:ext cx="247650" cy="438150"/>
            </a:xfrm>
            <a:custGeom>
              <a:avLst/>
              <a:gdLst>
                <a:gd name="T0" fmla="*/ 53 w 66"/>
                <a:gd name="T1" fmla="*/ 58 h 117"/>
                <a:gd name="T2" fmla="*/ 56 w 66"/>
                <a:gd name="T3" fmla="*/ 58 h 117"/>
                <a:gd name="T4" fmla="*/ 66 w 66"/>
                <a:gd name="T5" fmla="*/ 48 h 117"/>
                <a:gd name="T6" fmla="*/ 66 w 66"/>
                <a:gd name="T7" fmla="*/ 10 h 117"/>
                <a:gd name="T8" fmla="*/ 56 w 66"/>
                <a:gd name="T9" fmla="*/ 0 h 117"/>
                <a:gd name="T10" fmla="*/ 43 w 66"/>
                <a:gd name="T11" fmla="*/ 0 h 117"/>
                <a:gd name="T12" fmla="*/ 33 w 66"/>
                <a:gd name="T13" fmla="*/ 13 h 117"/>
                <a:gd name="T14" fmla="*/ 23 w 66"/>
                <a:gd name="T15" fmla="*/ 0 h 117"/>
                <a:gd name="T16" fmla="*/ 10 w 66"/>
                <a:gd name="T17" fmla="*/ 0 h 117"/>
                <a:gd name="T18" fmla="*/ 0 w 66"/>
                <a:gd name="T19" fmla="*/ 10 h 117"/>
                <a:gd name="T20" fmla="*/ 0 w 66"/>
                <a:gd name="T21" fmla="*/ 48 h 117"/>
                <a:gd name="T22" fmla="*/ 10 w 66"/>
                <a:gd name="T23" fmla="*/ 58 h 117"/>
                <a:gd name="T24" fmla="*/ 14 w 66"/>
                <a:gd name="T25" fmla="*/ 58 h 117"/>
                <a:gd name="T26" fmla="*/ 14 w 66"/>
                <a:gd name="T27" fmla="*/ 106 h 117"/>
                <a:gd name="T28" fmla="*/ 24 w 66"/>
                <a:gd name="T29" fmla="*/ 117 h 117"/>
                <a:gd name="T30" fmla="*/ 33 w 66"/>
                <a:gd name="T31" fmla="*/ 110 h 117"/>
                <a:gd name="T32" fmla="*/ 43 w 66"/>
                <a:gd name="T33" fmla="*/ 117 h 117"/>
                <a:gd name="T34" fmla="*/ 53 w 66"/>
                <a:gd name="T35" fmla="*/ 106 h 117"/>
                <a:gd name="T36" fmla="*/ 53 w 66"/>
                <a:gd name="T37" fmla="*/ 5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17">
                  <a:moveTo>
                    <a:pt x="53" y="58"/>
                  </a:moveTo>
                  <a:cubicBezTo>
                    <a:pt x="56" y="58"/>
                    <a:pt x="56" y="58"/>
                    <a:pt x="56" y="58"/>
                  </a:cubicBezTo>
                  <a:cubicBezTo>
                    <a:pt x="62" y="58"/>
                    <a:pt x="66" y="53"/>
                    <a:pt x="66" y="48"/>
                  </a:cubicBezTo>
                  <a:cubicBezTo>
                    <a:pt x="66" y="10"/>
                    <a:pt x="66" y="10"/>
                    <a:pt x="66" y="10"/>
                  </a:cubicBezTo>
                  <a:cubicBezTo>
                    <a:pt x="66" y="5"/>
                    <a:pt x="62" y="0"/>
                    <a:pt x="56" y="0"/>
                  </a:cubicBezTo>
                  <a:cubicBezTo>
                    <a:pt x="43" y="0"/>
                    <a:pt x="43" y="0"/>
                    <a:pt x="43" y="0"/>
                  </a:cubicBezTo>
                  <a:cubicBezTo>
                    <a:pt x="33" y="13"/>
                    <a:pt x="33" y="13"/>
                    <a:pt x="33" y="13"/>
                  </a:cubicBezTo>
                  <a:cubicBezTo>
                    <a:pt x="23" y="0"/>
                    <a:pt x="23" y="0"/>
                    <a:pt x="23" y="0"/>
                  </a:cubicBezTo>
                  <a:cubicBezTo>
                    <a:pt x="10" y="0"/>
                    <a:pt x="10" y="0"/>
                    <a:pt x="10" y="0"/>
                  </a:cubicBezTo>
                  <a:cubicBezTo>
                    <a:pt x="5" y="0"/>
                    <a:pt x="0" y="5"/>
                    <a:pt x="0" y="10"/>
                  </a:cubicBezTo>
                  <a:cubicBezTo>
                    <a:pt x="0" y="48"/>
                    <a:pt x="0" y="48"/>
                    <a:pt x="0" y="48"/>
                  </a:cubicBezTo>
                  <a:cubicBezTo>
                    <a:pt x="0" y="53"/>
                    <a:pt x="5" y="58"/>
                    <a:pt x="10" y="58"/>
                  </a:cubicBezTo>
                  <a:cubicBezTo>
                    <a:pt x="14" y="58"/>
                    <a:pt x="14" y="58"/>
                    <a:pt x="14" y="58"/>
                  </a:cubicBezTo>
                  <a:cubicBezTo>
                    <a:pt x="14" y="106"/>
                    <a:pt x="14" y="106"/>
                    <a:pt x="14" y="106"/>
                  </a:cubicBezTo>
                  <a:cubicBezTo>
                    <a:pt x="14" y="112"/>
                    <a:pt x="18" y="117"/>
                    <a:pt x="24" y="117"/>
                  </a:cubicBezTo>
                  <a:cubicBezTo>
                    <a:pt x="28" y="117"/>
                    <a:pt x="32" y="114"/>
                    <a:pt x="33" y="110"/>
                  </a:cubicBezTo>
                  <a:cubicBezTo>
                    <a:pt x="35" y="114"/>
                    <a:pt x="38" y="117"/>
                    <a:pt x="43" y="117"/>
                  </a:cubicBezTo>
                  <a:cubicBezTo>
                    <a:pt x="48" y="117"/>
                    <a:pt x="53" y="112"/>
                    <a:pt x="53" y="106"/>
                  </a:cubicBezTo>
                  <a:lnTo>
                    <a:pt x="53"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16" name="Freeform 208">
              <a:extLst>
                <a:ext uri="{FF2B5EF4-FFF2-40B4-BE49-F238E27FC236}">
                  <a16:creationId xmlns:a16="http://schemas.microsoft.com/office/drawing/2014/main" xmlns="" id="{D0CAC647-4816-4F86-BBFE-BDD9230855D3}"/>
                </a:ext>
              </a:extLst>
            </p:cNvPr>
            <p:cNvSpPr>
              <a:spLocks/>
            </p:cNvSpPr>
            <p:nvPr/>
          </p:nvSpPr>
          <p:spPr bwMode="gray">
            <a:xfrm>
              <a:off x="5756275" y="-3381375"/>
              <a:ext cx="122237" cy="123825"/>
            </a:xfrm>
            <a:custGeom>
              <a:avLst/>
              <a:gdLst>
                <a:gd name="T0" fmla="*/ 33 w 33"/>
                <a:gd name="T1" fmla="*/ 17 h 33"/>
                <a:gd name="T2" fmla="*/ 16 w 33"/>
                <a:gd name="T3" fmla="*/ 0 h 33"/>
                <a:gd name="T4" fmla="*/ 0 w 33"/>
                <a:gd name="T5" fmla="*/ 17 h 33"/>
                <a:gd name="T6" fmla="*/ 16 w 33"/>
                <a:gd name="T7" fmla="*/ 33 h 33"/>
                <a:gd name="T8" fmla="*/ 33 w 33"/>
                <a:gd name="T9" fmla="*/ 17 h 33"/>
              </a:gdLst>
              <a:ahLst/>
              <a:cxnLst>
                <a:cxn ang="0">
                  <a:pos x="T0" y="T1"/>
                </a:cxn>
                <a:cxn ang="0">
                  <a:pos x="T2" y="T3"/>
                </a:cxn>
                <a:cxn ang="0">
                  <a:pos x="T4" y="T5"/>
                </a:cxn>
                <a:cxn ang="0">
                  <a:pos x="T6" y="T7"/>
                </a:cxn>
                <a:cxn ang="0">
                  <a:pos x="T8" y="T9"/>
                </a:cxn>
              </a:cxnLst>
              <a:rect l="0" t="0" r="r" b="b"/>
              <a:pathLst>
                <a:path w="33" h="33">
                  <a:moveTo>
                    <a:pt x="33" y="17"/>
                  </a:moveTo>
                  <a:cubicBezTo>
                    <a:pt x="33" y="7"/>
                    <a:pt x="26" y="0"/>
                    <a:pt x="16" y="0"/>
                  </a:cubicBezTo>
                  <a:cubicBezTo>
                    <a:pt x="7" y="0"/>
                    <a:pt x="0" y="7"/>
                    <a:pt x="0" y="17"/>
                  </a:cubicBezTo>
                  <a:cubicBezTo>
                    <a:pt x="0" y="26"/>
                    <a:pt x="8" y="33"/>
                    <a:pt x="16" y="33"/>
                  </a:cubicBezTo>
                  <a:cubicBezTo>
                    <a:pt x="25" y="33"/>
                    <a:pt x="33" y="26"/>
                    <a:pt x="3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217" name="Ellipse 216">
            <a:extLst>
              <a:ext uri="{FF2B5EF4-FFF2-40B4-BE49-F238E27FC236}">
                <a16:creationId xmlns:a16="http://schemas.microsoft.com/office/drawing/2014/main" xmlns="" id="{033FE406-5E8B-4809-874F-9C8C6B38322E}"/>
              </a:ext>
            </a:extLst>
          </p:cNvPr>
          <p:cNvSpPr/>
          <p:nvPr/>
        </p:nvSpPr>
        <p:spPr>
          <a:xfrm>
            <a:off x="539552" y="458782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235" name="Textfeld 234">
            <a:extLst>
              <a:ext uri="{FF2B5EF4-FFF2-40B4-BE49-F238E27FC236}">
                <a16:creationId xmlns:a16="http://schemas.microsoft.com/office/drawing/2014/main" xmlns="" id="{7472A16C-6183-48F5-8A8B-A323D66B953A}"/>
              </a:ext>
            </a:extLst>
          </p:cNvPr>
          <p:cNvSpPr txBox="1"/>
          <p:nvPr/>
        </p:nvSpPr>
        <p:spPr>
          <a:xfrm>
            <a:off x="898810" y="4633540"/>
            <a:ext cx="2154366" cy="307777"/>
          </a:xfrm>
          <a:prstGeom prst="rect">
            <a:avLst/>
          </a:prstGeom>
          <a:noFill/>
        </p:spPr>
        <p:txBody>
          <a:bodyPr wrap="square" rtlCol="0">
            <a:spAutoFit/>
          </a:bodyPr>
          <a:lstStyle/>
          <a:p>
            <a:r>
              <a:rPr lang="de-DE" sz="1400" dirty="0"/>
              <a:t>Erschlossene Einwohner</a:t>
            </a:r>
          </a:p>
        </p:txBody>
      </p:sp>
    </p:spTree>
    <p:extLst>
      <p:ext uri="{BB962C8B-B14F-4D97-AF65-F5344CB8AC3E}">
        <p14:creationId xmlns:p14="http://schemas.microsoft.com/office/powerpoint/2010/main" val="1875689864"/>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a:extLst>
              <a:ext uri="{FF2B5EF4-FFF2-40B4-BE49-F238E27FC236}">
                <a16:creationId xmlns:a16="http://schemas.microsoft.com/office/drawing/2014/main" xmlns="" id="{C4182CBA-9891-4C43-83F8-F884595A42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9" name="think-cell Folie" r:id="rId34" imgW="395" imgH="396" progId="TCLayout.ActiveDocument.1">
                  <p:embed/>
                </p:oleObj>
              </mc:Choice>
              <mc:Fallback>
                <p:oleObj name="think-cell Folie" r:id="rId34" imgW="395" imgH="396" progId="TCLayout.ActiveDocument.1">
                  <p:embed/>
                  <p:pic>
                    <p:nvPicPr>
                      <p:cNvPr id="30" name="Objekt 29" hidden="1">
                        <a:extLst>
                          <a:ext uri="{FF2B5EF4-FFF2-40B4-BE49-F238E27FC236}">
                            <a16:creationId xmlns:a16="http://schemas.microsoft.com/office/drawing/2014/main" xmlns="" id="{C4182CBA-9891-4C43-83F8-F884595A422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xmlns="" id="{D33AC47A-91B5-42DE-9D05-8664BC1B676D}"/>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188791C6-E504-4B74-A557-D966A1094CC1}"/>
              </a:ext>
            </a:extLst>
          </p:cNvPr>
          <p:cNvSpPr>
            <a:spLocks noGrp="1"/>
          </p:cNvSpPr>
          <p:nvPr>
            <p:ph type="title"/>
          </p:nvPr>
        </p:nvSpPr>
        <p:spPr/>
        <p:txBody>
          <a:bodyPr/>
          <a:lstStyle/>
          <a:p>
            <a:r>
              <a:rPr lang="de-DE" dirty="0"/>
              <a:t>In Wien wurde das ÖPNV-Angebot über Jahrzehnte</a:t>
            </a:r>
            <a:br>
              <a:rPr lang="de-DE" dirty="0"/>
            </a:br>
            <a:r>
              <a:rPr lang="de-DE" dirty="0"/>
              <a:t>hinweg konsequent ausgebaut und verbessert</a:t>
            </a:r>
          </a:p>
        </p:txBody>
      </p:sp>
      <p:sp>
        <p:nvSpPr>
          <p:cNvPr id="3" name="Inhaltsplatzhalter 2">
            <a:extLst>
              <a:ext uri="{FF2B5EF4-FFF2-40B4-BE49-F238E27FC236}">
                <a16:creationId xmlns:a16="http://schemas.microsoft.com/office/drawing/2014/main" xmlns="" id="{CBFCD54A-36AB-4CA4-9BCB-E1E96283BEFB}"/>
              </a:ext>
            </a:extLst>
          </p:cNvPr>
          <p:cNvSpPr>
            <a:spLocks noGrp="1"/>
          </p:cNvSpPr>
          <p:nvPr>
            <p:ph idx="1"/>
          </p:nvPr>
        </p:nvSpPr>
        <p:spPr/>
        <p:txBody>
          <a:bodyPr/>
          <a:lstStyle/>
          <a:p>
            <a:r>
              <a:rPr lang="de-DE" dirty="0"/>
              <a:t>Angebot: Entwicklung in den letzten Jahren</a:t>
            </a:r>
          </a:p>
        </p:txBody>
      </p:sp>
      <p:sp>
        <p:nvSpPr>
          <p:cNvPr id="4" name="Foliennummernplatzhalter 3">
            <a:extLst>
              <a:ext uri="{FF2B5EF4-FFF2-40B4-BE49-F238E27FC236}">
                <a16:creationId xmlns:a16="http://schemas.microsoft.com/office/drawing/2014/main" xmlns="" id="{5CF7906A-7392-410B-A439-6CC95EC55C13}"/>
              </a:ext>
            </a:extLst>
          </p:cNvPr>
          <p:cNvSpPr>
            <a:spLocks noGrp="1"/>
          </p:cNvSpPr>
          <p:nvPr>
            <p:ph type="sldNum" sz="quarter" idx="11"/>
          </p:nvPr>
        </p:nvSpPr>
        <p:spPr/>
        <p:txBody>
          <a:bodyPr/>
          <a:lstStyle/>
          <a:p>
            <a:fld id="{CD21EFEB-933F-4F46-A5AD-B6372944D9E5}" type="slidenum">
              <a:rPr lang="de-DE" smtClean="0"/>
              <a:pPr/>
              <a:t>15</a:t>
            </a:fld>
            <a:endParaRPr lang="de-DE" dirty="0"/>
          </a:p>
        </p:txBody>
      </p:sp>
      <p:cxnSp>
        <p:nvCxnSpPr>
          <p:cNvPr id="7" name="Gerade Verbindung 6">
            <a:extLst>
              <a:ext uri="{FF2B5EF4-FFF2-40B4-BE49-F238E27FC236}">
                <a16:creationId xmlns:a16="http://schemas.microsoft.com/office/drawing/2014/main" xmlns="" id="{0F04B183-0C6D-4A83-BBC5-E64F07BEAF24}"/>
              </a:ext>
            </a:extLst>
          </p:cNvPr>
          <p:cNvCxnSpPr/>
          <p:nvPr>
            <p:custDataLst>
              <p:tags r:id="rId4"/>
            </p:custDataLst>
          </p:nvPr>
        </p:nvCxnSpPr>
        <p:spPr>
          <a:xfrm>
            <a:off x="539552" y="5661248"/>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xmlns="" id="{EBC1C1C4-92CE-48AC-8BFD-8211CE7D8CA4}"/>
              </a:ext>
            </a:extLst>
          </p:cNvPr>
          <p:cNvSpPr txBox="1"/>
          <p:nvPr/>
        </p:nvSpPr>
        <p:spPr>
          <a:xfrm>
            <a:off x="451758" y="5847075"/>
            <a:ext cx="8164800" cy="246221"/>
          </a:xfrm>
          <a:prstGeom prst="rect">
            <a:avLst/>
          </a:prstGeom>
          <a:noFill/>
        </p:spPr>
        <p:txBody>
          <a:bodyPr wrap="square" rtlCol="0">
            <a:spAutoFit/>
          </a:bodyPr>
          <a:lstStyle/>
          <a:p>
            <a:pPr marL="0" lvl="1">
              <a:tabLst>
                <a:tab pos="180975" algn="l"/>
              </a:tabLst>
            </a:pPr>
            <a:r>
              <a:rPr lang="de-DE" sz="1000" dirty="0"/>
              <a:t>Quelle: Geschäftsberichte, Verbundberichte</a:t>
            </a:r>
          </a:p>
        </p:txBody>
      </p:sp>
      <p:cxnSp>
        <p:nvCxnSpPr>
          <p:cNvPr id="9" name="Gerader Verbinder 49">
            <a:extLst>
              <a:ext uri="{FF2B5EF4-FFF2-40B4-BE49-F238E27FC236}">
                <a16:creationId xmlns:a16="http://schemas.microsoft.com/office/drawing/2014/main" xmlns="" id="{CE491CE4-AC69-449D-9730-68ED14201C59}"/>
              </a:ext>
            </a:extLst>
          </p:cNvPr>
          <p:cNvCxnSpPr>
            <a:cxnSpLocks/>
          </p:cNvCxnSpPr>
          <p:nvPr/>
        </p:nvCxnSpPr>
        <p:spPr>
          <a:xfrm flipH="1">
            <a:off x="547218" y="5784279"/>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xmlns="" id="{8456B7E5-F5AD-457D-AEB0-A6EE39598FC8}"/>
              </a:ext>
            </a:extLst>
          </p:cNvPr>
          <p:cNvSpPr/>
          <p:nvPr/>
        </p:nvSpPr>
        <p:spPr>
          <a:xfrm>
            <a:off x="887781" y="5661248"/>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Euro-Jahreskarte Juni 2012</a:t>
            </a:r>
          </a:p>
        </p:txBody>
      </p:sp>
      <p:graphicFrame>
        <p:nvGraphicFramePr>
          <p:cNvPr id="68" name="Chart 3">
            <a:extLst>
              <a:ext uri="{FF2B5EF4-FFF2-40B4-BE49-F238E27FC236}">
                <a16:creationId xmlns:a16="http://schemas.microsoft.com/office/drawing/2014/main" xmlns="" id="{F4B3A68D-B648-41FD-BCBF-20F9A088C3DB}"/>
              </a:ext>
            </a:extLst>
          </p:cNvPr>
          <p:cNvGraphicFramePr/>
          <p:nvPr>
            <p:custDataLst>
              <p:tags r:id="rId5"/>
            </p:custDataLst>
          </p:nvPr>
        </p:nvGraphicFramePr>
        <p:xfrm>
          <a:off x="449263" y="2363788"/>
          <a:ext cx="4060825" cy="2717800"/>
        </p:xfrm>
        <a:graphic>
          <a:graphicData uri="http://schemas.openxmlformats.org/drawingml/2006/chart">
            <c:chart xmlns:c="http://schemas.openxmlformats.org/drawingml/2006/chart" xmlns:r="http://schemas.openxmlformats.org/officeDocument/2006/relationships" r:id="rId36"/>
          </a:graphicData>
        </a:graphic>
      </p:graphicFrame>
      <p:cxnSp>
        <p:nvCxnSpPr>
          <p:cNvPr id="12" name="Gerade Verbindung 93">
            <a:extLst>
              <a:ext uri="{FF2B5EF4-FFF2-40B4-BE49-F238E27FC236}">
                <a16:creationId xmlns:a16="http://schemas.microsoft.com/office/drawing/2014/main" xmlns="" id="{9DFDCFEB-9C9D-4059-9070-FC6785E5D610}"/>
              </a:ext>
            </a:extLst>
          </p:cNvPr>
          <p:cNvCxnSpPr>
            <a:cxnSpLocks/>
          </p:cNvCxnSpPr>
          <p:nvPr>
            <p:custDataLst>
              <p:tags r:id="rId6"/>
            </p:custDataLst>
          </p:nvPr>
        </p:nvCxnSpPr>
        <p:spPr bwMode="auto">
          <a:xfrm flipV="1">
            <a:off x="1389063" y="2973389"/>
            <a:ext cx="0" cy="423863"/>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xmlns="" id="{775C5745-F686-4961-816C-51E95507136C}"/>
              </a:ext>
            </a:extLst>
          </p:cNvPr>
          <p:cNvCxnSpPr/>
          <p:nvPr>
            <p:custDataLst>
              <p:tags r:id="rId7"/>
            </p:custDataLst>
          </p:nvPr>
        </p:nvCxnSpPr>
        <p:spPr bwMode="auto">
          <a:xfrm>
            <a:off x="1389063" y="2973388"/>
            <a:ext cx="1296987" cy="0"/>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xmlns="" id="{AF0F8003-7AED-4DCE-82F2-1915ABE1AF6C}"/>
              </a:ext>
            </a:extLst>
          </p:cNvPr>
          <p:cNvCxnSpPr/>
          <p:nvPr>
            <p:custDataLst>
              <p:tags r:id="rId8"/>
            </p:custDataLst>
          </p:nvPr>
        </p:nvCxnSpPr>
        <p:spPr bwMode="auto">
          <a:xfrm>
            <a:off x="2686050" y="2973388"/>
            <a:ext cx="0" cy="152400"/>
          </a:xfrm>
          <a:prstGeom prst="line">
            <a:avLst/>
          </a:prstGeom>
          <a:ln w="12700"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xmlns="" id="{BC5DE477-BDAD-4C73-A796-FA13EBA8D9C4}"/>
              </a:ext>
            </a:extLst>
          </p:cNvPr>
          <p:cNvCxnSpPr/>
          <p:nvPr>
            <p:custDataLst>
              <p:tags r:id="rId9"/>
            </p:custDataLst>
          </p:nvPr>
        </p:nvCxnSpPr>
        <p:spPr bwMode="auto">
          <a:xfrm>
            <a:off x="4294188" y="2771775"/>
            <a:ext cx="0" cy="152400"/>
          </a:xfrm>
          <a:prstGeom prst="line">
            <a:avLst/>
          </a:prstGeom>
          <a:ln w="12700"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Gerader Verbinder 4">
            <a:extLst>
              <a:ext uri="{FF2B5EF4-FFF2-40B4-BE49-F238E27FC236}">
                <a16:creationId xmlns:a16="http://schemas.microsoft.com/office/drawing/2014/main" xmlns="" id="{7D54AB1D-418C-4895-A552-F49A4F5564EB}"/>
              </a:ext>
            </a:extLst>
          </p:cNvPr>
          <p:cNvCxnSpPr/>
          <p:nvPr>
            <p:custDataLst>
              <p:tags r:id="rId10"/>
            </p:custDataLst>
          </p:nvPr>
        </p:nvCxnSpPr>
        <p:spPr bwMode="auto">
          <a:xfrm flipV="1">
            <a:off x="2733675" y="2771775"/>
            <a:ext cx="0" cy="354013"/>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xmlns="" id="{BF9D0FA3-1E74-415B-956B-AB4D8A04A753}"/>
              </a:ext>
            </a:extLst>
          </p:cNvPr>
          <p:cNvCxnSpPr/>
          <p:nvPr>
            <p:custDataLst>
              <p:tags r:id="rId11"/>
            </p:custDataLst>
          </p:nvPr>
        </p:nvCxnSpPr>
        <p:spPr bwMode="auto">
          <a:xfrm>
            <a:off x="2733675" y="2771775"/>
            <a:ext cx="1560513" cy="0"/>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platzhalter 2">
            <a:extLst>
              <a:ext uri="{FF2B5EF4-FFF2-40B4-BE49-F238E27FC236}">
                <a16:creationId xmlns:a16="http://schemas.microsoft.com/office/drawing/2014/main" xmlns="" id="{FE989C37-2709-4AF3-9514-AB1BA130F296}"/>
              </a:ext>
            </a:extLst>
          </p:cNvPr>
          <p:cNvSpPr>
            <a:spLocks noGrp="1"/>
          </p:cNvSpPr>
          <p:nvPr>
            <p:custDataLst>
              <p:tags r:id="rId12"/>
            </p:custDataLst>
          </p:nvPr>
        </p:nvSpPr>
        <p:spPr bwMode="auto">
          <a:xfrm>
            <a:off x="3132138"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E0ADE276-67E5-4488-BCD5-D08B71F63D49}" type="datetime'''''''''''''''''''2''''0''''''''1''''''''''3'''''">
              <a:rPr lang="de-DE" altLang="en-US" sz="1400" smtClean="0"/>
              <a:pPr/>
              <a:t>2013</a:t>
            </a:fld>
            <a:endParaRPr lang="de-DE" sz="1400" dirty="0">
              <a:sym typeface="+mn-lt"/>
            </a:endParaRPr>
          </a:p>
        </p:txBody>
      </p:sp>
      <p:sp>
        <p:nvSpPr>
          <p:cNvPr id="19" name="Textplatzhalter 2">
            <a:extLst>
              <a:ext uri="{FF2B5EF4-FFF2-40B4-BE49-F238E27FC236}">
                <a16:creationId xmlns:a16="http://schemas.microsoft.com/office/drawing/2014/main" xmlns="" id="{B29618A2-686F-4508-9464-4778421C4BF3}"/>
              </a:ext>
            </a:extLst>
          </p:cNvPr>
          <p:cNvSpPr>
            <a:spLocks noGrp="1"/>
          </p:cNvSpPr>
          <p:nvPr>
            <p:custDataLst>
              <p:tags r:id="rId13"/>
            </p:custDataLst>
          </p:nvPr>
        </p:nvSpPr>
        <p:spPr bwMode="auto">
          <a:xfrm>
            <a:off x="1282700"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06CBD4BA-F6DE-408F-94F5-1600B2673E4A}" type="datetime'''2''00''''''''''''''6'''''''">
              <a:rPr lang="de-DE" altLang="en-US" sz="1400" smtClean="0"/>
              <a:pPr/>
              <a:t>2006</a:t>
            </a:fld>
            <a:endParaRPr lang="de-DE" sz="1400" dirty="0">
              <a:sym typeface="+mn-lt"/>
            </a:endParaRPr>
          </a:p>
        </p:txBody>
      </p:sp>
      <p:sp>
        <p:nvSpPr>
          <p:cNvPr id="21" name="Textplatzhalter 2">
            <a:extLst>
              <a:ext uri="{FF2B5EF4-FFF2-40B4-BE49-F238E27FC236}">
                <a16:creationId xmlns:a16="http://schemas.microsoft.com/office/drawing/2014/main" xmlns="" id="{8EC790BD-D455-4406-B36D-099069C3A786}"/>
              </a:ext>
            </a:extLst>
          </p:cNvPr>
          <p:cNvSpPr>
            <a:spLocks noGrp="1"/>
          </p:cNvSpPr>
          <p:nvPr>
            <p:custDataLst>
              <p:tags r:id="rId14"/>
            </p:custDataLst>
          </p:nvPr>
        </p:nvSpPr>
        <p:spPr bwMode="auto">
          <a:xfrm>
            <a:off x="2074863"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E302506-8761-404A-8FA0-8E1A352A657E}" type="datetime'''''2''''''''''''''''''''''''''''''''''''0''0''''9'''''''''">
              <a:rPr lang="de-DE" altLang="en-US" sz="1400" smtClean="0"/>
              <a:pPr/>
              <a:t>2009</a:t>
            </a:fld>
            <a:endParaRPr lang="de-DE" sz="1400" dirty="0">
              <a:sym typeface="+mn-lt"/>
            </a:endParaRPr>
          </a:p>
        </p:txBody>
      </p:sp>
      <p:sp>
        <p:nvSpPr>
          <p:cNvPr id="22" name="Textplatzhalter 2">
            <a:extLst>
              <a:ext uri="{FF2B5EF4-FFF2-40B4-BE49-F238E27FC236}">
                <a16:creationId xmlns:a16="http://schemas.microsoft.com/office/drawing/2014/main" xmlns="" id="{DEB0FF17-8CA5-4275-AB38-BF6E551B0920}"/>
              </a:ext>
            </a:extLst>
          </p:cNvPr>
          <p:cNvSpPr>
            <a:spLocks noGrp="1"/>
          </p:cNvSpPr>
          <p:nvPr>
            <p:custDataLst>
              <p:tags r:id="rId15"/>
            </p:custDataLst>
          </p:nvPr>
        </p:nvSpPr>
        <p:spPr bwMode="auto">
          <a:xfrm>
            <a:off x="1547813"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83196CF-B030-4C04-A22A-A9327AEA2F33}" type="datetime'''''''''''''2''''''0''''''''''''''0''''''''7'''''">
              <a:rPr lang="de-DE" altLang="en-US" sz="1400" smtClean="0"/>
              <a:pPr/>
              <a:t>2007</a:t>
            </a:fld>
            <a:endParaRPr lang="de-DE" sz="1400" dirty="0">
              <a:sym typeface="+mn-lt"/>
            </a:endParaRPr>
          </a:p>
        </p:txBody>
      </p:sp>
      <p:sp>
        <p:nvSpPr>
          <p:cNvPr id="25" name="Textplatzhalter 2">
            <a:extLst>
              <a:ext uri="{FF2B5EF4-FFF2-40B4-BE49-F238E27FC236}">
                <a16:creationId xmlns:a16="http://schemas.microsoft.com/office/drawing/2014/main" xmlns="" id="{9373A8C8-8487-4092-8D82-36513E0391AC}"/>
              </a:ext>
            </a:extLst>
          </p:cNvPr>
          <p:cNvSpPr>
            <a:spLocks noGrp="1"/>
          </p:cNvSpPr>
          <p:nvPr>
            <p:custDataLst>
              <p:tags r:id="rId16"/>
            </p:custDataLst>
          </p:nvPr>
        </p:nvSpPr>
        <p:spPr bwMode="auto">
          <a:xfrm>
            <a:off x="2867025"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A0578A44-F34C-4B69-A687-8767F09AEE59}" type="datetime'''''2''''0''''''1''2'''''''''''''''''''">
              <a:rPr lang="de-DE" altLang="en-US" sz="1400" smtClean="0"/>
              <a:pPr/>
              <a:t>2012</a:t>
            </a:fld>
            <a:endParaRPr lang="de-DE" sz="1400" dirty="0">
              <a:sym typeface="+mn-lt"/>
            </a:endParaRPr>
          </a:p>
        </p:txBody>
      </p:sp>
      <p:sp>
        <p:nvSpPr>
          <p:cNvPr id="23" name="Textplatzhalter 2">
            <a:extLst>
              <a:ext uri="{FF2B5EF4-FFF2-40B4-BE49-F238E27FC236}">
                <a16:creationId xmlns:a16="http://schemas.microsoft.com/office/drawing/2014/main" xmlns="" id="{A9026268-926E-498A-9B81-7AF5AAA91478}"/>
              </a:ext>
            </a:extLst>
          </p:cNvPr>
          <p:cNvSpPr>
            <a:spLocks noGrp="1"/>
          </p:cNvSpPr>
          <p:nvPr>
            <p:custDataLst>
              <p:tags r:id="rId17"/>
            </p:custDataLst>
          </p:nvPr>
        </p:nvSpPr>
        <p:spPr bwMode="auto">
          <a:xfrm>
            <a:off x="1811338"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D9DF4E8-29CC-4886-84C0-D60AE92BCD28}" type="datetime'''''''''''''''2''''''''''''''''00''''''''''''''''''''''''8'">
              <a:rPr lang="de-DE" altLang="en-US" sz="1400" smtClean="0"/>
              <a:pPr/>
              <a:t>2008</a:t>
            </a:fld>
            <a:endParaRPr lang="de-DE" sz="1400" dirty="0">
              <a:sym typeface="+mn-lt"/>
            </a:endParaRPr>
          </a:p>
        </p:txBody>
      </p:sp>
      <p:sp>
        <p:nvSpPr>
          <p:cNvPr id="16" name="Textplatzhalter 2">
            <a:extLst>
              <a:ext uri="{FF2B5EF4-FFF2-40B4-BE49-F238E27FC236}">
                <a16:creationId xmlns:a16="http://schemas.microsoft.com/office/drawing/2014/main" xmlns="" id="{A7F729FD-8534-4D9E-A2E2-4A28533B5D79}"/>
              </a:ext>
            </a:extLst>
          </p:cNvPr>
          <p:cNvSpPr>
            <a:spLocks noGrp="1"/>
          </p:cNvSpPr>
          <p:nvPr>
            <p:custDataLst>
              <p:tags r:id="rId18"/>
            </p:custDataLst>
          </p:nvPr>
        </p:nvSpPr>
        <p:spPr bwMode="auto">
          <a:xfrm>
            <a:off x="2339975"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85241A47-8F49-482E-9EF2-288B487969A7}" type="datetime'''2''''''0''''''''''''''''''''''''''''''''''''''''''10'''">
              <a:rPr lang="de-DE" altLang="en-US" sz="1400" smtClean="0"/>
              <a:pPr/>
              <a:t>2010</a:t>
            </a:fld>
            <a:endParaRPr lang="de-DE" sz="1400" dirty="0">
              <a:sym typeface="+mn-lt"/>
            </a:endParaRPr>
          </a:p>
        </p:txBody>
      </p:sp>
      <p:sp>
        <p:nvSpPr>
          <p:cNvPr id="15" name="Textplatzhalter 2">
            <a:extLst>
              <a:ext uri="{FF2B5EF4-FFF2-40B4-BE49-F238E27FC236}">
                <a16:creationId xmlns:a16="http://schemas.microsoft.com/office/drawing/2014/main" xmlns="" id="{B6BEE5EF-628A-4346-A6F9-3D32838FE150}"/>
              </a:ext>
            </a:extLst>
          </p:cNvPr>
          <p:cNvSpPr>
            <a:spLocks noGrp="1"/>
          </p:cNvSpPr>
          <p:nvPr>
            <p:custDataLst>
              <p:tags r:id="rId19"/>
            </p:custDataLst>
          </p:nvPr>
        </p:nvSpPr>
        <p:spPr bwMode="auto">
          <a:xfrm>
            <a:off x="2603500" y="5011738"/>
            <a:ext cx="212725"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E435AFB-B63F-4B77-A894-E69570C43B63}" type="datetime'2''''''0''''''''''''''''''''''1''''''''''''''1'''''''''''">
              <a:rPr lang="de-DE" altLang="en-US" sz="1400" smtClean="0"/>
              <a:pPr/>
              <a:t>2011</a:t>
            </a:fld>
            <a:endParaRPr lang="de-DE" sz="1400" dirty="0">
              <a:sym typeface="+mn-lt"/>
            </a:endParaRPr>
          </a:p>
        </p:txBody>
      </p:sp>
      <p:sp>
        <p:nvSpPr>
          <p:cNvPr id="26" name="Textplatzhalter 2">
            <a:extLst>
              <a:ext uri="{FF2B5EF4-FFF2-40B4-BE49-F238E27FC236}">
                <a16:creationId xmlns:a16="http://schemas.microsoft.com/office/drawing/2014/main" xmlns="" id="{834048C8-C6A4-4D6D-9785-5208EF8257C3}"/>
              </a:ext>
            </a:extLst>
          </p:cNvPr>
          <p:cNvSpPr>
            <a:spLocks noGrp="1"/>
          </p:cNvSpPr>
          <p:nvPr>
            <p:custDataLst>
              <p:tags r:id="rId20"/>
            </p:custDataLst>
          </p:nvPr>
        </p:nvSpPr>
        <p:spPr bwMode="auto">
          <a:xfrm>
            <a:off x="3395663"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F2AB07F5-B8D7-4707-A6B7-42424EC17895}" type="datetime'''''''''''''''''''''2''''0''''''''1''4'''''''''''''">
              <a:rPr lang="de-DE" altLang="en-US" sz="1400" smtClean="0"/>
              <a:pPr/>
              <a:t>2014</a:t>
            </a:fld>
            <a:endParaRPr lang="de-DE" sz="1400" dirty="0">
              <a:sym typeface="+mn-lt"/>
            </a:endParaRPr>
          </a:p>
        </p:txBody>
      </p:sp>
      <p:sp>
        <p:nvSpPr>
          <p:cNvPr id="18" name="Textplatzhalter 2">
            <a:extLst>
              <a:ext uri="{FF2B5EF4-FFF2-40B4-BE49-F238E27FC236}">
                <a16:creationId xmlns:a16="http://schemas.microsoft.com/office/drawing/2014/main" xmlns="" id="{04D8C1B6-D0B2-4C50-851F-F1662BC906D9}"/>
              </a:ext>
            </a:extLst>
          </p:cNvPr>
          <p:cNvSpPr>
            <a:spLocks noGrp="1"/>
          </p:cNvSpPr>
          <p:nvPr>
            <p:custDataLst>
              <p:tags r:id="rId21"/>
            </p:custDataLst>
          </p:nvPr>
        </p:nvSpPr>
        <p:spPr bwMode="auto">
          <a:xfrm>
            <a:off x="3659188"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9E8F977-AF73-4BAC-B5BB-E29E153831D0}" type="datetime'''''''''''''2''''''''0''''1''''''''''5'''''''''''''">
              <a:rPr lang="de-DE" altLang="en-US" sz="1400" smtClean="0"/>
              <a:pPr/>
              <a:t>2015</a:t>
            </a:fld>
            <a:endParaRPr lang="de-DE" sz="1400" dirty="0">
              <a:sym typeface="+mn-lt"/>
            </a:endParaRPr>
          </a:p>
        </p:txBody>
      </p:sp>
      <p:sp>
        <p:nvSpPr>
          <p:cNvPr id="17" name="Textplatzhalter 2">
            <a:extLst>
              <a:ext uri="{FF2B5EF4-FFF2-40B4-BE49-F238E27FC236}">
                <a16:creationId xmlns:a16="http://schemas.microsoft.com/office/drawing/2014/main" xmlns="" id="{55EE30C8-AB5A-48DF-9159-B61D878DDD85}"/>
              </a:ext>
            </a:extLst>
          </p:cNvPr>
          <p:cNvSpPr>
            <a:spLocks noGrp="1"/>
          </p:cNvSpPr>
          <p:nvPr>
            <p:custDataLst>
              <p:tags r:id="rId22"/>
            </p:custDataLst>
          </p:nvPr>
        </p:nvSpPr>
        <p:spPr bwMode="auto">
          <a:xfrm>
            <a:off x="3924300"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5A07110-9321-4A51-92AE-84B5578FC39B}" type="datetime'''''''''2''''''''''''''''''''''''0''''''''''''1''6'''''''''''">
              <a:rPr lang="de-DE" altLang="en-US" sz="1400" smtClean="0"/>
              <a:pPr/>
              <a:t>2016</a:t>
            </a:fld>
            <a:endParaRPr lang="de-DE" sz="1400" dirty="0">
              <a:sym typeface="+mn-lt"/>
            </a:endParaRPr>
          </a:p>
        </p:txBody>
      </p:sp>
      <p:sp>
        <p:nvSpPr>
          <p:cNvPr id="24" name="Textplatzhalter 2">
            <a:extLst>
              <a:ext uri="{FF2B5EF4-FFF2-40B4-BE49-F238E27FC236}">
                <a16:creationId xmlns:a16="http://schemas.microsoft.com/office/drawing/2014/main" xmlns="" id="{1DB27A9B-5651-4EF5-B3E7-C613E7C10A7E}"/>
              </a:ext>
            </a:extLst>
          </p:cNvPr>
          <p:cNvSpPr>
            <a:spLocks noGrp="1"/>
          </p:cNvSpPr>
          <p:nvPr>
            <p:custDataLst>
              <p:tags r:id="rId23"/>
            </p:custDataLst>
          </p:nvPr>
        </p:nvSpPr>
        <p:spPr bwMode="auto">
          <a:xfrm>
            <a:off x="4187825"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B3DFFB12-3F53-45CC-9841-C87ECA657D14}" type="datetime'''''''''''''''''2''''''''''''''''''''''''0''''17'''">
              <a:rPr lang="de-DE" altLang="en-US" sz="1400" smtClean="0"/>
              <a:pPr/>
              <a:t>2017</a:t>
            </a:fld>
            <a:endParaRPr lang="de-DE" sz="1400" dirty="0">
              <a:sym typeface="+mn-lt"/>
            </a:endParaRPr>
          </a:p>
        </p:txBody>
      </p:sp>
      <p:sp>
        <p:nvSpPr>
          <p:cNvPr id="27" name="Textplatzhalter 2">
            <a:extLst>
              <a:ext uri="{FF2B5EF4-FFF2-40B4-BE49-F238E27FC236}">
                <a16:creationId xmlns:a16="http://schemas.microsoft.com/office/drawing/2014/main" xmlns="" id="{DA326200-1480-46A8-91A5-58B891AFA3C8}"/>
              </a:ext>
            </a:extLst>
          </p:cNvPr>
          <p:cNvSpPr>
            <a:spLocks noGrp="1"/>
          </p:cNvSpPr>
          <p:nvPr>
            <p:custDataLst>
              <p:tags r:id="rId24"/>
            </p:custDataLst>
          </p:nvPr>
        </p:nvSpPr>
        <p:spPr bwMode="auto">
          <a:xfrm>
            <a:off x="1712913" y="2822575"/>
            <a:ext cx="649288" cy="301625"/>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spcBef>
                <a:spcPct val="0"/>
              </a:spcBef>
              <a:spcAft>
                <a:spcPct val="0"/>
              </a:spcAft>
              <a:buNone/>
            </a:pPr>
            <a:fld id="{0EC07454-BE5A-456D-88FB-DEB18F4B5DB6}" type="datetime'+''1''''''''''''''''8''''''''''''''%'''''''''''">
              <a:rPr lang="en-GB" altLang="en-US" sz="1400" b="1" smtClean="0"/>
              <a:pPr/>
              <a:t>+18%</a:t>
            </a:fld>
            <a:endParaRPr lang="en-GB" sz="1400" b="1" dirty="0">
              <a:sym typeface="+mn-lt"/>
            </a:endParaRPr>
          </a:p>
        </p:txBody>
      </p:sp>
      <p:sp>
        <p:nvSpPr>
          <p:cNvPr id="47" name="Textplatzhalter 2">
            <a:extLst>
              <a:ext uri="{FF2B5EF4-FFF2-40B4-BE49-F238E27FC236}">
                <a16:creationId xmlns:a16="http://schemas.microsoft.com/office/drawing/2014/main" xmlns="" id="{8E2C165A-6129-4A63-BCFE-A52176592F89}"/>
              </a:ext>
            </a:extLst>
          </p:cNvPr>
          <p:cNvSpPr>
            <a:spLocks noGrp="1"/>
          </p:cNvSpPr>
          <p:nvPr>
            <p:custDataLst>
              <p:tags r:id="rId25"/>
            </p:custDataLst>
          </p:nvPr>
        </p:nvSpPr>
        <p:spPr bwMode="auto">
          <a:xfrm>
            <a:off x="3195638" y="2620963"/>
            <a:ext cx="636588" cy="301625"/>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DA085A3F-9E1B-4D58-B99A-8BC735178437}" type="datetime'''+''1''''''1''''''''''''''''''''''''%'''''''">
              <a:rPr lang="de-DE" altLang="en-US" sz="1400" b="1" smtClean="0"/>
              <a:pPr/>
              <a:t>+11%</a:t>
            </a:fld>
            <a:endParaRPr lang="de-DE" sz="1400" b="1" dirty="0">
              <a:sym typeface="+mn-lt"/>
            </a:endParaRPr>
          </a:p>
        </p:txBody>
      </p:sp>
      <p:graphicFrame>
        <p:nvGraphicFramePr>
          <p:cNvPr id="44" name="Chart 3">
            <a:extLst>
              <a:ext uri="{FF2B5EF4-FFF2-40B4-BE49-F238E27FC236}">
                <a16:creationId xmlns:a16="http://schemas.microsoft.com/office/drawing/2014/main" xmlns="" id="{2D891FB0-3405-427D-8637-BE70EB06FCCC}"/>
              </a:ext>
            </a:extLst>
          </p:cNvPr>
          <p:cNvGraphicFramePr/>
          <p:nvPr>
            <p:custDataLst>
              <p:tags r:id="rId26"/>
            </p:custDataLst>
          </p:nvPr>
        </p:nvGraphicFramePr>
        <p:xfrm>
          <a:off x="4716463" y="2363788"/>
          <a:ext cx="3970337" cy="2879725"/>
        </p:xfrm>
        <a:graphic>
          <a:graphicData uri="http://schemas.openxmlformats.org/drawingml/2006/chart">
            <c:chart xmlns:c="http://schemas.openxmlformats.org/drawingml/2006/chart" xmlns:r="http://schemas.openxmlformats.org/officeDocument/2006/relationships" r:id="rId37"/>
          </a:graphicData>
        </a:graphic>
      </p:graphicFrame>
      <p:sp>
        <p:nvSpPr>
          <p:cNvPr id="35" name="Textplatzhalter 2">
            <a:extLst>
              <a:ext uri="{FF2B5EF4-FFF2-40B4-BE49-F238E27FC236}">
                <a16:creationId xmlns:a16="http://schemas.microsoft.com/office/drawing/2014/main" xmlns="" id="{D4AD8A37-3049-43D6-86CC-3A3ABB0BC1B8}"/>
              </a:ext>
            </a:extLst>
          </p:cNvPr>
          <p:cNvSpPr>
            <a:spLocks noGrp="1"/>
          </p:cNvSpPr>
          <p:nvPr>
            <p:custDataLst>
              <p:tags r:id="rId27"/>
            </p:custDataLst>
          </p:nvPr>
        </p:nvSpPr>
        <p:spPr bwMode="auto">
          <a:xfrm>
            <a:off x="5314950" y="5173663"/>
            <a:ext cx="4175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C6360EE9-E488-46A1-8BFE-0529A3593885}" type="datetime'''''''''''''''''''''W''''i''''''''''''''''''en'''''''''''''''">
              <a:rPr lang="de-DE" altLang="en-US" sz="1400" smtClean="0">
                <a:sym typeface="+mn-lt"/>
              </a:rPr>
              <a:pPr/>
              <a:t>Wien</a:t>
            </a:fld>
            <a:endParaRPr lang="de-DE" sz="1400" dirty="0">
              <a:sym typeface="+mn-lt"/>
            </a:endParaRPr>
          </a:p>
        </p:txBody>
      </p:sp>
      <p:sp>
        <p:nvSpPr>
          <p:cNvPr id="36" name="Textplatzhalter 2">
            <a:extLst>
              <a:ext uri="{FF2B5EF4-FFF2-40B4-BE49-F238E27FC236}">
                <a16:creationId xmlns:a16="http://schemas.microsoft.com/office/drawing/2014/main" xmlns="" id="{894D64EE-249A-44A0-89B2-9944A21161A8}"/>
              </a:ext>
            </a:extLst>
          </p:cNvPr>
          <p:cNvSpPr>
            <a:spLocks noGrp="1"/>
          </p:cNvSpPr>
          <p:nvPr>
            <p:custDataLst>
              <p:tags r:id="rId28"/>
            </p:custDataLst>
          </p:nvPr>
        </p:nvSpPr>
        <p:spPr bwMode="auto">
          <a:xfrm>
            <a:off x="5973763" y="5173663"/>
            <a:ext cx="4667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119EFB1F-C2CC-42B9-8451-87DAB226439D}" type="datetime'''B''e''''''''''''''''''''r''''''li''''''n'''">
              <a:rPr lang="de-DE" altLang="en-US" sz="1400" smtClean="0">
                <a:sym typeface="+mn-lt"/>
              </a:rPr>
              <a:pPr/>
              <a:t>Berlin</a:t>
            </a:fld>
            <a:endParaRPr lang="de-DE" sz="1400" dirty="0">
              <a:sym typeface="+mn-lt"/>
            </a:endParaRPr>
          </a:p>
        </p:txBody>
      </p:sp>
      <p:sp>
        <p:nvSpPr>
          <p:cNvPr id="38" name="Textplatzhalter 2">
            <a:extLst>
              <a:ext uri="{FF2B5EF4-FFF2-40B4-BE49-F238E27FC236}">
                <a16:creationId xmlns:a16="http://schemas.microsoft.com/office/drawing/2014/main" xmlns="" id="{0C91CBC0-F85D-4C18-BF0B-09D5AE41B149}"/>
              </a:ext>
            </a:extLst>
          </p:cNvPr>
          <p:cNvSpPr>
            <a:spLocks noGrp="1"/>
          </p:cNvSpPr>
          <p:nvPr>
            <p:custDataLst>
              <p:tags r:id="rId29"/>
            </p:custDataLst>
          </p:nvPr>
        </p:nvSpPr>
        <p:spPr bwMode="auto">
          <a:xfrm>
            <a:off x="8077200" y="5173663"/>
            <a:ext cx="3683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37C1A7EE-19DA-479C-9DA2-DB90D6BBE566}" type="datetime'Köl''''''''''''''''''''''''''''''''''''''''''''''''''''''n'''">
              <a:rPr lang="de-DE" altLang="en-US" sz="1400" smtClean="0">
                <a:sym typeface="+mn-lt"/>
              </a:rPr>
              <a:pPr/>
              <a:t>Köln</a:t>
            </a:fld>
            <a:endParaRPr lang="de-DE" sz="1400" dirty="0">
              <a:sym typeface="+mn-lt"/>
            </a:endParaRPr>
          </a:p>
        </p:txBody>
      </p:sp>
      <p:sp>
        <p:nvSpPr>
          <p:cNvPr id="37" name="Textplatzhalter 2">
            <a:extLst>
              <a:ext uri="{FF2B5EF4-FFF2-40B4-BE49-F238E27FC236}">
                <a16:creationId xmlns:a16="http://schemas.microsoft.com/office/drawing/2014/main" xmlns="" id="{9A8E8550-6D7F-4B74-B9BD-4C68AE5F4366}"/>
              </a:ext>
            </a:extLst>
          </p:cNvPr>
          <p:cNvSpPr>
            <a:spLocks noGrp="1"/>
          </p:cNvSpPr>
          <p:nvPr>
            <p:custDataLst>
              <p:tags r:id="rId30"/>
            </p:custDataLst>
          </p:nvPr>
        </p:nvSpPr>
        <p:spPr bwMode="auto">
          <a:xfrm>
            <a:off x="6670675" y="5173662"/>
            <a:ext cx="446088"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49DDFFF9-7F8B-4C5C-AE34-59A4E38C0B45}" type="datetime'''H''''''''''''''''''a''m''''-b''''''''urg'''''''''''''''''''">
              <a:rPr lang="de-DE" altLang="en-US" sz="1400" smtClean="0"/>
              <a:pPr/>
              <a:t>Ham-burg</a:t>
            </a:fld>
            <a:endParaRPr lang="de-DE" sz="1400" dirty="0">
              <a:sym typeface="+mn-lt"/>
            </a:endParaRPr>
          </a:p>
        </p:txBody>
      </p:sp>
      <p:sp>
        <p:nvSpPr>
          <p:cNvPr id="39" name="Textplatzhalter 2">
            <a:extLst>
              <a:ext uri="{FF2B5EF4-FFF2-40B4-BE49-F238E27FC236}">
                <a16:creationId xmlns:a16="http://schemas.microsoft.com/office/drawing/2014/main" xmlns="" id="{C033F108-6545-4DBA-B1C2-219C0FEFE51E}"/>
              </a:ext>
            </a:extLst>
          </p:cNvPr>
          <p:cNvSpPr>
            <a:spLocks noGrp="1"/>
          </p:cNvSpPr>
          <p:nvPr>
            <p:custDataLst>
              <p:tags r:id="rId31"/>
            </p:custDataLst>
          </p:nvPr>
        </p:nvSpPr>
        <p:spPr bwMode="auto">
          <a:xfrm>
            <a:off x="7207250" y="5173663"/>
            <a:ext cx="7413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30150279-E5E5-4EF6-9CF7-FD2BF6B86AB7}" type="datetime'M''''ü''''''n''''c''''''h''''''''''''''''''''e''''''''''''n'">
              <a:rPr lang="de-DE" altLang="en-US" sz="1400" smtClean="0">
                <a:sym typeface="+mn-lt"/>
              </a:rPr>
              <a:pPr/>
              <a:t>München</a:t>
            </a:fld>
            <a:endParaRPr lang="de-DE" sz="1400" dirty="0">
              <a:sym typeface="+mn-lt"/>
            </a:endParaRPr>
          </a:p>
        </p:txBody>
      </p:sp>
      <p:cxnSp>
        <p:nvCxnSpPr>
          <p:cNvPr id="48" name="Gerader Verbinder 47">
            <a:extLst>
              <a:ext uri="{FF2B5EF4-FFF2-40B4-BE49-F238E27FC236}">
                <a16:creationId xmlns:a16="http://schemas.microsoft.com/office/drawing/2014/main" xmlns="" id="{7EE7DB5F-E91B-41E1-8AF1-AF5625E54820}"/>
              </a:ext>
            </a:extLst>
          </p:cNvPr>
          <p:cNvCxnSpPr>
            <a:cxnSpLocks/>
          </p:cNvCxnSpPr>
          <p:nvPr/>
        </p:nvCxnSpPr>
        <p:spPr>
          <a:xfrm flipV="1">
            <a:off x="2709862" y="2996952"/>
            <a:ext cx="0" cy="1944216"/>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9" name="Gerade Verbindung 87">
            <a:extLst>
              <a:ext uri="{FF2B5EF4-FFF2-40B4-BE49-F238E27FC236}">
                <a16:creationId xmlns:a16="http://schemas.microsoft.com/office/drawing/2014/main" xmlns="" id="{5CD99D21-1140-466D-8D80-5290B2310609}"/>
              </a:ext>
            </a:extLst>
          </p:cNvPr>
          <p:cNvCxnSpPr/>
          <p:nvPr/>
        </p:nvCxnSpPr>
        <p:spPr>
          <a:xfrm>
            <a:off x="4781550" y="2033290"/>
            <a:ext cx="38195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xmlns="" id="{D7669B5F-FB9A-4807-93ED-4DDF4DEF3F53}"/>
              </a:ext>
            </a:extLst>
          </p:cNvPr>
          <p:cNvSpPr txBox="1"/>
          <p:nvPr/>
        </p:nvSpPr>
        <p:spPr>
          <a:xfrm>
            <a:off x="4681604" y="1561109"/>
            <a:ext cx="3934954" cy="777136"/>
          </a:xfrm>
          <a:prstGeom prst="rect">
            <a:avLst/>
          </a:prstGeom>
          <a:noFill/>
        </p:spPr>
        <p:txBody>
          <a:bodyPr wrap="square" rtlCol="0">
            <a:spAutoFit/>
          </a:bodyPr>
          <a:lstStyle/>
          <a:p>
            <a:pPr>
              <a:spcBef>
                <a:spcPts val="300"/>
              </a:spcBef>
            </a:pPr>
            <a:r>
              <a:rPr lang="de-DE" sz="1400" b="1" dirty="0"/>
              <a:t>Relative Veränderung </a:t>
            </a:r>
            <a:br>
              <a:rPr lang="de-DE" sz="1400" b="1" dirty="0"/>
            </a:br>
            <a:r>
              <a:rPr lang="de-DE" sz="1400" b="1" dirty="0"/>
              <a:t>des ÖPNV-Angebots 2006-2017</a:t>
            </a:r>
          </a:p>
          <a:p>
            <a:pPr>
              <a:spcBef>
                <a:spcPts val="300"/>
              </a:spcBef>
            </a:pPr>
            <a:r>
              <a:rPr lang="de-DE" sz="1400" dirty="0"/>
              <a:t>%</a:t>
            </a:r>
          </a:p>
        </p:txBody>
      </p:sp>
      <p:cxnSp>
        <p:nvCxnSpPr>
          <p:cNvPr id="51" name="Gerade Verbindung 93">
            <a:extLst>
              <a:ext uri="{FF2B5EF4-FFF2-40B4-BE49-F238E27FC236}">
                <a16:creationId xmlns:a16="http://schemas.microsoft.com/office/drawing/2014/main" xmlns="" id="{DE789D88-9998-4CC4-A277-E69A4870214A}"/>
              </a:ext>
            </a:extLst>
          </p:cNvPr>
          <p:cNvCxnSpPr/>
          <p:nvPr/>
        </p:nvCxnSpPr>
        <p:spPr>
          <a:xfrm>
            <a:off x="538161" y="2033290"/>
            <a:ext cx="380365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xmlns="" id="{CA15C236-F622-4B55-A8BA-AA76E7FC41ED}"/>
              </a:ext>
            </a:extLst>
          </p:cNvPr>
          <p:cNvSpPr txBox="1"/>
          <p:nvPr/>
        </p:nvSpPr>
        <p:spPr>
          <a:xfrm>
            <a:off x="433636" y="1561109"/>
            <a:ext cx="3565400" cy="777136"/>
          </a:xfrm>
          <a:prstGeom prst="rect">
            <a:avLst/>
          </a:prstGeom>
          <a:noFill/>
        </p:spPr>
        <p:txBody>
          <a:bodyPr wrap="none" rtlCol="0">
            <a:spAutoFit/>
          </a:bodyPr>
          <a:lstStyle/>
          <a:p>
            <a:pPr>
              <a:spcBef>
                <a:spcPts val="300"/>
              </a:spcBef>
            </a:pPr>
            <a:r>
              <a:rPr lang="de-DE" sz="1400" b="1" dirty="0"/>
              <a:t>Entwicklung der Platzkilometer in Wien </a:t>
            </a:r>
            <a:br>
              <a:rPr lang="de-DE" sz="1400" b="1" dirty="0"/>
            </a:br>
            <a:r>
              <a:rPr lang="de-DE" sz="1400" b="1" dirty="0"/>
              <a:t>2000-2017</a:t>
            </a:r>
          </a:p>
          <a:p>
            <a:pPr>
              <a:spcBef>
                <a:spcPts val="300"/>
              </a:spcBef>
            </a:pPr>
            <a:r>
              <a:rPr lang="de-DE" sz="1400" dirty="0"/>
              <a:t>Mio. Platzkilometer</a:t>
            </a:r>
          </a:p>
        </p:txBody>
      </p:sp>
      <p:cxnSp>
        <p:nvCxnSpPr>
          <p:cNvPr id="57" name="Gerader Verbinder 49">
            <a:extLst>
              <a:ext uri="{FF2B5EF4-FFF2-40B4-BE49-F238E27FC236}">
                <a16:creationId xmlns:a16="http://schemas.microsoft.com/office/drawing/2014/main" xmlns="" id="{F41FBEB4-A64B-4847-BED1-E5A00A646A4E}"/>
              </a:ext>
            </a:extLst>
          </p:cNvPr>
          <p:cNvCxnSpPr>
            <a:cxnSpLocks/>
          </p:cNvCxnSpPr>
          <p:nvPr/>
        </p:nvCxnSpPr>
        <p:spPr>
          <a:xfrm>
            <a:off x="2720883" y="2619376"/>
            <a:ext cx="0" cy="2392362"/>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xmlns="" id="{3D9396AA-C40B-4D39-A815-70044312EB7B}"/>
              </a:ext>
            </a:extLst>
          </p:cNvPr>
          <p:cNvSpPr txBox="1"/>
          <p:nvPr/>
        </p:nvSpPr>
        <p:spPr>
          <a:xfrm>
            <a:off x="1331640" y="4756502"/>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
        <p:nvSpPr>
          <p:cNvPr id="46" name="Textfeld 45">
            <a:extLst>
              <a:ext uri="{FF2B5EF4-FFF2-40B4-BE49-F238E27FC236}">
                <a16:creationId xmlns:a16="http://schemas.microsoft.com/office/drawing/2014/main" xmlns="" id="{A35CA930-B450-4181-91CB-0109F1B4A27A}"/>
              </a:ext>
            </a:extLst>
          </p:cNvPr>
          <p:cNvSpPr txBox="1"/>
          <p:nvPr/>
        </p:nvSpPr>
        <p:spPr>
          <a:xfrm>
            <a:off x="5210158" y="4900518"/>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Tree>
    <p:extLst>
      <p:ext uri="{BB962C8B-B14F-4D97-AF65-F5344CB8AC3E}">
        <p14:creationId xmlns:p14="http://schemas.microsoft.com/office/powerpoint/2010/main" val="1743777627"/>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326C54D7-C6AA-40C4-BC6A-E925C563D8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1789" name="think-cell Folie" r:id="rId7" imgW="530" imgH="531" progId="TCLayout.ActiveDocument.1">
                  <p:embed/>
                </p:oleObj>
              </mc:Choice>
              <mc:Fallback>
                <p:oleObj name="think-cell Folie" r:id="rId7" imgW="530" imgH="531" progId="TCLayout.ActiveDocument.1">
                  <p:embed/>
                  <p:pic>
                    <p:nvPicPr>
                      <p:cNvPr id="10" name="Objekt 9" hidden="1">
                        <a:extLst>
                          <a:ext uri="{FF2B5EF4-FFF2-40B4-BE49-F238E27FC236}">
                            <a16:creationId xmlns:a16="http://schemas.microsoft.com/office/drawing/2014/main" xmlns="" id="{326C54D7-C6AA-40C4-BC6A-E925C563D89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xmlns="" id="{2E827970-2BF4-4016-8CF5-592865BE5C49}"/>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xmlns="" id="{4B3D66C5-32B6-41EB-9240-1DA84B177CBB}"/>
              </a:ext>
            </a:extLst>
          </p:cNvPr>
          <p:cNvSpPr>
            <a:spLocks noGrp="1"/>
          </p:cNvSpPr>
          <p:nvPr>
            <p:ph type="title"/>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Im Zuge der Tarifreform im Jahr 2012 wurde die Parkraumbewirtschaftung in Wien deutlich intensiviert</a:t>
            </a:r>
            <a:endParaRPr lang="de-DE" dirty="0"/>
          </a:p>
        </p:txBody>
      </p:sp>
      <p:sp>
        <p:nvSpPr>
          <p:cNvPr id="3" name="Inhaltsplatzhalter 2">
            <a:extLst>
              <a:ext uri="{FF2B5EF4-FFF2-40B4-BE49-F238E27FC236}">
                <a16:creationId xmlns:a16="http://schemas.microsoft.com/office/drawing/2014/main" xmlns="" id="{50F29F25-E7C7-49AF-B441-8B02BF1ACF49}"/>
              </a:ext>
            </a:extLst>
          </p:cNvPr>
          <p:cNvSpPr>
            <a:spLocks noGrp="1"/>
          </p:cNvSpPr>
          <p:nvPr>
            <p:ph idx="1"/>
          </p:nvPr>
        </p:nvSpPr>
        <p:spPr>
          <a:xfrm>
            <a:off x="451758" y="1083558"/>
            <a:ext cx="6635010" cy="292316"/>
          </a:xfrm>
        </p:spPr>
        <p:txBody>
          <a:bodyPr/>
          <a:lstStyle/>
          <a:p>
            <a:r>
              <a:rPr lang="de-DE" dirty="0">
                <a:latin typeface="Arial" panose="020B0604020202020204" pitchFamily="34" charset="0"/>
                <a:cs typeface="Arial" panose="020B0604020202020204" pitchFamily="34" charset="0"/>
                <a:sym typeface="Arial" panose="020B0604020202020204" pitchFamily="34" charset="0"/>
              </a:rPr>
              <a:t>Parkraumbewirtschaftung</a:t>
            </a:r>
            <a:endParaRPr lang="de-DE" dirty="0"/>
          </a:p>
          <a:p>
            <a:endParaRPr lang="de-DE" dirty="0"/>
          </a:p>
        </p:txBody>
      </p:sp>
      <p:sp>
        <p:nvSpPr>
          <p:cNvPr id="4" name="Foliennummernplatzhalter 3">
            <a:extLst>
              <a:ext uri="{FF2B5EF4-FFF2-40B4-BE49-F238E27FC236}">
                <a16:creationId xmlns:a16="http://schemas.microsoft.com/office/drawing/2014/main" xmlns="" id="{637E6D63-FAB0-4BDB-A4AF-635E46854707}"/>
              </a:ext>
            </a:extLst>
          </p:cNvPr>
          <p:cNvSpPr>
            <a:spLocks noGrp="1"/>
          </p:cNvSpPr>
          <p:nvPr>
            <p:ph type="sldNum" sz="quarter" idx="11"/>
          </p:nvPr>
        </p:nvSpPr>
        <p:spPr/>
        <p:txBody>
          <a:bodyPr/>
          <a:lstStyle/>
          <a:p>
            <a:fld id="{CD21EFEB-933F-4F46-A5AD-B6372944D9E5}" type="slidenum">
              <a:rPr lang="de-DE" smtClean="0"/>
              <a:pPr/>
              <a:t>16</a:t>
            </a:fld>
            <a:endParaRPr lang="de-DE" dirty="0"/>
          </a:p>
        </p:txBody>
      </p:sp>
      <p:pic>
        <p:nvPicPr>
          <p:cNvPr id="5" name="Grafik 4">
            <a:extLst>
              <a:ext uri="{FF2B5EF4-FFF2-40B4-BE49-F238E27FC236}">
                <a16:creationId xmlns:a16="http://schemas.microsoft.com/office/drawing/2014/main" xmlns="" id="{D97E20DA-4E12-4853-99BD-00A6E8B53141}"/>
              </a:ext>
            </a:extLst>
          </p:cNvPr>
          <p:cNvPicPr>
            <a:picLocks noChangeAspect="1"/>
          </p:cNvPicPr>
          <p:nvPr/>
        </p:nvPicPr>
        <p:blipFill>
          <a:blip r:embed="rId9"/>
          <a:stretch>
            <a:fillRect/>
          </a:stretch>
        </p:blipFill>
        <p:spPr>
          <a:xfrm>
            <a:off x="539552" y="2277523"/>
            <a:ext cx="3819525" cy="2828825"/>
          </a:xfrm>
          <a:prstGeom prst="rect">
            <a:avLst/>
          </a:prstGeom>
        </p:spPr>
      </p:pic>
      <p:sp>
        <p:nvSpPr>
          <p:cNvPr id="8" name="Freeform 7">
            <a:extLst>
              <a:ext uri="{FF2B5EF4-FFF2-40B4-BE49-F238E27FC236}">
                <a16:creationId xmlns:a16="http://schemas.microsoft.com/office/drawing/2014/main" xmlns="" id="{8E3892E4-EBD9-463C-BC18-F6D186FE4F5A}"/>
              </a:ext>
            </a:extLst>
          </p:cNvPr>
          <p:cNvSpPr>
            <a:spLocks/>
          </p:cNvSpPr>
          <p:nvPr>
            <p:custDataLst>
              <p:tags r:id="rId4"/>
            </p:custDataLst>
          </p:nvPr>
        </p:nvSpPr>
        <p:spPr bwMode="auto">
          <a:xfrm>
            <a:off x="4427984" y="2902698"/>
            <a:ext cx="288032" cy="1578476"/>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1"/>
          </a:solidFill>
          <a:ln w="12700" cap="rnd">
            <a:noFill/>
            <a:round/>
            <a:headEnd type="none" w="sm" len="sm"/>
            <a:tailEnd type="none" w="sm" len="sm"/>
          </a:ln>
          <a:effectLst/>
        </p:spPr>
        <p:txBody>
          <a:bodyPr/>
          <a:lstStyle/>
          <a:p>
            <a:endParaRPr lang="de-DE" dirty="0"/>
          </a:p>
        </p:txBody>
      </p:sp>
      <p:cxnSp>
        <p:nvCxnSpPr>
          <p:cNvPr id="11" name="Gerade Verbindung 87">
            <a:extLst>
              <a:ext uri="{FF2B5EF4-FFF2-40B4-BE49-F238E27FC236}">
                <a16:creationId xmlns:a16="http://schemas.microsoft.com/office/drawing/2014/main" xmlns="" id="{09DF22D5-79CA-4884-9DC2-0BE8081F1A25}"/>
              </a:ext>
            </a:extLst>
          </p:cNvPr>
          <p:cNvCxnSpPr/>
          <p:nvPr/>
        </p:nvCxnSpPr>
        <p:spPr>
          <a:xfrm>
            <a:off x="4781550" y="1988840"/>
            <a:ext cx="38195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xmlns="" id="{C90AEB78-715F-4014-BAFF-352845806B7B}"/>
              </a:ext>
            </a:extLst>
          </p:cNvPr>
          <p:cNvSpPr txBox="1"/>
          <p:nvPr/>
        </p:nvSpPr>
        <p:spPr>
          <a:xfrm>
            <a:off x="4681604" y="1719859"/>
            <a:ext cx="524503" cy="276999"/>
          </a:xfrm>
          <a:prstGeom prst="rect">
            <a:avLst/>
          </a:prstGeom>
          <a:noFill/>
        </p:spPr>
        <p:txBody>
          <a:bodyPr wrap="none" rtlCol="0">
            <a:spAutoFit/>
          </a:bodyPr>
          <a:lstStyle/>
          <a:p>
            <a:pPr>
              <a:spcBef>
                <a:spcPts val="600"/>
              </a:spcBef>
            </a:pPr>
            <a:r>
              <a:rPr lang="de-DE" sz="1200" b="1" dirty="0"/>
              <a:t>2018</a:t>
            </a:r>
            <a:endParaRPr lang="de-DE" sz="1200" dirty="0"/>
          </a:p>
        </p:txBody>
      </p:sp>
      <p:cxnSp>
        <p:nvCxnSpPr>
          <p:cNvPr id="13" name="Gerade Verbindung 93">
            <a:extLst>
              <a:ext uri="{FF2B5EF4-FFF2-40B4-BE49-F238E27FC236}">
                <a16:creationId xmlns:a16="http://schemas.microsoft.com/office/drawing/2014/main" xmlns="" id="{0D027C4A-1DB8-4367-996B-50593D763D23}"/>
              </a:ext>
            </a:extLst>
          </p:cNvPr>
          <p:cNvCxnSpPr/>
          <p:nvPr/>
        </p:nvCxnSpPr>
        <p:spPr>
          <a:xfrm>
            <a:off x="538161" y="1988840"/>
            <a:ext cx="380365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xmlns="" id="{75144EBF-2CC0-401F-9F84-1E7895D7079A}"/>
              </a:ext>
            </a:extLst>
          </p:cNvPr>
          <p:cNvSpPr txBox="1"/>
          <p:nvPr/>
        </p:nvSpPr>
        <p:spPr>
          <a:xfrm>
            <a:off x="433636" y="1719859"/>
            <a:ext cx="524503" cy="276999"/>
          </a:xfrm>
          <a:prstGeom prst="rect">
            <a:avLst/>
          </a:prstGeom>
          <a:noFill/>
        </p:spPr>
        <p:txBody>
          <a:bodyPr wrap="none" rtlCol="0">
            <a:spAutoFit/>
          </a:bodyPr>
          <a:lstStyle/>
          <a:p>
            <a:r>
              <a:rPr lang="de-DE" sz="1200" b="1" dirty="0"/>
              <a:t>1995</a:t>
            </a:r>
            <a:endParaRPr lang="de-DE" sz="1200" dirty="0"/>
          </a:p>
        </p:txBody>
      </p:sp>
      <p:sp>
        <p:nvSpPr>
          <p:cNvPr id="15" name="Rechteck 14">
            <a:extLst>
              <a:ext uri="{FF2B5EF4-FFF2-40B4-BE49-F238E27FC236}">
                <a16:creationId xmlns:a16="http://schemas.microsoft.com/office/drawing/2014/main" xmlns="" id="{E0947388-BC20-4BF7-8A53-0CCD4DDD3E41}"/>
              </a:ext>
            </a:extLst>
          </p:cNvPr>
          <p:cNvSpPr/>
          <p:nvPr/>
        </p:nvSpPr>
        <p:spPr>
          <a:xfrm>
            <a:off x="3567709" y="2185000"/>
            <a:ext cx="648072" cy="833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6" name="Rechteck 15">
            <a:extLst>
              <a:ext uri="{FF2B5EF4-FFF2-40B4-BE49-F238E27FC236}">
                <a16:creationId xmlns:a16="http://schemas.microsoft.com/office/drawing/2014/main" xmlns="" id="{ACD3BB48-BB3C-44E3-A7BF-E4F0E285E6D9}"/>
              </a:ext>
            </a:extLst>
          </p:cNvPr>
          <p:cNvSpPr/>
          <p:nvPr/>
        </p:nvSpPr>
        <p:spPr>
          <a:xfrm>
            <a:off x="7900373" y="2567527"/>
            <a:ext cx="936104" cy="504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8" name="Textfeld 17">
            <a:extLst>
              <a:ext uri="{FF2B5EF4-FFF2-40B4-BE49-F238E27FC236}">
                <a16:creationId xmlns:a16="http://schemas.microsoft.com/office/drawing/2014/main" xmlns="" id="{ECB0102A-D3D7-4457-ADFD-AC2C41713CF1}"/>
              </a:ext>
            </a:extLst>
          </p:cNvPr>
          <p:cNvSpPr txBox="1"/>
          <p:nvPr/>
        </p:nvSpPr>
        <p:spPr>
          <a:xfrm>
            <a:off x="5765894" y="5430661"/>
            <a:ext cx="1542410" cy="276999"/>
          </a:xfrm>
          <a:prstGeom prst="rect">
            <a:avLst/>
          </a:prstGeom>
          <a:noFill/>
        </p:spPr>
        <p:txBody>
          <a:bodyPr wrap="none" rtlCol="0">
            <a:spAutoFit/>
          </a:bodyPr>
          <a:lstStyle/>
          <a:p>
            <a:pPr>
              <a:spcBef>
                <a:spcPts val="600"/>
              </a:spcBef>
            </a:pPr>
            <a:r>
              <a:rPr lang="de-DE" sz="1200" b="1" dirty="0"/>
              <a:t>299.800 Stellplätze</a:t>
            </a:r>
            <a:endParaRPr lang="de-DE" sz="1200" dirty="0"/>
          </a:p>
        </p:txBody>
      </p:sp>
      <p:sp>
        <p:nvSpPr>
          <p:cNvPr id="19" name="Textfeld 18">
            <a:extLst>
              <a:ext uri="{FF2B5EF4-FFF2-40B4-BE49-F238E27FC236}">
                <a16:creationId xmlns:a16="http://schemas.microsoft.com/office/drawing/2014/main" xmlns="" id="{5255CD3F-F412-4366-8655-15BCE1920CF3}"/>
              </a:ext>
            </a:extLst>
          </p:cNvPr>
          <p:cNvSpPr txBox="1"/>
          <p:nvPr/>
        </p:nvSpPr>
        <p:spPr>
          <a:xfrm>
            <a:off x="1517926" y="5430661"/>
            <a:ext cx="1457450" cy="276999"/>
          </a:xfrm>
          <a:prstGeom prst="rect">
            <a:avLst/>
          </a:prstGeom>
          <a:noFill/>
        </p:spPr>
        <p:txBody>
          <a:bodyPr wrap="none" rtlCol="0">
            <a:spAutoFit/>
          </a:bodyPr>
          <a:lstStyle/>
          <a:p>
            <a:r>
              <a:rPr lang="de-DE" sz="1200" b="1" dirty="0"/>
              <a:t>27.500 Stellplätze</a:t>
            </a:r>
            <a:endParaRPr lang="de-DE" sz="1200" dirty="0"/>
          </a:p>
        </p:txBody>
      </p:sp>
      <p:pic>
        <p:nvPicPr>
          <p:cNvPr id="21" name="Grafik 20">
            <a:extLst>
              <a:ext uri="{FF2B5EF4-FFF2-40B4-BE49-F238E27FC236}">
                <a16:creationId xmlns:a16="http://schemas.microsoft.com/office/drawing/2014/main" xmlns="" id="{0320F0A3-0990-4CC7-8A60-7B0DE382753A}"/>
              </a:ext>
            </a:extLst>
          </p:cNvPr>
          <p:cNvPicPr>
            <a:picLocks noChangeAspect="1"/>
          </p:cNvPicPr>
          <p:nvPr/>
        </p:nvPicPr>
        <p:blipFill>
          <a:blip r:embed="rId10"/>
          <a:stretch>
            <a:fillRect/>
          </a:stretch>
        </p:blipFill>
        <p:spPr>
          <a:xfrm>
            <a:off x="4780681" y="2277523"/>
            <a:ext cx="3819524" cy="2828825"/>
          </a:xfrm>
          <a:prstGeom prst="rect">
            <a:avLst/>
          </a:prstGeom>
        </p:spPr>
      </p:pic>
      <p:sp>
        <p:nvSpPr>
          <p:cNvPr id="22" name="Textfeld 21">
            <a:extLst>
              <a:ext uri="{FF2B5EF4-FFF2-40B4-BE49-F238E27FC236}">
                <a16:creationId xmlns:a16="http://schemas.microsoft.com/office/drawing/2014/main" xmlns="" id="{7C0173FA-4F5D-4FA2-8AEF-69657DF91000}"/>
              </a:ext>
            </a:extLst>
          </p:cNvPr>
          <p:cNvSpPr txBox="1"/>
          <p:nvPr/>
        </p:nvSpPr>
        <p:spPr>
          <a:xfrm>
            <a:off x="451758" y="5877272"/>
            <a:ext cx="6064458" cy="215444"/>
          </a:xfrm>
          <a:prstGeom prst="rect">
            <a:avLst/>
          </a:prstGeom>
          <a:noFill/>
        </p:spPr>
        <p:txBody>
          <a:bodyPr wrap="square" rtlCol="0">
            <a:spAutoFit/>
          </a:bodyPr>
          <a:lstStyle/>
          <a:p>
            <a:pPr lvl="0">
              <a:defRPr/>
            </a:pPr>
            <a:r>
              <a:rPr kumimoji="0" lang="de-DE" sz="800" b="0" i="0" u="none" strike="noStrike" kern="1200" cap="none" spc="0" normalizeH="0" baseline="0" noProof="0" dirty="0">
                <a:ln>
                  <a:noFill/>
                </a:ln>
                <a:solidFill>
                  <a:prstClr val="black"/>
                </a:solidFill>
                <a:effectLst/>
                <a:uLnTx/>
                <a:uFillTx/>
                <a:latin typeface="Arial"/>
                <a:ea typeface="+mn-ea"/>
                <a:cs typeface="+mn-cs"/>
              </a:rPr>
              <a:t>Quellen: civity Analyse 2019</a:t>
            </a:r>
            <a:r>
              <a:rPr lang="de-DE" sz="800" dirty="0">
                <a:solidFill>
                  <a:prstClr val="black"/>
                </a:solidFill>
              </a:rPr>
              <a:t>, </a:t>
            </a:r>
            <a:r>
              <a:rPr lang="de-DE" sz="800" dirty="0" err="1">
                <a:solidFill>
                  <a:prstClr val="black"/>
                </a:solidFill>
              </a:rPr>
              <a:t>Corine</a:t>
            </a:r>
            <a:r>
              <a:rPr lang="de-DE" sz="800" dirty="0">
                <a:solidFill>
                  <a:prstClr val="black"/>
                </a:solidFill>
              </a:rPr>
              <a:t> Land Cover 2018, </a:t>
            </a:r>
            <a:endParaRPr kumimoji="0" lang="de-DE" sz="8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23" name="Gerade Verbindung 28">
            <a:extLst>
              <a:ext uri="{FF2B5EF4-FFF2-40B4-BE49-F238E27FC236}">
                <a16:creationId xmlns:a16="http://schemas.microsoft.com/office/drawing/2014/main" xmlns="" id="{54EAEF04-6B0B-4A11-8FDB-A616DA47C18D}"/>
              </a:ext>
            </a:extLst>
          </p:cNvPr>
          <p:cNvCxnSpPr/>
          <p:nvPr>
            <p:custDataLst>
              <p:tags r:id="rId5"/>
            </p:custDataLst>
          </p:nvPr>
        </p:nvCxnSpPr>
        <p:spPr>
          <a:xfrm>
            <a:off x="541538" y="5877272"/>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xmlns="" id="{8A313345-BD35-4005-AE1B-AB0826E284F4}"/>
              </a:ext>
            </a:extLst>
          </p:cNvPr>
          <p:cNvSpPr txBox="1"/>
          <p:nvPr/>
        </p:nvSpPr>
        <p:spPr>
          <a:xfrm>
            <a:off x="6012160" y="3152001"/>
            <a:ext cx="524503" cy="276999"/>
          </a:xfrm>
          <a:prstGeom prst="rect">
            <a:avLst/>
          </a:prstGeom>
          <a:noFill/>
        </p:spPr>
        <p:txBody>
          <a:bodyPr wrap="none" rtlCol="0">
            <a:spAutoFit/>
          </a:bodyPr>
          <a:lstStyle/>
          <a:p>
            <a:pPr>
              <a:spcBef>
                <a:spcPts val="600"/>
              </a:spcBef>
            </a:pPr>
            <a:r>
              <a:rPr lang="de-DE" sz="1200" b="1" dirty="0">
                <a:solidFill>
                  <a:schemeClr val="bg1"/>
                </a:solidFill>
              </a:rPr>
              <a:t>2019</a:t>
            </a:r>
            <a:endParaRPr lang="de-DE" sz="1200" dirty="0">
              <a:solidFill>
                <a:schemeClr val="bg1"/>
              </a:solidFill>
            </a:endParaRPr>
          </a:p>
        </p:txBody>
      </p:sp>
    </p:spTree>
    <p:extLst>
      <p:ext uri="{BB962C8B-B14F-4D97-AF65-F5344CB8AC3E}">
        <p14:creationId xmlns:p14="http://schemas.microsoft.com/office/powerpoint/2010/main" val="3299571624"/>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497" name="think-cell Folie" r:id="rId8" imgW="270" imgH="270" progId="TCLayout.ActiveDocument.1">
                  <p:embed/>
                </p:oleObj>
              </mc:Choice>
              <mc:Fallback>
                <p:oleObj name="think-cell Folie" r:id="rId8" imgW="270" imgH="270" progId="TCLayout.ActiveDocument.1">
                  <p:embed/>
                  <p:pic>
                    <p:nvPicPr>
                      <p:cNvPr id="17" name="Objek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8" name="Rechteck 7" hidden="1"/>
          <p:cNvSpPr/>
          <p:nvPr>
            <p:custDataLst>
              <p:tags r:id="rId3"/>
            </p:custDataLst>
          </p:nvPr>
        </p:nvSpPr>
        <p:spPr bwMode="auto">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pic>
        <p:nvPicPr>
          <p:cNvPr id="112" name="Inhaltsplatzhalter 5">
            <a:extLst>
              <a:ext uri="{FF2B5EF4-FFF2-40B4-BE49-F238E27FC236}">
                <a16:creationId xmlns:a16="http://schemas.microsoft.com/office/drawing/2014/main" xmlns="" id="{28C7F4E7-00FD-4713-8F91-B33A207AD7BF}"/>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554138" y="1878543"/>
            <a:ext cx="1651063" cy="1554139"/>
          </a:xfrm>
          <a:prstGeom prst="rect">
            <a:avLst/>
          </a:prstGeom>
          <a:ln>
            <a:solidFill>
              <a:schemeClr val="accent5"/>
            </a:solidFill>
          </a:ln>
        </p:spPr>
      </p:pic>
      <p:cxnSp>
        <p:nvCxnSpPr>
          <p:cNvPr id="11" name="Gerader Verbinder 10">
            <a:extLst>
              <a:ext uri="{FF2B5EF4-FFF2-40B4-BE49-F238E27FC236}">
                <a16:creationId xmlns:a16="http://schemas.microsoft.com/office/drawing/2014/main" xmlns="" id="{52281C50-3046-4929-9CA7-982F30D0C985}"/>
              </a:ext>
            </a:extLst>
          </p:cNvPr>
          <p:cNvCxnSpPr>
            <a:cxnSpLocks/>
          </p:cNvCxnSpPr>
          <p:nvPr/>
        </p:nvCxnSpPr>
        <p:spPr>
          <a:xfrm>
            <a:off x="3035449" y="1628775"/>
            <a:ext cx="0" cy="402854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e-DE" dirty="0"/>
              <a:t>Zum Vergleich: Die Parkraumbewirtschaftung in deutschen Städten ist deutlich zurückhaltender ausgeprägt</a:t>
            </a:r>
          </a:p>
        </p:txBody>
      </p:sp>
      <p:sp>
        <p:nvSpPr>
          <p:cNvPr id="4" name="Foliennummernplatzhalter 3"/>
          <p:cNvSpPr>
            <a:spLocks noGrp="1"/>
          </p:cNvSpPr>
          <p:nvPr>
            <p:ph type="sldNum" sz="quarter" idx="11"/>
          </p:nvPr>
        </p:nvSpPr>
        <p:spPr>
          <a:xfrm>
            <a:off x="519428" y="6295779"/>
            <a:ext cx="227626" cy="246221"/>
          </a:xfrm>
        </p:spPr>
        <p:txBody>
          <a:bodyPr/>
          <a:lstStyle/>
          <a:p>
            <a:fld id="{CD21EFEB-933F-4F46-A5AD-B6372944D9E5}" type="slidenum">
              <a:rPr lang="de-DE" smtClean="0"/>
              <a:pPr/>
              <a:t>17</a:t>
            </a:fld>
            <a:endParaRPr lang="de-DE" dirty="0"/>
          </a:p>
        </p:txBody>
      </p:sp>
      <p:sp>
        <p:nvSpPr>
          <p:cNvPr id="14" name="Inhaltsplatzhalter 13"/>
          <p:cNvSpPr>
            <a:spLocks noGrp="1"/>
          </p:cNvSpPr>
          <p:nvPr>
            <p:ph idx="1"/>
          </p:nvPr>
        </p:nvSpPr>
        <p:spPr>
          <a:xfrm>
            <a:off x="451758" y="1083558"/>
            <a:ext cx="8296706" cy="292316"/>
          </a:xfrm>
        </p:spPr>
        <p:txBody>
          <a:bodyPr/>
          <a:lstStyle/>
          <a:p>
            <a:r>
              <a:rPr lang="de-DE" dirty="0"/>
              <a:t>Parkraumbewirtschaftung</a:t>
            </a:r>
            <a:br>
              <a:rPr lang="de-DE" dirty="0"/>
            </a:br>
            <a:endParaRPr lang="de-DE" b="0" dirty="0">
              <a:solidFill>
                <a:schemeClr val="tx1"/>
              </a:solidFill>
            </a:endParaRPr>
          </a:p>
        </p:txBody>
      </p:sp>
      <p:cxnSp>
        <p:nvCxnSpPr>
          <p:cNvPr id="93" name="Gerade Verbindung 92"/>
          <p:cNvCxnSpPr/>
          <p:nvPr>
            <p:custDataLst>
              <p:tags r:id="rId4"/>
            </p:custDataLst>
          </p:nvPr>
        </p:nvCxnSpPr>
        <p:spPr>
          <a:xfrm>
            <a:off x="540196" y="5847075"/>
            <a:ext cx="8064054"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24" name="Textfeld 123">
            <a:extLst>
              <a:ext uri="{FF2B5EF4-FFF2-40B4-BE49-F238E27FC236}">
                <a16:creationId xmlns:a16="http://schemas.microsoft.com/office/drawing/2014/main" xmlns="" id="{1E32AE85-0290-404A-8B6F-F6EB9FB823D8}"/>
              </a:ext>
            </a:extLst>
          </p:cNvPr>
          <p:cNvSpPr txBox="1"/>
          <p:nvPr/>
        </p:nvSpPr>
        <p:spPr>
          <a:xfrm>
            <a:off x="451758" y="1594892"/>
            <a:ext cx="2663652" cy="215900"/>
          </a:xfrm>
          <a:prstGeom prst="rect">
            <a:avLst/>
          </a:prstGeom>
          <a:noFill/>
          <a:ln>
            <a:noFill/>
          </a:ln>
        </p:spPr>
        <p:txBody>
          <a:bodyPr wrap="square" rtlCol="0">
            <a:noAutofit/>
          </a:bodyPr>
          <a:lstStyle/>
          <a:p>
            <a:r>
              <a:rPr lang="de-DE" sz="1400" b="1" dirty="0"/>
              <a:t>Wien</a:t>
            </a:r>
          </a:p>
        </p:txBody>
      </p:sp>
      <p:sp>
        <p:nvSpPr>
          <p:cNvPr id="137" name="Textfeld 136">
            <a:extLst>
              <a:ext uri="{FF2B5EF4-FFF2-40B4-BE49-F238E27FC236}">
                <a16:creationId xmlns:a16="http://schemas.microsoft.com/office/drawing/2014/main" xmlns="" id="{4DA15DDE-8756-4240-B1BE-317D9892B564}"/>
              </a:ext>
            </a:extLst>
          </p:cNvPr>
          <p:cNvSpPr txBox="1"/>
          <p:nvPr/>
        </p:nvSpPr>
        <p:spPr>
          <a:xfrm>
            <a:off x="3276600" y="1590700"/>
            <a:ext cx="2663825" cy="215305"/>
          </a:xfrm>
          <a:prstGeom prst="rect">
            <a:avLst/>
          </a:prstGeom>
          <a:noFill/>
          <a:ln>
            <a:noFill/>
          </a:ln>
        </p:spPr>
        <p:txBody>
          <a:bodyPr wrap="square" rtlCol="0">
            <a:noAutofit/>
          </a:bodyPr>
          <a:lstStyle/>
          <a:p>
            <a:r>
              <a:rPr lang="de-DE" sz="1400" b="1" dirty="0"/>
              <a:t>Berlin</a:t>
            </a:r>
          </a:p>
        </p:txBody>
      </p:sp>
      <p:sp>
        <p:nvSpPr>
          <p:cNvPr id="138" name="Textfeld 137">
            <a:extLst>
              <a:ext uri="{FF2B5EF4-FFF2-40B4-BE49-F238E27FC236}">
                <a16:creationId xmlns:a16="http://schemas.microsoft.com/office/drawing/2014/main" xmlns="" id="{64BD4554-1CB4-495F-B7A8-13493C954DE9}"/>
              </a:ext>
            </a:extLst>
          </p:cNvPr>
          <p:cNvSpPr txBox="1"/>
          <p:nvPr/>
        </p:nvSpPr>
        <p:spPr>
          <a:xfrm>
            <a:off x="5946862" y="1590700"/>
            <a:ext cx="2663652" cy="215305"/>
          </a:xfrm>
          <a:prstGeom prst="rect">
            <a:avLst/>
          </a:prstGeom>
          <a:noFill/>
          <a:ln>
            <a:noFill/>
          </a:ln>
        </p:spPr>
        <p:txBody>
          <a:bodyPr wrap="square" rtlCol="0">
            <a:noAutofit/>
          </a:bodyPr>
          <a:lstStyle/>
          <a:p>
            <a:r>
              <a:rPr lang="de-DE" sz="1400" b="1" dirty="0"/>
              <a:t>Hamburg</a:t>
            </a:r>
          </a:p>
        </p:txBody>
      </p:sp>
      <p:sp>
        <p:nvSpPr>
          <p:cNvPr id="46" name="Freeform 7">
            <a:extLst>
              <a:ext uri="{FF2B5EF4-FFF2-40B4-BE49-F238E27FC236}">
                <a16:creationId xmlns:a16="http://schemas.microsoft.com/office/drawing/2014/main" xmlns="" id="{39427653-5766-4FE0-8E55-3CAB7747F0DC}"/>
              </a:ext>
            </a:extLst>
          </p:cNvPr>
          <p:cNvSpPr>
            <a:spLocks/>
          </p:cNvSpPr>
          <p:nvPr>
            <p:custDataLst>
              <p:tags r:id="rId5"/>
            </p:custDataLst>
          </p:nvPr>
        </p:nvSpPr>
        <p:spPr bwMode="auto">
          <a:xfrm>
            <a:off x="3025924" y="2855374"/>
            <a:ext cx="217199" cy="1578476"/>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1"/>
          </a:solidFill>
          <a:ln w="19050" cap="rnd">
            <a:solidFill>
              <a:schemeClr val="bg1"/>
            </a:solidFill>
            <a:round/>
            <a:headEnd type="none" w="sm" len="sm"/>
            <a:tailEnd type="none" w="sm" len="sm"/>
          </a:ln>
          <a:effectLst>
            <a:glow rad="63500">
              <a:schemeClr val="bg1">
                <a:alpha val="40000"/>
              </a:schemeClr>
            </a:glow>
          </a:effectLst>
        </p:spPr>
        <p:txBody>
          <a:bodyPr/>
          <a:lstStyle/>
          <a:p>
            <a:endParaRPr lang="de-DE" sz="1400" dirty="0"/>
          </a:p>
        </p:txBody>
      </p:sp>
      <p:pic>
        <p:nvPicPr>
          <p:cNvPr id="51" name="Grafik 50">
            <a:extLst>
              <a:ext uri="{FF2B5EF4-FFF2-40B4-BE49-F238E27FC236}">
                <a16:creationId xmlns:a16="http://schemas.microsoft.com/office/drawing/2014/main" xmlns="" id="{BA4EE1BD-42FE-410F-9195-AF02BC04A523}"/>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8272496" y="1628840"/>
            <a:ext cx="257143" cy="360000"/>
          </a:xfrm>
          <a:prstGeom prst="rect">
            <a:avLst/>
          </a:prstGeom>
        </p:spPr>
      </p:pic>
      <p:pic>
        <p:nvPicPr>
          <p:cNvPr id="52" name="Grafik 51">
            <a:extLst>
              <a:ext uri="{FF2B5EF4-FFF2-40B4-BE49-F238E27FC236}">
                <a16:creationId xmlns:a16="http://schemas.microsoft.com/office/drawing/2014/main" xmlns="" id="{4800A8F5-1EDA-4AF7-BE7E-CBC935B34D12}"/>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5576888" y="1628855"/>
            <a:ext cx="219075" cy="359770"/>
          </a:xfrm>
          <a:prstGeom prst="rect">
            <a:avLst/>
          </a:prstGeom>
        </p:spPr>
      </p:pic>
      <p:pic>
        <p:nvPicPr>
          <p:cNvPr id="53" name="Grafik 52">
            <a:extLst>
              <a:ext uri="{FF2B5EF4-FFF2-40B4-BE49-F238E27FC236}">
                <a16:creationId xmlns:a16="http://schemas.microsoft.com/office/drawing/2014/main" xmlns="" id="{A8606D77-AF02-48D0-876A-9645CB235242}"/>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541963" y="3808444"/>
            <a:ext cx="288925" cy="361493"/>
          </a:xfrm>
          <a:prstGeom prst="rect">
            <a:avLst/>
          </a:prstGeom>
        </p:spPr>
      </p:pic>
      <p:sp>
        <p:nvSpPr>
          <p:cNvPr id="39" name="Textfeld 38">
            <a:extLst>
              <a:ext uri="{FF2B5EF4-FFF2-40B4-BE49-F238E27FC236}">
                <a16:creationId xmlns:a16="http://schemas.microsoft.com/office/drawing/2014/main" xmlns="" id="{559A27B2-BD71-468D-BC5C-16EA7691A15D}"/>
              </a:ext>
            </a:extLst>
          </p:cNvPr>
          <p:cNvSpPr txBox="1"/>
          <p:nvPr/>
        </p:nvSpPr>
        <p:spPr>
          <a:xfrm>
            <a:off x="451758" y="5847075"/>
            <a:ext cx="6064458" cy="246221"/>
          </a:xfrm>
          <a:prstGeom prst="rect">
            <a:avLst/>
          </a:prstGeom>
          <a:noFill/>
        </p:spPr>
        <p:txBody>
          <a:bodyPr wrap="square" rtlCol="0">
            <a:spAutoFit/>
          </a:bodyPr>
          <a:lstStyle/>
          <a:p>
            <a:r>
              <a:rPr lang="de-DE" sz="1000" dirty="0"/>
              <a:t>Quellen: </a:t>
            </a:r>
            <a:r>
              <a:rPr lang="de-DE" sz="1000" dirty="0" err="1"/>
              <a:t>civity</a:t>
            </a:r>
            <a:r>
              <a:rPr lang="de-DE" sz="1000" dirty="0"/>
              <a:t> Analyse 2019, </a:t>
            </a:r>
            <a:r>
              <a:rPr lang="de-DE" sz="1000" dirty="0" err="1"/>
              <a:t>Corine</a:t>
            </a:r>
            <a:r>
              <a:rPr lang="de-DE" sz="1000" dirty="0"/>
              <a:t> Land Cover 2018, </a:t>
            </a:r>
            <a:r>
              <a:rPr lang="de-DE" sz="1000" dirty="0" err="1"/>
              <a:t>Openstreetmap</a:t>
            </a:r>
            <a:r>
              <a:rPr lang="de-DE" sz="1000" dirty="0"/>
              <a:t> 2019</a:t>
            </a:r>
          </a:p>
        </p:txBody>
      </p:sp>
      <p:sp>
        <p:nvSpPr>
          <p:cNvPr id="47" name="Textfeld 46">
            <a:extLst>
              <a:ext uri="{FF2B5EF4-FFF2-40B4-BE49-F238E27FC236}">
                <a16:creationId xmlns:a16="http://schemas.microsoft.com/office/drawing/2014/main" xmlns="" id="{628A0876-068D-44F4-AF4D-46AA743859B6}"/>
              </a:ext>
            </a:extLst>
          </p:cNvPr>
          <p:cNvSpPr txBox="1"/>
          <p:nvPr/>
        </p:nvSpPr>
        <p:spPr>
          <a:xfrm>
            <a:off x="3361084" y="5467842"/>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48" name="Textfeld 47">
            <a:extLst>
              <a:ext uri="{FF2B5EF4-FFF2-40B4-BE49-F238E27FC236}">
                <a16:creationId xmlns:a16="http://schemas.microsoft.com/office/drawing/2014/main" xmlns="" id="{9A32A94C-724F-478E-A0ED-C22207A89BC5}"/>
              </a:ext>
            </a:extLst>
          </p:cNvPr>
          <p:cNvSpPr txBox="1"/>
          <p:nvPr/>
        </p:nvSpPr>
        <p:spPr>
          <a:xfrm>
            <a:off x="6097934" y="5460808"/>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88" name="Textfeld 87">
            <a:extLst>
              <a:ext uri="{FF2B5EF4-FFF2-40B4-BE49-F238E27FC236}">
                <a16:creationId xmlns:a16="http://schemas.microsoft.com/office/drawing/2014/main" xmlns="" id="{5D0BE99E-D490-4AB1-BB3B-502D6C6057A5}"/>
              </a:ext>
            </a:extLst>
          </p:cNvPr>
          <p:cNvSpPr txBox="1"/>
          <p:nvPr/>
        </p:nvSpPr>
        <p:spPr>
          <a:xfrm>
            <a:off x="3276600" y="3775722"/>
            <a:ext cx="2663825" cy="215305"/>
          </a:xfrm>
          <a:prstGeom prst="rect">
            <a:avLst/>
          </a:prstGeom>
          <a:noFill/>
          <a:ln>
            <a:noFill/>
          </a:ln>
        </p:spPr>
        <p:txBody>
          <a:bodyPr wrap="square" rtlCol="0">
            <a:noAutofit/>
          </a:bodyPr>
          <a:lstStyle/>
          <a:p>
            <a:r>
              <a:rPr lang="de-DE" sz="1400" b="1" dirty="0"/>
              <a:t>München</a:t>
            </a:r>
          </a:p>
        </p:txBody>
      </p:sp>
      <p:sp>
        <p:nvSpPr>
          <p:cNvPr id="110" name="Textfeld 109">
            <a:extLst>
              <a:ext uri="{FF2B5EF4-FFF2-40B4-BE49-F238E27FC236}">
                <a16:creationId xmlns:a16="http://schemas.microsoft.com/office/drawing/2014/main" xmlns="" id="{65BDAD9C-6A2B-4A60-A767-98220A0467A5}"/>
              </a:ext>
            </a:extLst>
          </p:cNvPr>
          <p:cNvSpPr txBox="1"/>
          <p:nvPr/>
        </p:nvSpPr>
        <p:spPr>
          <a:xfrm>
            <a:off x="5946862" y="3775722"/>
            <a:ext cx="2663652" cy="215305"/>
          </a:xfrm>
          <a:prstGeom prst="rect">
            <a:avLst/>
          </a:prstGeom>
          <a:noFill/>
          <a:ln>
            <a:noFill/>
          </a:ln>
        </p:spPr>
        <p:txBody>
          <a:bodyPr wrap="square" rtlCol="0">
            <a:noAutofit/>
          </a:bodyPr>
          <a:lstStyle/>
          <a:p>
            <a:r>
              <a:rPr lang="de-DE" sz="1400" b="1" dirty="0"/>
              <a:t>Köln</a:t>
            </a:r>
          </a:p>
        </p:txBody>
      </p:sp>
      <p:grpSp>
        <p:nvGrpSpPr>
          <p:cNvPr id="6" name="Gruppieren 5">
            <a:extLst>
              <a:ext uri="{FF2B5EF4-FFF2-40B4-BE49-F238E27FC236}">
                <a16:creationId xmlns:a16="http://schemas.microsoft.com/office/drawing/2014/main" xmlns="" id="{DBF1F697-AA8D-4E5C-9404-228B976D210B}"/>
              </a:ext>
            </a:extLst>
          </p:cNvPr>
          <p:cNvGrpSpPr/>
          <p:nvPr/>
        </p:nvGrpSpPr>
        <p:grpSpPr>
          <a:xfrm>
            <a:off x="5055229" y="2240843"/>
            <a:ext cx="833513" cy="1002911"/>
            <a:chOff x="2177404" y="2287860"/>
            <a:chExt cx="833513" cy="1002911"/>
          </a:xfrm>
        </p:grpSpPr>
        <p:sp>
          <p:nvSpPr>
            <p:cNvPr id="70" name="Textfeld 69">
              <a:extLst>
                <a:ext uri="{FF2B5EF4-FFF2-40B4-BE49-F238E27FC236}">
                  <a16:creationId xmlns:a16="http://schemas.microsoft.com/office/drawing/2014/main" xmlns="" id="{1325BAFD-804F-4CFF-8083-8E81B27E1D09}"/>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6</a:t>
              </a:r>
              <a:r>
                <a:rPr kumimoji="0" lang="de-DE" sz="1400" b="0" i="0" u="none" strike="noStrike" kern="1200" cap="none" spc="0" normalizeH="0" baseline="0" noProof="0" dirty="0">
                  <a:ln>
                    <a:noFill/>
                  </a:ln>
                  <a:effectLst/>
                  <a:uLnTx/>
                  <a:uFillTx/>
                  <a:latin typeface="Arial"/>
                  <a:ea typeface="+mn-ea"/>
                  <a:cs typeface="+mn-cs"/>
                </a:rPr>
                <a:t> %</a:t>
              </a:r>
            </a:p>
          </p:txBody>
        </p:sp>
        <p:cxnSp>
          <p:nvCxnSpPr>
            <p:cNvPr id="71" name="Gerade Verbindung 6">
              <a:extLst>
                <a:ext uri="{FF2B5EF4-FFF2-40B4-BE49-F238E27FC236}">
                  <a16:creationId xmlns:a16="http://schemas.microsoft.com/office/drawing/2014/main" xmlns="" id="{00926A2D-AFC3-492A-A151-0EBC3D668BD5}"/>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xmlns="" id="{7FC3D708-4FF2-4AC1-A462-8C876AC132DE}"/>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8</a:t>
              </a:r>
              <a:r>
                <a:rPr kumimoji="0" lang="de-DE" sz="1400" b="0" i="0" u="none" strike="noStrike" kern="1200" cap="none" spc="0" normalizeH="0" baseline="0" noProof="0" dirty="0">
                  <a:ln>
                    <a:noFill/>
                  </a:ln>
                  <a:effectLst/>
                  <a:uLnTx/>
                  <a:uFillTx/>
                  <a:latin typeface="Arial"/>
                  <a:ea typeface="+mn-ea"/>
                  <a:cs typeface="+mn-cs"/>
                </a:rPr>
                <a:t> %</a:t>
              </a:r>
            </a:p>
          </p:txBody>
        </p:sp>
        <p:sp>
          <p:nvSpPr>
            <p:cNvPr id="73" name="Textfeld 72">
              <a:extLst>
                <a:ext uri="{FF2B5EF4-FFF2-40B4-BE49-F238E27FC236}">
                  <a16:creationId xmlns:a16="http://schemas.microsoft.com/office/drawing/2014/main" xmlns="" id="{F8DBCE40-CA3A-4B9F-A14B-5FC6E35082DD}"/>
                </a:ext>
              </a:extLst>
            </p:cNvPr>
            <p:cNvSpPr txBox="1"/>
            <p:nvPr/>
          </p:nvSpPr>
          <p:spPr>
            <a:xfrm>
              <a:off x="2177404" y="2287860"/>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effectLst/>
                <a:uLnTx/>
                <a:uFillTx/>
                <a:latin typeface="Arial"/>
                <a:ea typeface="+mn-ea"/>
                <a:cs typeface="+mn-cs"/>
              </a:endParaRPr>
            </a:p>
          </p:txBody>
        </p:sp>
      </p:grpSp>
      <p:grpSp>
        <p:nvGrpSpPr>
          <p:cNvPr id="87" name="Gruppieren 86">
            <a:extLst>
              <a:ext uri="{FF2B5EF4-FFF2-40B4-BE49-F238E27FC236}">
                <a16:creationId xmlns:a16="http://schemas.microsoft.com/office/drawing/2014/main" xmlns="" id="{0FECB0E8-A603-4662-8C6E-708A9652707E}"/>
              </a:ext>
            </a:extLst>
          </p:cNvPr>
          <p:cNvGrpSpPr/>
          <p:nvPr/>
        </p:nvGrpSpPr>
        <p:grpSpPr>
          <a:xfrm>
            <a:off x="2201885" y="2534722"/>
            <a:ext cx="828000" cy="709032"/>
            <a:chOff x="2182917" y="2581739"/>
            <a:chExt cx="828000" cy="709032"/>
          </a:xfrm>
        </p:grpSpPr>
        <p:sp>
          <p:nvSpPr>
            <p:cNvPr id="89" name="Textfeld 88">
              <a:extLst>
                <a:ext uri="{FF2B5EF4-FFF2-40B4-BE49-F238E27FC236}">
                  <a16:creationId xmlns:a16="http://schemas.microsoft.com/office/drawing/2014/main" xmlns="" id="{0B0D4176-7AC5-42FC-9D7B-D6035AE1CF33}"/>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33</a:t>
              </a:r>
              <a:r>
                <a:rPr kumimoji="0" lang="de-DE" sz="1400" b="0" i="0" u="none" strike="noStrike" kern="1200" cap="none" spc="0" normalizeH="0" baseline="0" noProof="0" dirty="0">
                  <a:ln>
                    <a:noFill/>
                  </a:ln>
                  <a:effectLst/>
                  <a:uLnTx/>
                  <a:uFillTx/>
                  <a:latin typeface="Arial"/>
                  <a:ea typeface="+mn-ea"/>
                  <a:cs typeface="+mn-cs"/>
                </a:rPr>
                <a:t> %</a:t>
              </a:r>
            </a:p>
          </p:txBody>
        </p:sp>
        <p:cxnSp>
          <p:nvCxnSpPr>
            <p:cNvPr id="90" name="Gerade Verbindung 6">
              <a:extLst>
                <a:ext uri="{FF2B5EF4-FFF2-40B4-BE49-F238E27FC236}">
                  <a16:creationId xmlns:a16="http://schemas.microsoft.com/office/drawing/2014/main" xmlns="" id="{460DEBA9-AB54-4178-968C-2D2F0FCA77E6}"/>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1" name="Textfeld 90">
              <a:extLst>
                <a:ext uri="{FF2B5EF4-FFF2-40B4-BE49-F238E27FC236}">
                  <a16:creationId xmlns:a16="http://schemas.microsoft.com/office/drawing/2014/main" xmlns="" id="{B407BDE8-F5B9-46E0-B346-C245727B10F0}"/>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39</a:t>
              </a:r>
              <a:r>
                <a:rPr kumimoji="0" lang="de-DE" sz="1400" b="0" i="0" u="none" strike="noStrike" kern="1200" cap="none" spc="0" normalizeH="0" baseline="0" noProof="0" dirty="0">
                  <a:ln>
                    <a:noFill/>
                  </a:ln>
                  <a:effectLst/>
                  <a:uLnTx/>
                  <a:uFillTx/>
                  <a:latin typeface="Arial"/>
                  <a:ea typeface="+mn-ea"/>
                  <a:cs typeface="+mn-cs"/>
                </a:rPr>
                <a:t> %</a:t>
              </a:r>
            </a:p>
          </p:txBody>
        </p:sp>
      </p:grpSp>
      <p:grpSp>
        <p:nvGrpSpPr>
          <p:cNvPr id="94" name="Gruppieren 93">
            <a:extLst>
              <a:ext uri="{FF2B5EF4-FFF2-40B4-BE49-F238E27FC236}">
                <a16:creationId xmlns:a16="http://schemas.microsoft.com/office/drawing/2014/main" xmlns="" id="{090DB9B6-B6F8-43A5-9D99-D9D67967ED48}"/>
              </a:ext>
            </a:extLst>
          </p:cNvPr>
          <p:cNvGrpSpPr/>
          <p:nvPr/>
        </p:nvGrpSpPr>
        <p:grpSpPr>
          <a:xfrm>
            <a:off x="7825049" y="2534722"/>
            <a:ext cx="828000" cy="709032"/>
            <a:chOff x="2182917" y="2581739"/>
            <a:chExt cx="828000" cy="709032"/>
          </a:xfrm>
        </p:grpSpPr>
        <p:sp>
          <p:nvSpPr>
            <p:cNvPr id="95" name="Textfeld 94">
              <a:extLst>
                <a:ext uri="{FF2B5EF4-FFF2-40B4-BE49-F238E27FC236}">
                  <a16:creationId xmlns:a16="http://schemas.microsoft.com/office/drawing/2014/main" xmlns="" id="{FBADD821-E24C-4237-A29F-6397C37EC789}"/>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4</a:t>
              </a:r>
              <a:r>
                <a:rPr kumimoji="0" lang="de-DE" sz="1400" b="0" i="0" u="none" strike="noStrike" kern="1200" cap="none" spc="0" normalizeH="0" baseline="0" noProof="0" dirty="0">
                  <a:ln>
                    <a:noFill/>
                  </a:ln>
                  <a:effectLst/>
                  <a:uLnTx/>
                  <a:uFillTx/>
                  <a:latin typeface="Arial"/>
                  <a:ea typeface="+mn-ea"/>
                  <a:cs typeface="+mn-cs"/>
                </a:rPr>
                <a:t> %</a:t>
              </a:r>
            </a:p>
          </p:txBody>
        </p:sp>
        <p:cxnSp>
          <p:nvCxnSpPr>
            <p:cNvPr id="96" name="Gerade Verbindung 6">
              <a:extLst>
                <a:ext uri="{FF2B5EF4-FFF2-40B4-BE49-F238E27FC236}">
                  <a16:creationId xmlns:a16="http://schemas.microsoft.com/office/drawing/2014/main" xmlns="" id="{21E32432-EDD7-4432-9AAC-98F6DBB6ACF7}"/>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7" name="Textfeld 96">
              <a:extLst>
                <a:ext uri="{FF2B5EF4-FFF2-40B4-BE49-F238E27FC236}">
                  <a16:creationId xmlns:a16="http://schemas.microsoft.com/office/drawing/2014/main" xmlns="" id="{D62E8408-E3F7-455D-B907-697619F8A594}"/>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6</a:t>
              </a:r>
              <a:r>
                <a:rPr kumimoji="0" lang="de-DE" sz="1400" b="0" i="0" u="none" strike="noStrike" kern="1200" cap="none" spc="0" normalizeH="0" baseline="0" noProof="0" dirty="0">
                  <a:ln>
                    <a:noFill/>
                  </a:ln>
                  <a:effectLst/>
                  <a:uLnTx/>
                  <a:uFillTx/>
                  <a:latin typeface="Arial"/>
                  <a:ea typeface="+mn-ea"/>
                  <a:cs typeface="+mn-cs"/>
                </a:rPr>
                <a:t> %</a:t>
              </a:r>
            </a:p>
          </p:txBody>
        </p:sp>
      </p:grpSp>
      <p:grpSp>
        <p:nvGrpSpPr>
          <p:cNvPr id="99" name="Gruppieren 98">
            <a:extLst>
              <a:ext uri="{FF2B5EF4-FFF2-40B4-BE49-F238E27FC236}">
                <a16:creationId xmlns:a16="http://schemas.microsoft.com/office/drawing/2014/main" xmlns="" id="{80FFAE11-86E8-4D27-8296-1A179BA4F2AE}"/>
              </a:ext>
            </a:extLst>
          </p:cNvPr>
          <p:cNvGrpSpPr/>
          <p:nvPr/>
        </p:nvGrpSpPr>
        <p:grpSpPr>
          <a:xfrm>
            <a:off x="5060742" y="4700501"/>
            <a:ext cx="828000" cy="709032"/>
            <a:chOff x="2182917" y="2581739"/>
            <a:chExt cx="828000" cy="709032"/>
          </a:xfrm>
        </p:grpSpPr>
        <p:sp>
          <p:nvSpPr>
            <p:cNvPr id="100" name="Textfeld 99">
              <a:extLst>
                <a:ext uri="{FF2B5EF4-FFF2-40B4-BE49-F238E27FC236}">
                  <a16:creationId xmlns:a16="http://schemas.microsoft.com/office/drawing/2014/main" xmlns="" id="{A0DDDBA0-E140-4F5D-8E60-7C13508AEA8D}"/>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11</a:t>
              </a:r>
              <a:r>
                <a:rPr kumimoji="0" lang="de-DE" sz="1400" b="0" i="0" u="none" strike="noStrike" kern="1200" cap="none" spc="0" normalizeH="0" baseline="0" noProof="0" dirty="0">
                  <a:ln>
                    <a:noFill/>
                  </a:ln>
                  <a:effectLst/>
                  <a:uLnTx/>
                  <a:uFillTx/>
                  <a:latin typeface="Arial"/>
                  <a:ea typeface="+mn-ea"/>
                  <a:cs typeface="+mn-cs"/>
                </a:rPr>
                <a:t> %</a:t>
              </a:r>
            </a:p>
          </p:txBody>
        </p:sp>
        <p:cxnSp>
          <p:nvCxnSpPr>
            <p:cNvPr id="101" name="Gerade Verbindung 6">
              <a:extLst>
                <a:ext uri="{FF2B5EF4-FFF2-40B4-BE49-F238E27FC236}">
                  <a16:creationId xmlns:a16="http://schemas.microsoft.com/office/drawing/2014/main" xmlns="" id="{2AA5E747-5CEB-417D-9D7D-F84A92ABBB9C}"/>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2" name="Textfeld 101">
              <a:extLst>
                <a:ext uri="{FF2B5EF4-FFF2-40B4-BE49-F238E27FC236}">
                  <a16:creationId xmlns:a16="http://schemas.microsoft.com/office/drawing/2014/main" xmlns="" id="{EB4FD8A1-0EFD-4267-BD63-9337EBF5B1AD}"/>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14</a:t>
              </a:r>
              <a:r>
                <a:rPr kumimoji="0" lang="de-DE" sz="1400" b="0" i="0" u="none" strike="noStrike" kern="1200" cap="none" spc="0" normalizeH="0" baseline="0" noProof="0" dirty="0">
                  <a:ln>
                    <a:noFill/>
                  </a:ln>
                  <a:effectLst/>
                  <a:uLnTx/>
                  <a:uFillTx/>
                  <a:latin typeface="Arial"/>
                  <a:ea typeface="+mn-ea"/>
                  <a:cs typeface="+mn-cs"/>
                </a:rPr>
                <a:t> %</a:t>
              </a:r>
            </a:p>
          </p:txBody>
        </p:sp>
      </p:grpSp>
      <p:grpSp>
        <p:nvGrpSpPr>
          <p:cNvPr id="104" name="Gruppieren 103">
            <a:extLst>
              <a:ext uri="{FF2B5EF4-FFF2-40B4-BE49-F238E27FC236}">
                <a16:creationId xmlns:a16="http://schemas.microsoft.com/office/drawing/2014/main" xmlns="" id="{70F5B17C-56F3-44DE-BCE8-2C5365CBFE98}"/>
              </a:ext>
            </a:extLst>
          </p:cNvPr>
          <p:cNvGrpSpPr/>
          <p:nvPr/>
        </p:nvGrpSpPr>
        <p:grpSpPr>
          <a:xfrm>
            <a:off x="7819536" y="4406622"/>
            <a:ext cx="833513" cy="1002911"/>
            <a:chOff x="2177404" y="2287860"/>
            <a:chExt cx="833513" cy="1002911"/>
          </a:xfrm>
        </p:grpSpPr>
        <p:sp>
          <p:nvSpPr>
            <p:cNvPr id="105" name="Textfeld 104">
              <a:extLst>
                <a:ext uri="{FF2B5EF4-FFF2-40B4-BE49-F238E27FC236}">
                  <a16:creationId xmlns:a16="http://schemas.microsoft.com/office/drawing/2014/main" xmlns="" id="{D119CCA3-5414-4014-B302-82D66808B161}"/>
                </a:ext>
              </a:extLst>
            </p:cNvPr>
            <p:cNvSpPr txBox="1"/>
            <p:nvPr/>
          </p:nvSpPr>
          <p:spPr>
            <a:xfrm>
              <a:off x="2182917" y="2982994"/>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11</a:t>
              </a:r>
              <a:r>
                <a:rPr kumimoji="0" lang="de-DE" sz="1400" b="0" i="0" u="none" strike="noStrike" kern="1200" cap="none" spc="0" normalizeH="0" baseline="0" noProof="0" dirty="0">
                  <a:ln>
                    <a:noFill/>
                  </a:ln>
                  <a:effectLst/>
                  <a:uLnTx/>
                  <a:uFillTx/>
                  <a:latin typeface="Arial"/>
                  <a:ea typeface="+mn-ea"/>
                  <a:cs typeface="+mn-cs"/>
                </a:rPr>
                <a:t> %</a:t>
              </a:r>
            </a:p>
          </p:txBody>
        </p:sp>
        <p:cxnSp>
          <p:nvCxnSpPr>
            <p:cNvPr id="106" name="Gerade Verbindung 6">
              <a:extLst>
                <a:ext uri="{FF2B5EF4-FFF2-40B4-BE49-F238E27FC236}">
                  <a16:creationId xmlns:a16="http://schemas.microsoft.com/office/drawing/2014/main" xmlns="" id="{BA432384-7733-495F-B5FD-DFB97B327648}"/>
                </a:ext>
              </a:extLst>
            </p:cNvPr>
            <p:cNvCxnSpPr>
              <a:cxnSpLocks/>
            </p:cNvCxnSpPr>
            <p:nvPr/>
          </p:nvCxnSpPr>
          <p:spPr>
            <a:xfrm>
              <a:off x="2369501" y="2928635"/>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Textfeld 106">
              <a:extLst>
                <a:ext uri="{FF2B5EF4-FFF2-40B4-BE49-F238E27FC236}">
                  <a16:creationId xmlns:a16="http://schemas.microsoft.com/office/drawing/2014/main" xmlns="" id="{0B68ED9F-D3FC-4B1E-A0E5-40FBD5DDB807}"/>
                </a:ext>
              </a:extLst>
            </p:cNvPr>
            <p:cNvSpPr txBox="1"/>
            <p:nvPr/>
          </p:nvSpPr>
          <p:spPr>
            <a:xfrm>
              <a:off x="2182917" y="2581739"/>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latin typeface="Arial"/>
                </a:rPr>
                <a:t>18</a:t>
              </a:r>
              <a:r>
                <a:rPr kumimoji="0" lang="de-DE" sz="1400" b="0" i="0" u="none" strike="noStrike" kern="1200" cap="none" spc="0" normalizeH="0" baseline="0" noProof="0" dirty="0">
                  <a:ln>
                    <a:noFill/>
                  </a:ln>
                  <a:effectLst/>
                  <a:uLnTx/>
                  <a:uFillTx/>
                  <a:latin typeface="Arial"/>
                  <a:ea typeface="+mn-ea"/>
                  <a:cs typeface="+mn-cs"/>
                </a:rPr>
                <a:t> %</a:t>
              </a:r>
            </a:p>
          </p:txBody>
        </p:sp>
        <p:sp>
          <p:nvSpPr>
            <p:cNvPr id="108" name="Textfeld 107">
              <a:extLst>
                <a:ext uri="{FF2B5EF4-FFF2-40B4-BE49-F238E27FC236}">
                  <a16:creationId xmlns:a16="http://schemas.microsoft.com/office/drawing/2014/main" xmlns="" id="{DFCE238A-1A8C-403C-8072-B83848EBA57A}"/>
                </a:ext>
              </a:extLst>
            </p:cNvPr>
            <p:cNvSpPr txBox="1"/>
            <p:nvPr/>
          </p:nvSpPr>
          <p:spPr>
            <a:xfrm>
              <a:off x="2177404" y="2287860"/>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effectLst/>
                <a:uLnTx/>
                <a:uFillTx/>
                <a:latin typeface="Arial"/>
                <a:ea typeface="+mn-ea"/>
                <a:cs typeface="+mn-cs"/>
              </a:endParaRPr>
            </a:p>
          </p:txBody>
        </p:sp>
      </p:grpSp>
      <p:pic>
        <p:nvPicPr>
          <p:cNvPr id="84" name="Grafik 83">
            <a:extLst>
              <a:ext uri="{FF2B5EF4-FFF2-40B4-BE49-F238E27FC236}">
                <a16:creationId xmlns:a16="http://schemas.microsoft.com/office/drawing/2014/main" xmlns="" id="{660B3049-C7BD-4CE0-8731-3657D4DD14D0}"/>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2527681" y="1631827"/>
            <a:ext cx="257142" cy="334284"/>
          </a:xfrm>
          <a:prstGeom prst="rect">
            <a:avLst/>
          </a:prstGeom>
        </p:spPr>
      </p:pic>
      <p:pic>
        <p:nvPicPr>
          <p:cNvPr id="7" name="Grafik 6">
            <a:extLst>
              <a:ext uri="{FF2B5EF4-FFF2-40B4-BE49-F238E27FC236}">
                <a16:creationId xmlns:a16="http://schemas.microsoft.com/office/drawing/2014/main" xmlns="" id="{B9ADEAB4-4B69-43B6-8433-371438281A11}"/>
              </a:ext>
            </a:extLst>
          </p:cNvPr>
          <p:cNvPicPr>
            <a:picLocks noChangeAspect="1"/>
          </p:cNvPicPr>
          <p:nvPr/>
        </p:nvPicPr>
        <p:blipFill>
          <a:blip r:embed="rId15"/>
          <a:stretch>
            <a:fillRect/>
          </a:stretch>
        </p:blipFill>
        <p:spPr>
          <a:xfrm flipH="1">
            <a:off x="8251112" y="3810781"/>
            <a:ext cx="299047" cy="359155"/>
          </a:xfrm>
          <a:prstGeom prst="rect">
            <a:avLst/>
          </a:prstGeom>
        </p:spPr>
      </p:pic>
      <p:pic>
        <p:nvPicPr>
          <p:cNvPr id="113" name="Inhaltsplatzhalter 5">
            <a:extLst>
              <a:ext uri="{FF2B5EF4-FFF2-40B4-BE49-F238E27FC236}">
                <a16:creationId xmlns:a16="http://schemas.microsoft.com/office/drawing/2014/main" xmlns="" id="{7460FEA3-664B-432C-BE75-F2E9AFF73E29}"/>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r="699"/>
          <a:stretch/>
        </p:blipFill>
        <p:spPr>
          <a:xfrm>
            <a:off x="3361084" y="1878542"/>
            <a:ext cx="1639527" cy="1554139"/>
          </a:xfrm>
          <a:prstGeom prst="rect">
            <a:avLst/>
          </a:prstGeom>
          <a:ln>
            <a:solidFill>
              <a:schemeClr val="accent5"/>
            </a:solidFill>
          </a:ln>
        </p:spPr>
      </p:pic>
      <p:pic>
        <p:nvPicPr>
          <p:cNvPr id="114" name="Inhaltsplatzhalter 5">
            <a:extLst>
              <a:ext uri="{FF2B5EF4-FFF2-40B4-BE49-F238E27FC236}">
                <a16:creationId xmlns:a16="http://schemas.microsoft.com/office/drawing/2014/main" xmlns="" id="{4553AF45-95CA-4399-BBBC-26830D638182}"/>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r="699"/>
          <a:stretch/>
        </p:blipFill>
        <p:spPr>
          <a:xfrm>
            <a:off x="6023525" y="1881345"/>
            <a:ext cx="1639527" cy="1554139"/>
          </a:xfrm>
          <a:prstGeom prst="rect">
            <a:avLst/>
          </a:prstGeom>
          <a:ln>
            <a:solidFill>
              <a:schemeClr val="accent5"/>
            </a:solidFill>
          </a:ln>
        </p:spPr>
      </p:pic>
      <p:pic>
        <p:nvPicPr>
          <p:cNvPr id="115" name="Inhaltsplatzhalter 5">
            <a:extLst>
              <a:ext uri="{FF2B5EF4-FFF2-40B4-BE49-F238E27FC236}">
                <a16:creationId xmlns:a16="http://schemas.microsoft.com/office/drawing/2014/main" xmlns="" id="{6099C546-934C-4295-9C0D-45FDB106EC85}"/>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1242" t="165" b="-1"/>
          <a:stretch/>
        </p:blipFill>
        <p:spPr>
          <a:xfrm>
            <a:off x="3366444" y="4055556"/>
            <a:ext cx="1630552" cy="1551575"/>
          </a:xfrm>
          <a:prstGeom prst="rect">
            <a:avLst/>
          </a:prstGeom>
          <a:ln>
            <a:solidFill>
              <a:schemeClr val="accent5"/>
            </a:solidFill>
          </a:ln>
        </p:spPr>
      </p:pic>
      <p:pic>
        <p:nvPicPr>
          <p:cNvPr id="116" name="Inhaltsplatzhalter 5">
            <a:extLst>
              <a:ext uri="{FF2B5EF4-FFF2-40B4-BE49-F238E27FC236}">
                <a16:creationId xmlns:a16="http://schemas.microsoft.com/office/drawing/2014/main" xmlns="" id="{19752B3B-6321-4620-8E6B-2473374A4EB2}"/>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1242" t="330"/>
          <a:stretch/>
        </p:blipFill>
        <p:spPr>
          <a:xfrm>
            <a:off x="6028011" y="4050392"/>
            <a:ext cx="1630553" cy="1549012"/>
          </a:xfrm>
          <a:prstGeom prst="rect">
            <a:avLst/>
          </a:prstGeom>
          <a:ln>
            <a:solidFill>
              <a:schemeClr val="accent5"/>
            </a:solidFill>
          </a:ln>
        </p:spPr>
      </p:pic>
      <p:sp>
        <p:nvSpPr>
          <p:cNvPr id="118" name="Textfeld 117">
            <a:extLst>
              <a:ext uri="{FF2B5EF4-FFF2-40B4-BE49-F238E27FC236}">
                <a16:creationId xmlns:a16="http://schemas.microsoft.com/office/drawing/2014/main" xmlns="" id="{3489900F-A5E3-43FF-9B18-618A8027FB6D}"/>
              </a:ext>
            </a:extLst>
          </p:cNvPr>
          <p:cNvSpPr txBox="1"/>
          <p:nvPr/>
        </p:nvSpPr>
        <p:spPr>
          <a:xfrm>
            <a:off x="3347864" y="5373216"/>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119" name="Textfeld 118">
            <a:extLst>
              <a:ext uri="{FF2B5EF4-FFF2-40B4-BE49-F238E27FC236}">
                <a16:creationId xmlns:a16="http://schemas.microsoft.com/office/drawing/2014/main" xmlns="" id="{19D875F6-4621-400A-9D23-2F38047D6A52}"/>
              </a:ext>
            </a:extLst>
          </p:cNvPr>
          <p:cNvSpPr txBox="1"/>
          <p:nvPr/>
        </p:nvSpPr>
        <p:spPr>
          <a:xfrm>
            <a:off x="6094618" y="5373216"/>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120" name="Textfeld 119">
            <a:extLst>
              <a:ext uri="{FF2B5EF4-FFF2-40B4-BE49-F238E27FC236}">
                <a16:creationId xmlns:a16="http://schemas.microsoft.com/office/drawing/2014/main" xmlns="" id="{0EF21D26-E603-48D5-B172-5BE1A862DEED}"/>
              </a:ext>
            </a:extLst>
          </p:cNvPr>
          <p:cNvSpPr txBox="1"/>
          <p:nvPr/>
        </p:nvSpPr>
        <p:spPr>
          <a:xfrm>
            <a:off x="902280" y="5236306"/>
            <a:ext cx="21472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Bewirtschaftete</a:t>
            </a:r>
            <a:br>
              <a:rPr kumimoji="0" lang="de-DE" sz="1400" b="0" i="0" u="none" strike="noStrike" kern="1200" cap="none" spc="0" normalizeH="0" baseline="0" noProof="0" dirty="0">
                <a:ln>
                  <a:noFill/>
                </a:ln>
                <a:solidFill>
                  <a:prstClr val="black"/>
                </a:solidFill>
                <a:effectLst/>
                <a:uLnTx/>
                <a:uFillTx/>
                <a:latin typeface="Arial"/>
                <a:ea typeface="+mn-ea"/>
                <a:cs typeface="+mn-cs"/>
              </a:rPr>
            </a:br>
            <a:r>
              <a:rPr kumimoji="0" lang="de-DE" sz="1400" b="0" i="0" u="none" strike="noStrike" kern="1200" cap="none" spc="0" normalizeH="0" baseline="0" noProof="0" dirty="0" err="1">
                <a:ln>
                  <a:noFill/>
                </a:ln>
                <a:solidFill>
                  <a:prstClr val="black"/>
                </a:solidFill>
                <a:effectLst/>
                <a:uLnTx/>
                <a:uFillTx/>
                <a:latin typeface="Arial"/>
                <a:ea typeface="+mn-ea"/>
                <a:cs typeface="+mn-cs"/>
              </a:rPr>
              <a:t>SuV</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22" name="Textfeld 121">
            <a:extLst>
              <a:ext uri="{FF2B5EF4-FFF2-40B4-BE49-F238E27FC236}">
                <a16:creationId xmlns:a16="http://schemas.microsoft.com/office/drawing/2014/main" xmlns="" id="{65E61D81-C269-4CA7-892A-9746411300FC}"/>
              </a:ext>
            </a:extLst>
          </p:cNvPr>
          <p:cNvSpPr txBox="1"/>
          <p:nvPr/>
        </p:nvSpPr>
        <p:spPr>
          <a:xfrm>
            <a:off x="467544" y="4149080"/>
            <a:ext cx="918841" cy="325752"/>
          </a:xfrm>
          <a:prstGeom prst="rect">
            <a:avLst/>
          </a:prstGeom>
          <a:noFill/>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prstClr val="black"/>
                </a:solidFill>
                <a:effectLst/>
                <a:uLnTx/>
                <a:uFillTx/>
                <a:latin typeface="Arial"/>
                <a:ea typeface="+mn-ea"/>
                <a:cs typeface="+mn-cs"/>
              </a:rPr>
              <a:t>Legende</a:t>
            </a:r>
          </a:p>
        </p:txBody>
      </p:sp>
      <p:sp>
        <p:nvSpPr>
          <p:cNvPr id="123" name="Ellipse 122">
            <a:extLst>
              <a:ext uri="{FF2B5EF4-FFF2-40B4-BE49-F238E27FC236}">
                <a16:creationId xmlns:a16="http://schemas.microsoft.com/office/drawing/2014/main" xmlns="" id="{8A246990-AC25-423F-A126-87CAB4F8B29E}"/>
              </a:ext>
            </a:extLst>
          </p:cNvPr>
          <p:cNvSpPr/>
          <p:nvPr/>
        </p:nvSpPr>
        <p:spPr>
          <a:xfrm>
            <a:off x="543022" y="5164298"/>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125" name="Group 31">
            <a:extLst>
              <a:ext uri="{FF2B5EF4-FFF2-40B4-BE49-F238E27FC236}">
                <a16:creationId xmlns:a16="http://schemas.microsoft.com/office/drawing/2014/main" xmlns="" id="{6CDC4084-B7D9-4135-BF3E-7AA21F19ECA8}"/>
              </a:ext>
            </a:extLst>
          </p:cNvPr>
          <p:cNvGrpSpPr>
            <a:grpSpLocks/>
          </p:cNvGrpSpPr>
          <p:nvPr/>
        </p:nvGrpSpPr>
        <p:grpSpPr bwMode="auto">
          <a:xfrm>
            <a:off x="590664" y="5222795"/>
            <a:ext cx="264757" cy="199884"/>
            <a:chOff x="1044" y="1284"/>
            <a:chExt cx="3576" cy="2700"/>
          </a:xfrm>
          <a:solidFill>
            <a:schemeClr val="accent5"/>
          </a:solidFill>
        </p:grpSpPr>
        <p:grpSp>
          <p:nvGrpSpPr>
            <p:cNvPr id="126" name="Group 32">
              <a:extLst>
                <a:ext uri="{FF2B5EF4-FFF2-40B4-BE49-F238E27FC236}">
                  <a16:creationId xmlns:a16="http://schemas.microsoft.com/office/drawing/2014/main" xmlns="" id="{7B6BE76A-1188-4857-BD84-0879DAA69E5C}"/>
                </a:ext>
              </a:extLst>
            </p:cNvPr>
            <p:cNvGrpSpPr>
              <a:grpSpLocks/>
            </p:cNvGrpSpPr>
            <p:nvPr/>
          </p:nvGrpSpPr>
          <p:grpSpPr bwMode="auto">
            <a:xfrm>
              <a:off x="1044" y="1284"/>
              <a:ext cx="3576" cy="2700"/>
              <a:chOff x="1044" y="1284"/>
              <a:chExt cx="3576" cy="2700"/>
            </a:xfrm>
            <a:grpFill/>
          </p:grpSpPr>
          <p:sp>
            <p:nvSpPr>
              <p:cNvPr id="128" name="Freeform 33">
                <a:extLst>
                  <a:ext uri="{FF2B5EF4-FFF2-40B4-BE49-F238E27FC236}">
                    <a16:creationId xmlns:a16="http://schemas.microsoft.com/office/drawing/2014/main" xmlns="" id="{C9A70C9D-0F06-4C50-A492-F3EA967DD124}"/>
                  </a:ext>
                </a:extLst>
              </p:cNvPr>
              <p:cNvSpPr>
                <a:spLocks/>
              </p:cNvSpPr>
              <p:nvPr/>
            </p:nvSpPr>
            <p:spPr bwMode="auto">
              <a:xfrm>
                <a:off x="1677" y="1409"/>
                <a:ext cx="966" cy="940"/>
              </a:xfrm>
              <a:custGeom>
                <a:avLst/>
                <a:gdLst/>
                <a:ahLst/>
                <a:cxnLst>
                  <a:cxn ang="0">
                    <a:pos x="449" y="0"/>
                  </a:cxn>
                  <a:cxn ang="0">
                    <a:pos x="447" y="52"/>
                  </a:cxn>
                  <a:cxn ang="0">
                    <a:pos x="471" y="78"/>
                  </a:cxn>
                  <a:cxn ang="0">
                    <a:pos x="458" y="132"/>
                  </a:cxn>
                  <a:cxn ang="0">
                    <a:pos x="396" y="187"/>
                  </a:cxn>
                  <a:cxn ang="0">
                    <a:pos x="348" y="241"/>
                  </a:cxn>
                  <a:cxn ang="0">
                    <a:pos x="306" y="286"/>
                  </a:cxn>
                  <a:cxn ang="0">
                    <a:pos x="210" y="304"/>
                  </a:cxn>
                  <a:cxn ang="0">
                    <a:pos x="108" y="307"/>
                  </a:cxn>
                  <a:cxn ang="0">
                    <a:pos x="66" y="415"/>
                  </a:cxn>
                  <a:cxn ang="0">
                    <a:pos x="0" y="499"/>
                  </a:cxn>
                  <a:cxn ang="0">
                    <a:pos x="51" y="573"/>
                  </a:cxn>
                  <a:cxn ang="0">
                    <a:pos x="81" y="634"/>
                  </a:cxn>
                  <a:cxn ang="0">
                    <a:pos x="81" y="685"/>
                  </a:cxn>
                  <a:cxn ang="0">
                    <a:pos x="123" y="748"/>
                  </a:cxn>
                  <a:cxn ang="0">
                    <a:pos x="206" y="888"/>
                  </a:cxn>
                  <a:cxn ang="0">
                    <a:pos x="276" y="940"/>
                  </a:cxn>
                  <a:cxn ang="0">
                    <a:pos x="381" y="928"/>
                  </a:cxn>
                  <a:cxn ang="0">
                    <a:pos x="519" y="922"/>
                  </a:cxn>
                  <a:cxn ang="0">
                    <a:pos x="606" y="825"/>
                  </a:cxn>
                  <a:cxn ang="0">
                    <a:pos x="677" y="795"/>
                  </a:cxn>
                  <a:cxn ang="0">
                    <a:pos x="816" y="790"/>
                  </a:cxn>
                  <a:cxn ang="0">
                    <a:pos x="879" y="832"/>
                  </a:cxn>
                  <a:cxn ang="0">
                    <a:pos x="933" y="814"/>
                  </a:cxn>
                  <a:cxn ang="0">
                    <a:pos x="966" y="772"/>
                  </a:cxn>
                  <a:cxn ang="0">
                    <a:pos x="792" y="580"/>
                  </a:cxn>
                  <a:cxn ang="0">
                    <a:pos x="846" y="565"/>
                  </a:cxn>
                  <a:cxn ang="0">
                    <a:pos x="873" y="523"/>
                  </a:cxn>
                  <a:cxn ang="0">
                    <a:pos x="896" y="481"/>
                  </a:cxn>
                  <a:cxn ang="0">
                    <a:pos x="915" y="439"/>
                  </a:cxn>
                  <a:cxn ang="0">
                    <a:pos x="912" y="391"/>
                  </a:cxn>
                  <a:cxn ang="0">
                    <a:pos x="833" y="310"/>
                  </a:cxn>
                  <a:cxn ang="0">
                    <a:pos x="765" y="307"/>
                  </a:cxn>
                  <a:cxn ang="0">
                    <a:pos x="597" y="283"/>
                  </a:cxn>
                  <a:cxn ang="0">
                    <a:pos x="531" y="292"/>
                  </a:cxn>
                  <a:cxn ang="0">
                    <a:pos x="564" y="228"/>
                  </a:cxn>
                  <a:cxn ang="0">
                    <a:pos x="578" y="172"/>
                  </a:cxn>
                  <a:cxn ang="0">
                    <a:pos x="561" y="97"/>
                  </a:cxn>
                  <a:cxn ang="0">
                    <a:pos x="600" y="22"/>
                  </a:cxn>
                  <a:cxn ang="0">
                    <a:pos x="570" y="4"/>
                  </a:cxn>
                </a:cxnLst>
                <a:rect l="0" t="0" r="r" b="b"/>
                <a:pathLst>
                  <a:path w="966" h="940">
                    <a:moveTo>
                      <a:pt x="570" y="4"/>
                    </a:moveTo>
                    <a:lnTo>
                      <a:pt x="449" y="0"/>
                    </a:lnTo>
                    <a:lnTo>
                      <a:pt x="450" y="28"/>
                    </a:lnTo>
                    <a:lnTo>
                      <a:pt x="447" y="52"/>
                    </a:lnTo>
                    <a:lnTo>
                      <a:pt x="468" y="57"/>
                    </a:lnTo>
                    <a:lnTo>
                      <a:pt x="471" y="78"/>
                    </a:lnTo>
                    <a:lnTo>
                      <a:pt x="447" y="109"/>
                    </a:lnTo>
                    <a:lnTo>
                      <a:pt x="458" y="132"/>
                    </a:lnTo>
                    <a:lnTo>
                      <a:pt x="447" y="172"/>
                    </a:lnTo>
                    <a:lnTo>
                      <a:pt x="396" y="187"/>
                    </a:lnTo>
                    <a:lnTo>
                      <a:pt x="327" y="184"/>
                    </a:lnTo>
                    <a:lnTo>
                      <a:pt x="348" y="241"/>
                    </a:lnTo>
                    <a:lnTo>
                      <a:pt x="339" y="289"/>
                    </a:lnTo>
                    <a:lnTo>
                      <a:pt x="306" y="286"/>
                    </a:lnTo>
                    <a:lnTo>
                      <a:pt x="267" y="298"/>
                    </a:lnTo>
                    <a:lnTo>
                      <a:pt x="210" y="304"/>
                    </a:lnTo>
                    <a:lnTo>
                      <a:pt x="168" y="313"/>
                    </a:lnTo>
                    <a:lnTo>
                      <a:pt x="108" y="307"/>
                    </a:lnTo>
                    <a:lnTo>
                      <a:pt x="89" y="373"/>
                    </a:lnTo>
                    <a:lnTo>
                      <a:pt x="66" y="415"/>
                    </a:lnTo>
                    <a:lnTo>
                      <a:pt x="45" y="456"/>
                    </a:lnTo>
                    <a:lnTo>
                      <a:pt x="0" y="499"/>
                    </a:lnTo>
                    <a:lnTo>
                      <a:pt x="8" y="526"/>
                    </a:lnTo>
                    <a:lnTo>
                      <a:pt x="51" y="573"/>
                    </a:lnTo>
                    <a:lnTo>
                      <a:pt x="96" y="616"/>
                    </a:lnTo>
                    <a:lnTo>
                      <a:pt x="81" y="634"/>
                    </a:lnTo>
                    <a:lnTo>
                      <a:pt x="78" y="673"/>
                    </a:lnTo>
                    <a:lnTo>
                      <a:pt x="81" y="685"/>
                    </a:lnTo>
                    <a:lnTo>
                      <a:pt x="75" y="700"/>
                    </a:lnTo>
                    <a:lnTo>
                      <a:pt x="123" y="748"/>
                    </a:lnTo>
                    <a:lnTo>
                      <a:pt x="144" y="847"/>
                    </a:lnTo>
                    <a:lnTo>
                      <a:pt x="206" y="888"/>
                    </a:lnTo>
                    <a:lnTo>
                      <a:pt x="234" y="916"/>
                    </a:lnTo>
                    <a:lnTo>
                      <a:pt x="276" y="940"/>
                    </a:lnTo>
                    <a:lnTo>
                      <a:pt x="338" y="937"/>
                    </a:lnTo>
                    <a:lnTo>
                      <a:pt x="381" y="928"/>
                    </a:lnTo>
                    <a:lnTo>
                      <a:pt x="449" y="927"/>
                    </a:lnTo>
                    <a:lnTo>
                      <a:pt x="519" y="922"/>
                    </a:lnTo>
                    <a:lnTo>
                      <a:pt x="572" y="843"/>
                    </a:lnTo>
                    <a:lnTo>
                      <a:pt x="606" y="825"/>
                    </a:lnTo>
                    <a:lnTo>
                      <a:pt x="657" y="820"/>
                    </a:lnTo>
                    <a:lnTo>
                      <a:pt x="677" y="795"/>
                    </a:lnTo>
                    <a:lnTo>
                      <a:pt x="708" y="787"/>
                    </a:lnTo>
                    <a:lnTo>
                      <a:pt x="816" y="790"/>
                    </a:lnTo>
                    <a:lnTo>
                      <a:pt x="870" y="811"/>
                    </a:lnTo>
                    <a:lnTo>
                      <a:pt x="879" y="832"/>
                    </a:lnTo>
                    <a:lnTo>
                      <a:pt x="897" y="814"/>
                    </a:lnTo>
                    <a:lnTo>
                      <a:pt x="933" y="814"/>
                    </a:lnTo>
                    <a:lnTo>
                      <a:pt x="945" y="787"/>
                    </a:lnTo>
                    <a:lnTo>
                      <a:pt x="966" y="772"/>
                    </a:lnTo>
                    <a:lnTo>
                      <a:pt x="966" y="748"/>
                    </a:lnTo>
                    <a:lnTo>
                      <a:pt x="792" y="580"/>
                    </a:lnTo>
                    <a:lnTo>
                      <a:pt x="830" y="579"/>
                    </a:lnTo>
                    <a:lnTo>
                      <a:pt x="846" y="565"/>
                    </a:lnTo>
                    <a:lnTo>
                      <a:pt x="855" y="541"/>
                    </a:lnTo>
                    <a:lnTo>
                      <a:pt x="873" y="523"/>
                    </a:lnTo>
                    <a:lnTo>
                      <a:pt x="900" y="502"/>
                    </a:lnTo>
                    <a:lnTo>
                      <a:pt x="896" y="481"/>
                    </a:lnTo>
                    <a:lnTo>
                      <a:pt x="908" y="468"/>
                    </a:lnTo>
                    <a:lnTo>
                      <a:pt x="915" y="439"/>
                    </a:lnTo>
                    <a:lnTo>
                      <a:pt x="918" y="411"/>
                    </a:lnTo>
                    <a:lnTo>
                      <a:pt x="912" y="391"/>
                    </a:lnTo>
                    <a:lnTo>
                      <a:pt x="864" y="301"/>
                    </a:lnTo>
                    <a:lnTo>
                      <a:pt x="833" y="310"/>
                    </a:lnTo>
                    <a:lnTo>
                      <a:pt x="807" y="316"/>
                    </a:lnTo>
                    <a:lnTo>
                      <a:pt x="765" y="307"/>
                    </a:lnTo>
                    <a:lnTo>
                      <a:pt x="735" y="322"/>
                    </a:lnTo>
                    <a:lnTo>
                      <a:pt x="597" y="283"/>
                    </a:lnTo>
                    <a:lnTo>
                      <a:pt x="566" y="289"/>
                    </a:lnTo>
                    <a:lnTo>
                      <a:pt x="531" y="292"/>
                    </a:lnTo>
                    <a:lnTo>
                      <a:pt x="582" y="262"/>
                    </a:lnTo>
                    <a:lnTo>
                      <a:pt x="564" y="228"/>
                    </a:lnTo>
                    <a:lnTo>
                      <a:pt x="558" y="199"/>
                    </a:lnTo>
                    <a:lnTo>
                      <a:pt x="578" y="172"/>
                    </a:lnTo>
                    <a:lnTo>
                      <a:pt x="582" y="157"/>
                    </a:lnTo>
                    <a:lnTo>
                      <a:pt x="561" y="97"/>
                    </a:lnTo>
                    <a:lnTo>
                      <a:pt x="552" y="52"/>
                    </a:lnTo>
                    <a:lnTo>
                      <a:pt x="600" y="22"/>
                    </a:lnTo>
                    <a:lnTo>
                      <a:pt x="584" y="1"/>
                    </a:lnTo>
                    <a:lnTo>
                      <a:pt x="570" y="4"/>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29" name="Freeform 34">
                <a:extLst>
                  <a:ext uri="{FF2B5EF4-FFF2-40B4-BE49-F238E27FC236}">
                    <a16:creationId xmlns:a16="http://schemas.microsoft.com/office/drawing/2014/main" xmlns="" id="{F3ECD6DF-0F80-4E71-8AE7-0B6C1A4E06D6}"/>
                  </a:ext>
                </a:extLst>
              </p:cNvPr>
              <p:cNvSpPr>
                <a:spLocks/>
              </p:cNvSpPr>
              <p:nvPr/>
            </p:nvSpPr>
            <p:spPr bwMode="auto">
              <a:xfrm>
                <a:off x="1182" y="1983"/>
                <a:ext cx="918" cy="1320"/>
              </a:xfrm>
              <a:custGeom>
                <a:avLst/>
                <a:gdLst/>
                <a:ahLst/>
                <a:cxnLst>
                  <a:cxn ang="0">
                    <a:pos x="537" y="63"/>
                  </a:cxn>
                  <a:cxn ang="0">
                    <a:pos x="432" y="51"/>
                  </a:cxn>
                  <a:cxn ang="0">
                    <a:pos x="360" y="21"/>
                  </a:cxn>
                  <a:cxn ang="0">
                    <a:pos x="237" y="36"/>
                  </a:cxn>
                  <a:cxn ang="0">
                    <a:pos x="153" y="93"/>
                  </a:cxn>
                  <a:cxn ang="0">
                    <a:pos x="110" y="110"/>
                  </a:cxn>
                  <a:cxn ang="0">
                    <a:pos x="125" y="158"/>
                  </a:cxn>
                  <a:cxn ang="0">
                    <a:pos x="219" y="135"/>
                  </a:cxn>
                  <a:cxn ang="0">
                    <a:pos x="252" y="177"/>
                  </a:cxn>
                  <a:cxn ang="0">
                    <a:pos x="216" y="303"/>
                  </a:cxn>
                  <a:cxn ang="0">
                    <a:pos x="165" y="396"/>
                  </a:cxn>
                  <a:cxn ang="0">
                    <a:pos x="132" y="375"/>
                  </a:cxn>
                  <a:cxn ang="0">
                    <a:pos x="102" y="447"/>
                  </a:cxn>
                  <a:cxn ang="0">
                    <a:pos x="54" y="624"/>
                  </a:cxn>
                  <a:cxn ang="0">
                    <a:pos x="111" y="693"/>
                  </a:cxn>
                  <a:cxn ang="0">
                    <a:pos x="195" y="666"/>
                  </a:cxn>
                  <a:cxn ang="0">
                    <a:pos x="234" y="690"/>
                  </a:cxn>
                  <a:cxn ang="0">
                    <a:pos x="240" y="789"/>
                  </a:cxn>
                  <a:cxn ang="0">
                    <a:pos x="99" y="1005"/>
                  </a:cxn>
                  <a:cxn ang="0">
                    <a:pos x="54" y="1050"/>
                  </a:cxn>
                  <a:cxn ang="0">
                    <a:pos x="9" y="1116"/>
                  </a:cxn>
                  <a:cxn ang="0">
                    <a:pos x="18" y="1179"/>
                  </a:cxn>
                  <a:cxn ang="0">
                    <a:pos x="0" y="1236"/>
                  </a:cxn>
                  <a:cxn ang="0">
                    <a:pos x="18" y="1290"/>
                  </a:cxn>
                  <a:cxn ang="0">
                    <a:pos x="57" y="1320"/>
                  </a:cxn>
                  <a:cxn ang="0">
                    <a:pos x="96" y="1314"/>
                  </a:cxn>
                  <a:cxn ang="0">
                    <a:pos x="192" y="1281"/>
                  </a:cxn>
                  <a:cxn ang="0">
                    <a:pos x="351" y="1152"/>
                  </a:cxn>
                  <a:cxn ang="0">
                    <a:pos x="390" y="1104"/>
                  </a:cxn>
                  <a:cxn ang="0">
                    <a:pos x="414" y="996"/>
                  </a:cxn>
                  <a:cxn ang="0">
                    <a:pos x="426" y="909"/>
                  </a:cxn>
                  <a:cxn ang="0">
                    <a:pos x="417" y="861"/>
                  </a:cxn>
                  <a:cxn ang="0">
                    <a:pos x="429" y="801"/>
                  </a:cxn>
                  <a:cxn ang="0">
                    <a:pos x="531" y="762"/>
                  </a:cxn>
                  <a:cxn ang="0">
                    <a:pos x="528" y="750"/>
                  </a:cxn>
                  <a:cxn ang="0">
                    <a:pos x="543" y="711"/>
                  </a:cxn>
                  <a:cxn ang="0">
                    <a:pos x="561" y="684"/>
                  </a:cxn>
                  <a:cxn ang="0">
                    <a:pos x="594" y="660"/>
                  </a:cxn>
                  <a:cxn ang="0">
                    <a:pos x="573" y="609"/>
                  </a:cxn>
                  <a:cxn ang="0">
                    <a:pos x="639" y="567"/>
                  </a:cxn>
                  <a:cxn ang="0">
                    <a:pos x="726" y="570"/>
                  </a:cxn>
                  <a:cxn ang="0">
                    <a:pos x="774" y="546"/>
                  </a:cxn>
                  <a:cxn ang="0">
                    <a:pos x="875" y="527"/>
                  </a:cxn>
                  <a:cxn ang="0">
                    <a:pos x="918" y="504"/>
                  </a:cxn>
                  <a:cxn ang="0">
                    <a:pos x="891" y="468"/>
                  </a:cxn>
                  <a:cxn ang="0">
                    <a:pos x="869" y="440"/>
                  </a:cxn>
                  <a:cxn ang="0">
                    <a:pos x="855" y="363"/>
                  </a:cxn>
                  <a:cxn ang="0">
                    <a:pos x="696" y="309"/>
                  </a:cxn>
                  <a:cxn ang="0">
                    <a:pos x="630" y="227"/>
                  </a:cxn>
                  <a:cxn ang="0">
                    <a:pos x="569" y="131"/>
                  </a:cxn>
                  <a:cxn ang="0">
                    <a:pos x="573" y="57"/>
                  </a:cxn>
                </a:cxnLst>
                <a:rect l="0" t="0" r="r" b="b"/>
                <a:pathLst>
                  <a:path w="918" h="1320">
                    <a:moveTo>
                      <a:pt x="573" y="57"/>
                    </a:moveTo>
                    <a:lnTo>
                      <a:pt x="537" y="63"/>
                    </a:lnTo>
                    <a:lnTo>
                      <a:pt x="524" y="74"/>
                    </a:lnTo>
                    <a:lnTo>
                      <a:pt x="432" y="51"/>
                    </a:lnTo>
                    <a:lnTo>
                      <a:pt x="405" y="24"/>
                    </a:lnTo>
                    <a:lnTo>
                      <a:pt x="360" y="21"/>
                    </a:lnTo>
                    <a:lnTo>
                      <a:pt x="297" y="0"/>
                    </a:lnTo>
                    <a:lnTo>
                      <a:pt x="237" y="36"/>
                    </a:lnTo>
                    <a:lnTo>
                      <a:pt x="213" y="75"/>
                    </a:lnTo>
                    <a:lnTo>
                      <a:pt x="153" y="93"/>
                    </a:lnTo>
                    <a:lnTo>
                      <a:pt x="147" y="111"/>
                    </a:lnTo>
                    <a:lnTo>
                      <a:pt x="110" y="110"/>
                    </a:lnTo>
                    <a:lnTo>
                      <a:pt x="111" y="144"/>
                    </a:lnTo>
                    <a:lnTo>
                      <a:pt x="125" y="158"/>
                    </a:lnTo>
                    <a:lnTo>
                      <a:pt x="135" y="177"/>
                    </a:lnTo>
                    <a:lnTo>
                      <a:pt x="219" y="135"/>
                    </a:lnTo>
                    <a:cubicBezTo>
                      <a:pt x="234" y="142"/>
                      <a:pt x="228" y="138"/>
                      <a:pt x="237" y="147"/>
                    </a:cubicBezTo>
                    <a:lnTo>
                      <a:pt x="252" y="177"/>
                    </a:lnTo>
                    <a:lnTo>
                      <a:pt x="249" y="225"/>
                    </a:lnTo>
                    <a:lnTo>
                      <a:pt x="216" y="303"/>
                    </a:lnTo>
                    <a:lnTo>
                      <a:pt x="207" y="399"/>
                    </a:lnTo>
                    <a:lnTo>
                      <a:pt x="165" y="396"/>
                    </a:lnTo>
                    <a:lnTo>
                      <a:pt x="147" y="396"/>
                    </a:lnTo>
                    <a:lnTo>
                      <a:pt x="132" y="375"/>
                    </a:lnTo>
                    <a:lnTo>
                      <a:pt x="114" y="399"/>
                    </a:lnTo>
                    <a:lnTo>
                      <a:pt x="102" y="447"/>
                    </a:lnTo>
                    <a:lnTo>
                      <a:pt x="84" y="525"/>
                    </a:lnTo>
                    <a:lnTo>
                      <a:pt x="54" y="624"/>
                    </a:lnTo>
                    <a:lnTo>
                      <a:pt x="54" y="696"/>
                    </a:lnTo>
                    <a:lnTo>
                      <a:pt x="111" y="693"/>
                    </a:lnTo>
                    <a:lnTo>
                      <a:pt x="168" y="675"/>
                    </a:lnTo>
                    <a:lnTo>
                      <a:pt x="195" y="666"/>
                    </a:lnTo>
                    <a:lnTo>
                      <a:pt x="210" y="680"/>
                    </a:lnTo>
                    <a:lnTo>
                      <a:pt x="234" y="690"/>
                    </a:lnTo>
                    <a:lnTo>
                      <a:pt x="306" y="723"/>
                    </a:lnTo>
                    <a:lnTo>
                      <a:pt x="240" y="789"/>
                    </a:lnTo>
                    <a:lnTo>
                      <a:pt x="197" y="863"/>
                    </a:lnTo>
                    <a:lnTo>
                      <a:pt x="99" y="1005"/>
                    </a:lnTo>
                    <a:lnTo>
                      <a:pt x="48" y="1026"/>
                    </a:lnTo>
                    <a:lnTo>
                      <a:pt x="54" y="1050"/>
                    </a:lnTo>
                    <a:lnTo>
                      <a:pt x="39" y="1083"/>
                    </a:lnTo>
                    <a:lnTo>
                      <a:pt x="9" y="1116"/>
                    </a:lnTo>
                    <a:lnTo>
                      <a:pt x="12" y="1140"/>
                    </a:lnTo>
                    <a:lnTo>
                      <a:pt x="18" y="1179"/>
                    </a:lnTo>
                    <a:lnTo>
                      <a:pt x="12" y="1212"/>
                    </a:lnTo>
                    <a:lnTo>
                      <a:pt x="0" y="1236"/>
                    </a:lnTo>
                    <a:lnTo>
                      <a:pt x="3" y="1272"/>
                    </a:lnTo>
                    <a:lnTo>
                      <a:pt x="18" y="1290"/>
                    </a:lnTo>
                    <a:lnTo>
                      <a:pt x="41" y="1317"/>
                    </a:lnTo>
                    <a:lnTo>
                      <a:pt x="57" y="1320"/>
                    </a:lnTo>
                    <a:lnTo>
                      <a:pt x="69" y="1313"/>
                    </a:lnTo>
                    <a:lnTo>
                      <a:pt x="96" y="1314"/>
                    </a:lnTo>
                    <a:lnTo>
                      <a:pt x="108" y="1296"/>
                    </a:lnTo>
                    <a:lnTo>
                      <a:pt x="192" y="1281"/>
                    </a:lnTo>
                    <a:lnTo>
                      <a:pt x="324" y="1158"/>
                    </a:lnTo>
                    <a:lnTo>
                      <a:pt x="351" y="1152"/>
                    </a:lnTo>
                    <a:lnTo>
                      <a:pt x="372" y="1122"/>
                    </a:lnTo>
                    <a:lnTo>
                      <a:pt x="390" y="1104"/>
                    </a:lnTo>
                    <a:lnTo>
                      <a:pt x="405" y="1014"/>
                    </a:lnTo>
                    <a:lnTo>
                      <a:pt x="414" y="996"/>
                    </a:lnTo>
                    <a:lnTo>
                      <a:pt x="402" y="963"/>
                    </a:lnTo>
                    <a:lnTo>
                      <a:pt x="426" y="909"/>
                    </a:lnTo>
                    <a:lnTo>
                      <a:pt x="402" y="876"/>
                    </a:lnTo>
                    <a:lnTo>
                      <a:pt x="417" y="861"/>
                    </a:lnTo>
                    <a:cubicBezTo>
                      <a:pt x="432" y="835"/>
                      <a:pt x="429" y="848"/>
                      <a:pt x="429" y="822"/>
                    </a:cubicBezTo>
                    <a:lnTo>
                      <a:pt x="429" y="801"/>
                    </a:lnTo>
                    <a:lnTo>
                      <a:pt x="483" y="789"/>
                    </a:lnTo>
                    <a:lnTo>
                      <a:pt x="531" y="762"/>
                    </a:lnTo>
                    <a:lnTo>
                      <a:pt x="555" y="765"/>
                    </a:lnTo>
                    <a:lnTo>
                      <a:pt x="528" y="750"/>
                    </a:lnTo>
                    <a:lnTo>
                      <a:pt x="531" y="732"/>
                    </a:lnTo>
                    <a:lnTo>
                      <a:pt x="543" y="711"/>
                    </a:lnTo>
                    <a:lnTo>
                      <a:pt x="564" y="711"/>
                    </a:lnTo>
                    <a:lnTo>
                      <a:pt x="561" y="684"/>
                    </a:lnTo>
                    <a:lnTo>
                      <a:pt x="579" y="672"/>
                    </a:lnTo>
                    <a:lnTo>
                      <a:pt x="594" y="660"/>
                    </a:lnTo>
                    <a:lnTo>
                      <a:pt x="585" y="636"/>
                    </a:lnTo>
                    <a:lnTo>
                      <a:pt x="573" y="609"/>
                    </a:lnTo>
                    <a:lnTo>
                      <a:pt x="594" y="561"/>
                    </a:lnTo>
                    <a:lnTo>
                      <a:pt x="639" y="567"/>
                    </a:lnTo>
                    <a:lnTo>
                      <a:pt x="681" y="555"/>
                    </a:lnTo>
                    <a:lnTo>
                      <a:pt x="726" y="570"/>
                    </a:lnTo>
                    <a:lnTo>
                      <a:pt x="717" y="540"/>
                    </a:lnTo>
                    <a:lnTo>
                      <a:pt x="774" y="546"/>
                    </a:lnTo>
                    <a:lnTo>
                      <a:pt x="843" y="522"/>
                    </a:lnTo>
                    <a:lnTo>
                      <a:pt x="875" y="527"/>
                    </a:lnTo>
                    <a:lnTo>
                      <a:pt x="900" y="507"/>
                    </a:lnTo>
                    <a:lnTo>
                      <a:pt x="918" y="504"/>
                    </a:lnTo>
                    <a:lnTo>
                      <a:pt x="912" y="477"/>
                    </a:lnTo>
                    <a:lnTo>
                      <a:pt x="891" y="468"/>
                    </a:lnTo>
                    <a:lnTo>
                      <a:pt x="879" y="444"/>
                    </a:lnTo>
                    <a:lnTo>
                      <a:pt x="869" y="440"/>
                    </a:lnTo>
                    <a:lnTo>
                      <a:pt x="870" y="414"/>
                    </a:lnTo>
                    <a:lnTo>
                      <a:pt x="855" y="363"/>
                    </a:lnTo>
                    <a:lnTo>
                      <a:pt x="758" y="362"/>
                    </a:lnTo>
                    <a:lnTo>
                      <a:pt x="696" y="309"/>
                    </a:lnTo>
                    <a:lnTo>
                      <a:pt x="641" y="273"/>
                    </a:lnTo>
                    <a:lnTo>
                      <a:pt x="630" y="227"/>
                    </a:lnTo>
                    <a:lnTo>
                      <a:pt x="620" y="177"/>
                    </a:lnTo>
                    <a:lnTo>
                      <a:pt x="569" y="131"/>
                    </a:lnTo>
                    <a:lnTo>
                      <a:pt x="576" y="114"/>
                    </a:lnTo>
                    <a:lnTo>
                      <a:pt x="573" y="57"/>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0" name="Freeform 35">
                <a:extLst>
                  <a:ext uri="{FF2B5EF4-FFF2-40B4-BE49-F238E27FC236}">
                    <a16:creationId xmlns:a16="http://schemas.microsoft.com/office/drawing/2014/main" xmlns="" id="{3BAA1962-0F31-44E6-BE99-1F75B06C653B}"/>
                  </a:ext>
                </a:extLst>
              </p:cNvPr>
              <p:cNvSpPr>
                <a:spLocks/>
              </p:cNvSpPr>
              <p:nvPr/>
            </p:nvSpPr>
            <p:spPr bwMode="auto">
              <a:xfrm>
                <a:off x="1583" y="2325"/>
                <a:ext cx="799" cy="705"/>
              </a:xfrm>
              <a:custGeom>
                <a:avLst/>
                <a:gdLst/>
                <a:ahLst/>
                <a:cxnLst>
                  <a:cxn ang="0">
                    <a:pos x="46" y="675"/>
                  </a:cxn>
                  <a:cxn ang="0">
                    <a:pos x="94" y="678"/>
                  </a:cxn>
                  <a:cxn ang="0">
                    <a:pos x="183" y="687"/>
                  </a:cxn>
                  <a:cxn ang="0">
                    <a:pos x="262" y="693"/>
                  </a:cxn>
                  <a:cxn ang="0">
                    <a:pos x="310" y="699"/>
                  </a:cxn>
                  <a:cxn ang="0">
                    <a:pos x="358" y="705"/>
                  </a:cxn>
                  <a:cxn ang="0">
                    <a:pos x="417" y="704"/>
                  </a:cxn>
                  <a:cxn ang="0">
                    <a:pos x="553" y="660"/>
                  </a:cxn>
                  <a:cxn ang="0">
                    <a:pos x="643" y="672"/>
                  </a:cxn>
                  <a:cxn ang="0">
                    <a:pos x="709" y="675"/>
                  </a:cxn>
                  <a:cxn ang="0">
                    <a:pos x="799" y="590"/>
                  </a:cxn>
                  <a:cxn ang="0">
                    <a:pos x="799" y="408"/>
                  </a:cxn>
                  <a:cxn ang="0">
                    <a:pos x="796" y="372"/>
                  </a:cxn>
                  <a:cxn ang="0">
                    <a:pos x="778" y="338"/>
                  </a:cxn>
                  <a:cxn ang="0">
                    <a:pos x="766" y="306"/>
                  </a:cxn>
                  <a:cxn ang="0">
                    <a:pos x="760" y="258"/>
                  </a:cxn>
                  <a:cxn ang="0">
                    <a:pos x="742" y="207"/>
                  </a:cxn>
                  <a:cxn ang="0">
                    <a:pos x="700" y="240"/>
                  </a:cxn>
                  <a:cxn ang="0">
                    <a:pos x="676" y="165"/>
                  </a:cxn>
                  <a:cxn ang="0">
                    <a:pos x="670" y="126"/>
                  </a:cxn>
                  <a:cxn ang="0">
                    <a:pos x="748" y="81"/>
                  </a:cxn>
                  <a:cxn ang="0">
                    <a:pos x="709" y="9"/>
                  </a:cxn>
                  <a:cxn ang="0">
                    <a:pos x="630" y="14"/>
                  </a:cxn>
                  <a:cxn ang="0">
                    <a:pos x="456" y="33"/>
                  </a:cxn>
                  <a:cxn ang="0">
                    <a:pos x="469" y="78"/>
                  </a:cxn>
                  <a:cxn ang="0">
                    <a:pos x="487" y="111"/>
                  </a:cxn>
                  <a:cxn ang="0">
                    <a:pos x="511" y="129"/>
                  </a:cxn>
                  <a:cxn ang="0">
                    <a:pos x="496" y="168"/>
                  </a:cxn>
                  <a:cxn ang="0">
                    <a:pos x="478" y="182"/>
                  </a:cxn>
                  <a:cxn ang="0">
                    <a:pos x="393" y="197"/>
                  </a:cxn>
                  <a:cxn ang="0">
                    <a:pos x="372" y="204"/>
                  </a:cxn>
                  <a:cxn ang="0">
                    <a:pos x="325" y="225"/>
                  </a:cxn>
                  <a:cxn ang="0">
                    <a:pos x="244" y="228"/>
                  </a:cxn>
                  <a:cxn ang="0">
                    <a:pos x="175" y="270"/>
                  </a:cxn>
                  <a:cxn ang="0">
                    <a:pos x="160" y="342"/>
                  </a:cxn>
                  <a:cxn ang="0">
                    <a:pos x="141" y="369"/>
                  </a:cxn>
                  <a:cxn ang="0">
                    <a:pos x="148" y="417"/>
                  </a:cxn>
                  <a:cxn ang="0">
                    <a:pos x="82" y="444"/>
                  </a:cxn>
                  <a:cxn ang="0">
                    <a:pos x="28" y="495"/>
                  </a:cxn>
                  <a:cxn ang="0">
                    <a:pos x="0" y="536"/>
                  </a:cxn>
                  <a:cxn ang="0">
                    <a:pos x="1" y="615"/>
                  </a:cxn>
                  <a:cxn ang="0">
                    <a:pos x="3" y="675"/>
                  </a:cxn>
                </a:cxnLst>
                <a:rect l="0" t="0" r="r" b="b"/>
                <a:pathLst>
                  <a:path w="799" h="705">
                    <a:moveTo>
                      <a:pt x="3" y="675"/>
                    </a:moveTo>
                    <a:lnTo>
                      <a:pt x="46" y="675"/>
                    </a:lnTo>
                    <a:lnTo>
                      <a:pt x="64" y="696"/>
                    </a:lnTo>
                    <a:lnTo>
                      <a:pt x="94" y="678"/>
                    </a:lnTo>
                    <a:lnTo>
                      <a:pt x="115" y="690"/>
                    </a:lnTo>
                    <a:lnTo>
                      <a:pt x="183" y="687"/>
                    </a:lnTo>
                    <a:lnTo>
                      <a:pt x="247" y="681"/>
                    </a:lnTo>
                    <a:lnTo>
                      <a:pt x="262" y="693"/>
                    </a:lnTo>
                    <a:lnTo>
                      <a:pt x="292" y="690"/>
                    </a:lnTo>
                    <a:lnTo>
                      <a:pt x="310" y="699"/>
                    </a:lnTo>
                    <a:lnTo>
                      <a:pt x="334" y="699"/>
                    </a:lnTo>
                    <a:lnTo>
                      <a:pt x="358" y="705"/>
                    </a:lnTo>
                    <a:lnTo>
                      <a:pt x="397" y="693"/>
                    </a:lnTo>
                    <a:lnTo>
                      <a:pt x="417" y="704"/>
                    </a:lnTo>
                    <a:lnTo>
                      <a:pt x="477" y="684"/>
                    </a:lnTo>
                    <a:lnTo>
                      <a:pt x="553" y="660"/>
                    </a:lnTo>
                    <a:lnTo>
                      <a:pt x="619" y="678"/>
                    </a:lnTo>
                    <a:lnTo>
                      <a:pt x="643" y="672"/>
                    </a:lnTo>
                    <a:lnTo>
                      <a:pt x="673" y="686"/>
                    </a:lnTo>
                    <a:lnTo>
                      <a:pt x="709" y="675"/>
                    </a:lnTo>
                    <a:lnTo>
                      <a:pt x="715" y="594"/>
                    </a:lnTo>
                    <a:lnTo>
                      <a:pt x="799" y="590"/>
                    </a:lnTo>
                    <a:lnTo>
                      <a:pt x="790" y="462"/>
                    </a:lnTo>
                    <a:lnTo>
                      <a:pt x="799" y="408"/>
                    </a:lnTo>
                    <a:lnTo>
                      <a:pt x="781" y="405"/>
                    </a:lnTo>
                    <a:lnTo>
                      <a:pt x="796" y="372"/>
                    </a:lnTo>
                    <a:lnTo>
                      <a:pt x="772" y="366"/>
                    </a:lnTo>
                    <a:lnTo>
                      <a:pt x="778" y="338"/>
                    </a:lnTo>
                    <a:lnTo>
                      <a:pt x="769" y="324"/>
                    </a:lnTo>
                    <a:lnTo>
                      <a:pt x="766" y="306"/>
                    </a:lnTo>
                    <a:lnTo>
                      <a:pt x="781" y="282"/>
                    </a:lnTo>
                    <a:lnTo>
                      <a:pt x="760" y="258"/>
                    </a:lnTo>
                    <a:lnTo>
                      <a:pt x="751" y="231"/>
                    </a:lnTo>
                    <a:lnTo>
                      <a:pt x="742" y="207"/>
                    </a:lnTo>
                    <a:lnTo>
                      <a:pt x="721" y="201"/>
                    </a:lnTo>
                    <a:lnTo>
                      <a:pt x="700" y="240"/>
                    </a:lnTo>
                    <a:lnTo>
                      <a:pt x="682" y="204"/>
                    </a:lnTo>
                    <a:lnTo>
                      <a:pt x="676" y="165"/>
                    </a:lnTo>
                    <a:lnTo>
                      <a:pt x="693" y="138"/>
                    </a:lnTo>
                    <a:lnTo>
                      <a:pt x="670" y="126"/>
                    </a:lnTo>
                    <a:lnTo>
                      <a:pt x="676" y="102"/>
                    </a:lnTo>
                    <a:lnTo>
                      <a:pt x="748" y="81"/>
                    </a:lnTo>
                    <a:lnTo>
                      <a:pt x="727" y="21"/>
                    </a:lnTo>
                    <a:lnTo>
                      <a:pt x="709" y="9"/>
                    </a:lnTo>
                    <a:lnTo>
                      <a:pt x="679" y="0"/>
                    </a:lnTo>
                    <a:lnTo>
                      <a:pt x="630" y="14"/>
                    </a:lnTo>
                    <a:lnTo>
                      <a:pt x="454" y="15"/>
                    </a:lnTo>
                    <a:lnTo>
                      <a:pt x="456" y="33"/>
                    </a:lnTo>
                    <a:lnTo>
                      <a:pt x="465" y="56"/>
                    </a:lnTo>
                    <a:lnTo>
                      <a:pt x="469" y="78"/>
                    </a:lnTo>
                    <a:lnTo>
                      <a:pt x="466" y="99"/>
                    </a:lnTo>
                    <a:lnTo>
                      <a:pt x="487" y="111"/>
                    </a:lnTo>
                    <a:lnTo>
                      <a:pt x="490" y="123"/>
                    </a:lnTo>
                    <a:lnTo>
                      <a:pt x="511" y="129"/>
                    </a:lnTo>
                    <a:lnTo>
                      <a:pt x="514" y="159"/>
                    </a:lnTo>
                    <a:lnTo>
                      <a:pt x="496" y="168"/>
                    </a:lnTo>
                    <a:lnTo>
                      <a:pt x="486" y="174"/>
                    </a:lnTo>
                    <a:lnTo>
                      <a:pt x="478" y="182"/>
                    </a:lnTo>
                    <a:lnTo>
                      <a:pt x="445" y="180"/>
                    </a:lnTo>
                    <a:lnTo>
                      <a:pt x="393" y="197"/>
                    </a:lnTo>
                    <a:lnTo>
                      <a:pt x="382" y="210"/>
                    </a:lnTo>
                    <a:lnTo>
                      <a:pt x="372" y="204"/>
                    </a:lnTo>
                    <a:lnTo>
                      <a:pt x="319" y="195"/>
                    </a:lnTo>
                    <a:lnTo>
                      <a:pt x="325" y="225"/>
                    </a:lnTo>
                    <a:lnTo>
                      <a:pt x="283" y="210"/>
                    </a:lnTo>
                    <a:lnTo>
                      <a:pt x="244" y="228"/>
                    </a:lnTo>
                    <a:lnTo>
                      <a:pt x="192" y="219"/>
                    </a:lnTo>
                    <a:lnTo>
                      <a:pt x="175" y="270"/>
                    </a:lnTo>
                    <a:lnTo>
                      <a:pt x="196" y="324"/>
                    </a:lnTo>
                    <a:lnTo>
                      <a:pt x="160" y="342"/>
                    </a:lnTo>
                    <a:lnTo>
                      <a:pt x="157" y="366"/>
                    </a:lnTo>
                    <a:lnTo>
                      <a:pt x="141" y="369"/>
                    </a:lnTo>
                    <a:lnTo>
                      <a:pt x="124" y="402"/>
                    </a:lnTo>
                    <a:lnTo>
                      <a:pt x="148" y="417"/>
                    </a:lnTo>
                    <a:lnTo>
                      <a:pt x="129" y="420"/>
                    </a:lnTo>
                    <a:lnTo>
                      <a:pt x="82" y="444"/>
                    </a:lnTo>
                    <a:lnTo>
                      <a:pt x="25" y="459"/>
                    </a:lnTo>
                    <a:lnTo>
                      <a:pt x="28" y="495"/>
                    </a:lnTo>
                    <a:lnTo>
                      <a:pt x="21" y="510"/>
                    </a:lnTo>
                    <a:lnTo>
                      <a:pt x="0" y="536"/>
                    </a:lnTo>
                    <a:lnTo>
                      <a:pt x="27" y="572"/>
                    </a:lnTo>
                    <a:lnTo>
                      <a:pt x="1" y="615"/>
                    </a:lnTo>
                    <a:lnTo>
                      <a:pt x="10" y="647"/>
                    </a:lnTo>
                    <a:lnTo>
                      <a:pt x="3" y="675"/>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1" name="Freeform 36">
                <a:extLst>
                  <a:ext uri="{FF2B5EF4-FFF2-40B4-BE49-F238E27FC236}">
                    <a16:creationId xmlns:a16="http://schemas.microsoft.com/office/drawing/2014/main" xmlns="" id="{5AF77E57-7457-441D-A0CB-8962D6EC631B}"/>
                  </a:ext>
                </a:extLst>
              </p:cNvPr>
              <p:cNvSpPr>
                <a:spLocks/>
              </p:cNvSpPr>
              <p:nvPr/>
            </p:nvSpPr>
            <p:spPr bwMode="auto">
              <a:xfrm>
                <a:off x="2195" y="2160"/>
                <a:ext cx="690" cy="587"/>
              </a:xfrm>
              <a:custGeom>
                <a:avLst/>
                <a:gdLst/>
                <a:ahLst/>
                <a:cxnLst>
                  <a:cxn ang="0">
                    <a:pos x="45" y="102"/>
                  </a:cxn>
                  <a:cxn ang="0">
                    <a:pos x="97" y="71"/>
                  </a:cxn>
                  <a:cxn ang="0">
                    <a:pos x="169" y="45"/>
                  </a:cxn>
                  <a:cxn ang="0">
                    <a:pos x="228" y="30"/>
                  </a:cxn>
                  <a:cxn ang="0">
                    <a:pos x="349" y="57"/>
                  </a:cxn>
                  <a:cxn ang="0">
                    <a:pos x="379" y="62"/>
                  </a:cxn>
                  <a:cxn ang="0">
                    <a:pos x="429" y="33"/>
                  </a:cxn>
                  <a:cxn ang="0">
                    <a:pos x="448" y="0"/>
                  </a:cxn>
                  <a:cxn ang="0">
                    <a:pos x="496" y="38"/>
                  </a:cxn>
                  <a:cxn ang="0">
                    <a:pos x="523" y="150"/>
                  </a:cxn>
                  <a:cxn ang="0">
                    <a:pos x="547" y="245"/>
                  </a:cxn>
                  <a:cxn ang="0">
                    <a:pos x="538" y="290"/>
                  </a:cxn>
                  <a:cxn ang="0">
                    <a:pos x="618" y="318"/>
                  </a:cxn>
                  <a:cxn ang="0">
                    <a:pos x="667" y="357"/>
                  </a:cxn>
                  <a:cxn ang="0">
                    <a:pos x="660" y="377"/>
                  </a:cxn>
                  <a:cxn ang="0">
                    <a:pos x="636" y="437"/>
                  </a:cxn>
                  <a:cxn ang="0">
                    <a:pos x="661" y="461"/>
                  </a:cxn>
                  <a:cxn ang="0">
                    <a:pos x="690" y="494"/>
                  </a:cxn>
                  <a:cxn ang="0">
                    <a:pos x="658" y="539"/>
                  </a:cxn>
                  <a:cxn ang="0">
                    <a:pos x="571" y="513"/>
                  </a:cxn>
                  <a:cxn ang="0">
                    <a:pos x="510" y="500"/>
                  </a:cxn>
                  <a:cxn ang="0">
                    <a:pos x="454" y="510"/>
                  </a:cxn>
                  <a:cxn ang="0">
                    <a:pos x="397" y="513"/>
                  </a:cxn>
                  <a:cxn ang="0">
                    <a:pos x="367" y="546"/>
                  </a:cxn>
                  <a:cxn ang="0">
                    <a:pos x="348" y="578"/>
                  </a:cxn>
                  <a:cxn ang="0">
                    <a:pos x="273" y="576"/>
                  </a:cxn>
                  <a:cxn ang="0">
                    <a:pos x="243" y="558"/>
                  </a:cxn>
                  <a:cxn ang="0">
                    <a:pos x="181" y="534"/>
                  </a:cxn>
                  <a:cxn ang="0">
                    <a:pos x="163" y="501"/>
                  </a:cxn>
                  <a:cxn ang="0">
                    <a:pos x="151" y="468"/>
                  </a:cxn>
                  <a:cxn ang="0">
                    <a:pos x="145" y="423"/>
                  </a:cxn>
                  <a:cxn ang="0">
                    <a:pos x="130" y="369"/>
                  </a:cxn>
                  <a:cxn ang="0">
                    <a:pos x="88" y="407"/>
                  </a:cxn>
                  <a:cxn ang="0">
                    <a:pos x="64" y="329"/>
                  </a:cxn>
                  <a:cxn ang="0">
                    <a:pos x="57" y="291"/>
                  </a:cxn>
                  <a:cxn ang="0">
                    <a:pos x="135" y="246"/>
                  </a:cxn>
                  <a:cxn ang="0">
                    <a:pos x="99" y="173"/>
                  </a:cxn>
                  <a:cxn ang="0">
                    <a:pos x="18" y="177"/>
                  </a:cxn>
                </a:cxnLst>
                <a:rect l="0" t="0" r="r" b="b"/>
                <a:pathLst>
                  <a:path w="690" h="587">
                    <a:moveTo>
                      <a:pt x="0" y="168"/>
                    </a:moveTo>
                    <a:lnTo>
                      <a:pt x="45" y="102"/>
                    </a:lnTo>
                    <a:lnTo>
                      <a:pt x="57" y="84"/>
                    </a:lnTo>
                    <a:lnTo>
                      <a:pt x="97" y="71"/>
                    </a:lnTo>
                    <a:lnTo>
                      <a:pt x="142" y="68"/>
                    </a:lnTo>
                    <a:lnTo>
                      <a:pt x="169" y="45"/>
                    </a:lnTo>
                    <a:lnTo>
                      <a:pt x="181" y="44"/>
                    </a:lnTo>
                    <a:lnTo>
                      <a:pt x="228" y="30"/>
                    </a:lnTo>
                    <a:lnTo>
                      <a:pt x="307" y="39"/>
                    </a:lnTo>
                    <a:lnTo>
                      <a:pt x="349" y="57"/>
                    </a:lnTo>
                    <a:lnTo>
                      <a:pt x="357" y="77"/>
                    </a:lnTo>
                    <a:lnTo>
                      <a:pt x="379" y="62"/>
                    </a:lnTo>
                    <a:lnTo>
                      <a:pt x="412" y="63"/>
                    </a:lnTo>
                    <a:lnTo>
                      <a:pt x="429" y="33"/>
                    </a:lnTo>
                    <a:lnTo>
                      <a:pt x="448" y="24"/>
                    </a:lnTo>
                    <a:lnTo>
                      <a:pt x="448" y="0"/>
                    </a:lnTo>
                    <a:lnTo>
                      <a:pt x="484" y="17"/>
                    </a:lnTo>
                    <a:lnTo>
                      <a:pt x="496" y="38"/>
                    </a:lnTo>
                    <a:lnTo>
                      <a:pt x="540" y="68"/>
                    </a:lnTo>
                    <a:lnTo>
                      <a:pt x="523" y="150"/>
                    </a:lnTo>
                    <a:lnTo>
                      <a:pt x="528" y="215"/>
                    </a:lnTo>
                    <a:lnTo>
                      <a:pt x="547" y="245"/>
                    </a:lnTo>
                    <a:lnTo>
                      <a:pt x="550" y="272"/>
                    </a:lnTo>
                    <a:lnTo>
                      <a:pt x="538" y="290"/>
                    </a:lnTo>
                    <a:lnTo>
                      <a:pt x="556" y="303"/>
                    </a:lnTo>
                    <a:lnTo>
                      <a:pt x="618" y="318"/>
                    </a:lnTo>
                    <a:lnTo>
                      <a:pt x="648" y="345"/>
                    </a:lnTo>
                    <a:lnTo>
                      <a:pt x="667" y="357"/>
                    </a:lnTo>
                    <a:lnTo>
                      <a:pt x="675" y="369"/>
                    </a:lnTo>
                    <a:lnTo>
                      <a:pt x="660" y="377"/>
                    </a:lnTo>
                    <a:lnTo>
                      <a:pt x="643" y="419"/>
                    </a:lnTo>
                    <a:lnTo>
                      <a:pt x="636" y="437"/>
                    </a:lnTo>
                    <a:lnTo>
                      <a:pt x="648" y="464"/>
                    </a:lnTo>
                    <a:lnTo>
                      <a:pt x="661" y="461"/>
                    </a:lnTo>
                    <a:lnTo>
                      <a:pt x="684" y="468"/>
                    </a:lnTo>
                    <a:lnTo>
                      <a:pt x="690" y="494"/>
                    </a:lnTo>
                    <a:lnTo>
                      <a:pt x="670" y="534"/>
                    </a:lnTo>
                    <a:lnTo>
                      <a:pt x="658" y="539"/>
                    </a:lnTo>
                    <a:lnTo>
                      <a:pt x="625" y="530"/>
                    </a:lnTo>
                    <a:lnTo>
                      <a:pt x="571" y="513"/>
                    </a:lnTo>
                    <a:lnTo>
                      <a:pt x="532" y="485"/>
                    </a:lnTo>
                    <a:lnTo>
                      <a:pt x="510" y="500"/>
                    </a:lnTo>
                    <a:lnTo>
                      <a:pt x="483" y="509"/>
                    </a:lnTo>
                    <a:lnTo>
                      <a:pt x="454" y="510"/>
                    </a:lnTo>
                    <a:lnTo>
                      <a:pt x="405" y="504"/>
                    </a:lnTo>
                    <a:lnTo>
                      <a:pt x="397" y="513"/>
                    </a:lnTo>
                    <a:lnTo>
                      <a:pt x="384" y="533"/>
                    </a:lnTo>
                    <a:lnTo>
                      <a:pt x="367" y="546"/>
                    </a:lnTo>
                    <a:lnTo>
                      <a:pt x="357" y="549"/>
                    </a:lnTo>
                    <a:lnTo>
                      <a:pt x="348" y="578"/>
                    </a:lnTo>
                    <a:lnTo>
                      <a:pt x="327" y="587"/>
                    </a:lnTo>
                    <a:lnTo>
                      <a:pt x="273" y="576"/>
                    </a:lnTo>
                    <a:lnTo>
                      <a:pt x="264" y="570"/>
                    </a:lnTo>
                    <a:lnTo>
                      <a:pt x="243" y="558"/>
                    </a:lnTo>
                    <a:lnTo>
                      <a:pt x="201" y="542"/>
                    </a:lnTo>
                    <a:lnTo>
                      <a:pt x="181" y="534"/>
                    </a:lnTo>
                    <a:lnTo>
                      <a:pt x="159" y="528"/>
                    </a:lnTo>
                    <a:lnTo>
                      <a:pt x="163" y="501"/>
                    </a:lnTo>
                    <a:lnTo>
                      <a:pt x="156" y="488"/>
                    </a:lnTo>
                    <a:lnTo>
                      <a:pt x="151" y="468"/>
                    </a:lnTo>
                    <a:lnTo>
                      <a:pt x="168" y="447"/>
                    </a:lnTo>
                    <a:lnTo>
                      <a:pt x="145" y="423"/>
                    </a:lnTo>
                    <a:lnTo>
                      <a:pt x="139" y="395"/>
                    </a:lnTo>
                    <a:lnTo>
                      <a:pt x="130" y="369"/>
                    </a:lnTo>
                    <a:lnTo>
                      <a:pt x="109" y="365"/>
                    </a:lnTo>
                    <a:lnTo>
                      <a:pt x="88" y="407"/>
                    </a:lnTo>
                    <a:lnTo>
                      <a:pt x="69" y="369"/>
                    </a:lnTo>
                    <a:lnTo>
                      <a:pt x="64" y="329"/>
                    </a:lnTo>
                    <a:lnTo>
                      <a:pt x="81" y="300"/>
                    </a:lnTo>
                    <a:lnTo>
                      <a:pt x="57" y="291"/>
                    </a:lnTo>
                    <a:lnTo>
                      <a:pt x="64" y="266"/>
                    </a:lnTo>
                    <a:lnTo>
                      <a:pt x="135" y="246"/>
                    </a:lnTo>
                    <a:lnTo>
                      <a:pt x="114" y="182"/>
                    </a:lnTo>
                    <a:lnTo>
                      <a:pt x="99" y="173"/>
                    </a:lnTo>
                    <a:lnTo>
                      <a:pt x="64" y="164"/>
                    </a:lnTo>
                    <a:lnTo>
                      <a:pt x="18" y="177"/>
                    </a:lnTo>
                    <a:lnTo>
                      <a:pt x="0" y="168"/>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2" name="Freeform 37">
                <a:extLst>
                  <a:ext uri="{FF2B5EF4-FFF2-40B4-BE49-F238E27FC236}">
                    <a16:creationId xmlns:a16="http://schemas.microsoft.com/office/drawing/2014/main" xmlns="" id="{5BF71A67-259B-4698-B826-4EEC986A0BA2}"/>
                  </a:ext>
                </a:extLst>
              </p:cNvPr>
              <p:cNvSpPr>
                <a:spLocks/>
              </p:cNvSpPr>
              <p:nvPr/>
            </p:nvSpPr>
            <p:spPr bwMode="auto">
              <a:xfrm>
                <a:off x="1044" y="2984"/>
                <a:ext cx="1509" cy="679"/>
              </a:xfrm>
              <a:custGeom>
                <a:avLst/>
                <a:gdLst/>
                <a:ahLst/>
                <a:cxnLst>
                  <a:cxn ang="0">
                    <a:pos x="443" y="648"/>
                  </a:cxn>
                  <a:cxn ang="0">
                    <a:pos x="422" y="679"/>
                  </a:cxn>
                  <a:cxn ang="0">
                    <a:pos x="294" y="670"/>
                  </a:cxn>
                  <a:cxn ang="0">
                    <a:pos x="252" y="669"/>
                  </a:cxn>
                  <a:cxn ang="0">
                    <a:pos x="246" y="652"/>
                  </a:cxn>
                  <a:cxn ang="0">
                    <a:pos x="209" y="675"/>
                  </a:cxn>
                  <a:cxn ang="0">
                    <a:pos x="173" y="672"/>
                  </a:cxn>
                  <a:cxn ang="0">
                    <a:pos x="108" y="618"/>
                  </a:cxn>
                  <a:cxn ang="0">
                    <a:pos x="117" y="574"/>
                  </a:cxn>
                  <a:cxn ang="0">
                    <a:pos x="99" y="550"/>
                  </a:cxn>
                  <a:cxn ang="0">
                    <a:pos x="57" y="574"/>
                  </a:cxn>
                  <a:cxn ang="0">
                    <a:pos x="33" y="558"/>
                  </a:cxn>
                  <a:cxn ang="0">
                    <a:pos x="35" y="588"/>
                  </a:cxn>
                  <a:cxn ang="0">
                    <a:pos x="9" y="534"/>
                  </a:cxn>
                  <a:cxn ang="0">
                    <a:pos x="54" y="462"/>
                  </a:cxn>
                  <a:cxn ang="0">
                    <a:pos x="122" y="417"/>
                  </a:cxn>
                  <a:cxn ang="0">
                    <a:pos x="194" y="321"/>
                  </a:cxn>
                  <a:cxn ang="0">
                    <a:pos x="233" y="312"/>
                  </a:cxn>
                  <a:cxn ang="0">
                    <a:pos x="330" y="280"/>
                  </a:cxn>
                  <a:cxn ang="0">
                    <a:pos x="491" y="148"/>
                  </a:cxn>
                  <a:cxn ang="0">
                    <a:pos x="542" y="19"/>
                  </a:cxn>
                  <a:cxn ang="0">
                    <a:pos x="602" y="37"/>
                  </a:cxn>
                  <a:cxn ang="0">
                    <a:pos x="653" y="30"/>
                  </a:cxn>
                  <a:cxn ang="0">
                    <a:pos x="786" y="22"/>
                  </a:cxn>
                  <a:cxn ang="0">
                    <a:pos x="827" y="31"/>
                  </a:cxn>
                  <a:cxn ang="0">
                    <a:pos x="887" y="40"/>
                  </a:cxn>
                  <a:cxn ang="0">
                    <a:pos x="936" y="33"/>
                  </a:cxn>
                  <a:cxn ang="0">
                    <a:pos x="1092" y="0"/>
                  </a:cxn>
                  <a:cxn ang="0">
                    <a:pos x="1182" y="10"/>
                  </a:cxn>
                  <a:cxn ang="0">
                    <a:pos x="1248" y="16"/>
                  </a:cxn>
                  <a:cxn ang="0">
                    <a:pos x="1310" y="30"/>
                  </a:cxn>
                  <a:cxn ang="0">
                    <a:pos x="1377" y="55"/>
                  </a:cxn>
                  <a:cxn ang="0">
                    <a:pos x="1397" y="97"/>
                  </a:cxn>
                  <a:cxn ang="0">
                    <a:pos x="1433" y="96"/>
                  </a:cxn>
                  <a:cxn ang="0">
                    <a:pos x="1497" y="318"/>
                  </a:cxn>
                  <a:cxn ang="0">
                    <a:pos x="1469" y="373"/>
                  </a:cxn>
                  <a:cxn ang="0">
                    <a:pos x="1361" y="447"/>
                  </a:cxn>
                  <a:cxn ang="0">
                    <a:pos x="1221" y="543"/>
                  </a:cxn>
                  <a:cxn ang="0">
                    <a:pos x="1119" y="471"/>
                  </a:cxn>
                  <a:cxn ang="0">
                    <a:pos x="1010" y="537"/>
                  </a:cxn>
                  <a:cxn ang="0">
                    <a:pos x="966" y="555"/>
                  </a:cxn>
                  <a:cxn ang="0">
                    <a:pos x="959" y="558"/>
                  </a:cxn>
                  <a:cxn ang="0">
                    <a:pos x="900" y="541"/>
                  </a:cxn>
                  <a:cxn ang="0">
                    <a:pos x="861" y="564"/>
                  </a:cxn>
                  <a:cxn ang="0">
                    <a:pos x="849" y="441"/>
                  </a:cxn>
                  <a:cxn ang="0">
                    <a:pos x="801" y="417"/>
                  </a:cxn>
                  <a:cxn ang="0">
                    <a:pos x="713" y="420"/>
                  </a:cxn>
                  <a:cxn ang="0">
                    <a:pos x="626" y="474"/>
                  </a:cxn>
                  <a:cxn ang="0">
                    <a:pos x="467" y="555"/>
                  </a:cxn>
                  <a:cxn ang="0">
                    <a:pos x="410" y="588"/>
                  </a:cxn>
                  <a:cxn ang="0">
                    <a:pos x="381" y="621"/>
                  </a:cxn>
                  <a:cxn ang="0">
                    <a:pos x="369" y="664"/>
                  </a:cxn>
                </a:cxnLst>
                <a:rect l="0" t="0" r="r" b="b"/>
                <a:pathLst>
                  <a:path w="1509" h="679">
                    <a:moveTo>
                      <a:pt x="369" y="664"/>
                    </a:moveTo>
                    <a:lnTo>
                      <a:pt x="443" y="648"/>
                    </a:lnTo>
                    <a:lnTo>
                      <a:pt x="449" y="663"/>
                    </a:lnTo>
                    <a:lnTo>
                      <a:pt x="422" y="679"/>
                    </a:lnTo>
                    <a:lnTo>
                      <a:pt x="314" y="676"/>
                    </a:lnTo>
                    <a:lnTo>
                      <a:pt x="294" y="670"/>
                    </a:lnTo>
                    <a:lnTo>
                      <a:pt x="266" y="679"/>
                    </a:lnTo>
                    <a:lnTo>
                      <a:pt x="252" y="669"/>
                    </a:lnTo>
                    <a:lnTo>
                      <a:pt x="263" y="661"/>
                    </a:lnTo>
                    <a:lnTo>
                      <a:pt x="246" y="652"/>
                    </a:lnTo>
                    <a:lnTo>
                      <a:pt x="233" y="654"/>
                    </a:lnTo>
                    <a:lnTo>
                      <a:pt x="209" y="675"/>
                    </a:lnTo>
                    <a:lnTo>
                      <a:pt x="183" y="675"/>
                    </a:lnTo>
                    <a:lnTo>
                      <a:pt x="173" y="672"/>
                    </a:lnTo>
                    <a:lnTo>
                      <a:pt x="161" y="649"/>
                    </a:lnTo>
                    <a:lnTo>
                      <a:pt x="108" y="618"/>
                    </a:lnTo>
                    <a:lnTo>
                      <a:pt x="90" y="591"/>
                    </a:lnTo>
                    <a:lnTo>
                      <a:pt x="117" y="574"/>
                    </a:lnTo>
                    <a:lnTo>
                      <a:pt x="117" y="564"/>
                    </a:lnTo>
                    <a:lnTo>
                      <a:pt x="99" y="550"/>
                    </a:lnTo>
                    <a:lnTo>
                      <a:pt x="93" y="574"/>
                    </a:lnTo>
                    <a:lnTo>
                      <a:pt x="57" y="574"/>
                    </a:lnTo>
                    <a:lnTo>
                      <a:pt x="54" y="555"/>
                    </a:lnTo>
                    <a:lnTo>
                      <a:pt x="33" y="558"/>
                    </a:lnTo>
                    <a:lnTo>
                      <a:pt x="41" y="577"/>
                    </a:lnTo>
                    <a:lnTo>
                      <a:pt x="35" y="588"/>
                    </a:lnTo>
                    <a:lnTo>
                      <a:pt x="0" y="579"/>
                    </a:lnTo>
                    <a:lnTo>
                      <a:pt x="9" y="534"/>
                    </a:lnTo>
                    <a:lnTo>
                      <a:pt x="32" y="493"/>
                    </a:lnTo>
                    <a:lnTo>
                      <a:pt x="54" y="462"/>
                    </a:lnTo>
                    <a:lnTo>
                      <a:pt x="74" y="465"/>
                    </a:lnTo>
                    <a:lnTo>
                      <a:pt x="122" y="417"/>
                    </a:lnTo>
                    <a:lnTo>
                      <a:pt x="137" y="376"/>
                    </a:lnTo>
                    <a:lnTo>
                      <a:pt x="194" y="321"/>
                    </a:lnTo>
                    <a:lnTo>
                      <a:pt x="206" y="310"/>
                    </a:lnTo>
                    <a:lnTo>
                      <a:pt x="233" y="312"/>
                    </a:lnTo>
                    <a:lnTo>
                      <a:pt x="245" y="294"/>
                    </a:lnTo>
                    <a:lnTo>
                      <a:pt x="330" y="280"/>
                    </a:lnTo>
                    <a:lnTo>
                      <a:pt x="461" y="156"/>
                    </a:lnTo>
                    <a:lnTo>
                      <a:pt x="491" y="148"/>
                    </a:lnTo>
                    <a:lnTo>
                      <a:pt x="528" y="100"/>
                    </a:lnTo>
                    <a:lnTo>
                      <a:pt x="542" y="19"/>
                    </a:lnTo>
                    <a:lnTo>
                      <a:pt x="585" y="16"/>
                    </a:lnTo>
                    <a:lnTo>
                      <a:pt x="602" y="37"/>
                    </a:lnTo>
                    <a:lnTo>
                      <a:pt x="630" y="16"/>
                    </a:lnTo>
                    <a:lnTo>
                      <a:pt x="653" y="30"/>
                    </a:lnTo>
                    <a:lnTo>
                      <a:pt x="737" y="27"/>
                    </a:lnTo>
                    <a:lnTo>
                      <a:pt x="786" y="22"/>
                    </a:lnTo>
                    <a:lnTo>
                      <a:pt x="800" y="31"/>
                    </a:lnTo>
                    <a:lnTo>
                      <a:pt x="827" y="31"/>
                    </a:lnTo>
                    <a:lnTo>
                      <a:pt x="846" y="37"/>
                    </a:lnTo>
                    <a:lnTo>
                      <a:pt x="887" y="40"/>
                    </a:lnTo>
                    <a:lnTo>
                      <a:pt x="896" y="45"/>
                    </a:lnTo>
                    <a:lnTo>
                      <a:pt x="936" y="33"/>
                    </a:lnTo>
                    <a:lnTo>
                      <a:pt x="954" y="42"/>
                    </a:lnTo>
                    <a:lnTo>
                      <a:pt x="1092" y="0"/>
                    </a:lnTo>
                    <a:lnTo>
                      <a:pt x="1158" y="19"/>
                    </a:lnTo>
                    <a:lnTo>
                      <a:pt x="1182" y="10"/>
                    </a:lnTo>
                    <a:lnTo>
                      <a:pt x="1212" y="25"/>
                    </a:lnTo>
                    <a:lnTo>
                      <a:pt x="1248" y="16"/>
                    </a:lnTo>
                    <a:lnTo>
                      <a:pt x="1283" y="39"/>
                    </a:lnTo>
                    <a:lnTo>
                      <a:pt x="1310" y="30"/>
                    </a:lnTo>
                    <a:lnTo>
                      <a:pt x="1331" y="12"/>
                    </a:lnTo>
                    <a:lnTo>
                      <a:pt x="1377" y="55"/>
                    </a:lnTo>
                    <a:lnTo>
                      <a:pt x="1394" y="79"/>
                    </a:lnTo>
                    <a:lnTo>
                      <a:pt x="1397" y="97"/>
                    </a:lnTo>
                    <a:lnTo>
                      <a:pt x="1416" y="91"/>
                    </a:lnTo>
                    <a:lnTo>
                      <a:pt x="1433" y="96"/>
                    </a:lnTo>
                    <a:lnTo>
                      <a:pt x="1509" y="310"/>
                    </a:lnTo>
                    <a:lnTo>
                      <a:pt x="1497" y="318"/>
                    </a:lnTo>
                    <a:lnTo>
                      <a:pt x="1484" y="334"/>
                    </a:lnTo>
                    <a:lnTo>
                      <a:pt x="1469" y="373"/>
                    </a:lnTo>
                    <a:lnTo>
                      <a:pt x="1457" y="387"/>
                    </a:lnTo>
                    <a:lnTo>
                      <a:pt x="1361" y="447"/>
                    </a:lnTo>
                    <a:lnTo>
                      <a:pt x="1365" y="469"/>
                    </a:lnTo>
                    <a:lnTo>
                      <a:pt x="1221" y="543"/>
                    </a:lnTo>
                    <a:lnTo>
                      <a:pt x="1197" y="558"/>
                    </a:lnTo>
                    <a:lnTo>
                      <a:pt x="1119" y="471"/>
                    </a:lnTo>
                    <a:lnTo>
                      <a:pt x="1116" y="450"/>
                    </a:lnTo>
                    <a:lnTo>
                      <a:pt x="1010" y="537"/>
                    </a:lnTo>
                    <a:lnTo>
                      <a:pt x="984" y="552"/>
                    </a:lnTo>
                    <a:lnTo>
                      <a:pt x="966" y="555"/>
                    </a:lnTo>
                    <a:lnTo>
                      <a:pt x="962" y="535"/>
                    </a:lnTo>
                    <a:lnTo>
                      <a:pt x="959" y="558"/>
                    </a:lnTo>
                    <a:lnTo>
                      <a:pt x="921" y="546"/>
                    </a:lnTo>
                    <a:lnTo>
                      <a:pt x="900" y="541"/>
                    </a:lnTo>
                    <a:lnTo>
                      <a:pt x="882" y="550"/>
                    </a:lnTo>
                    <a:lnTo>
                      <a:pt x="861" y="564"/>
                    </a:lnTo>
                    <a:lnTo>
                      <a:pt x="858" y="453"/>
                    </a:lnTo>
                    <a:lnTo>
                      <a:pt x="849" y="441"/>
                    </a:lnTo>
                    <a:lnTo>
                      <a:pt x="845" y="406"/>
                    </a:lnTo>
                    <a:lnTo>
                      <a:pt x="801" y="417"/>
                    </a:lnTo>
                    <a:lnTo>
                      <a:pt x="743" y="415"/>
                    </a:lnTo>
                    <a:lnTo>
                      <a:pt x="713" y="420"/>
                    </a:lnTo>
                    <a:lnTo>
                      <a:pt x="671" y="450"/>
                    </a:lnTo>
                    <a:lnTo>
                      <a:pt x="626" y="474"/>
                    </a:lnTo>
                    <a:lnTo>
                      <a:pt x="591" y="477"/>
                    </a:lnTo>
                    <a:lnTo>
                      <a:pt x="467" y="555"/>
                    </a:lnTo>
                    <a:lnTo>
                      <a:pt x="438" y="574"/>
                    </a:lnTo>
                    <a:lnTo>
                      <a:pt x="410" y="588"/>
                    </a:lnTo>
                    <a:lnTo>
                      <a:pt x="390" y="600"/>
                    </a:lnTo>
                    <a:lnTo>
                      <a:pt x="381" y="621"/>
                    </a:lnTo>
                    <a:lnTo>
                      <a:pt x="380" y="640"/>
                    </a:lnTo>
                    <a:lnTo>
                      <a:pt x="369" y="664"/>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3" name="Freeform 38">
                <a:extLst>
                  <a:ext uri="{FF2B5EF4-FFF2-40B4-BE49-F238E27FC236}">
                    <a16:creationId xmlns:a16="http://schemas.microsoft.com/office/drawing/2014/main" xmlns="" id="{4DAD6D9A-E28A-46AE-BD2E-12FC194E9722}"/>
                  </a:ext>
                </a:extLst>
              </p:cNvPr>
              <p:cNvSpPr>
                <a:spLocks/>
              </p:cNvSpPr>
              <p:nvPr/>
            </p:nvSpPr>
            <p:spPr bwMode="auto">
              <a:xfrm>
                <a:off x="2289" y="2696"/>
                <a:ext cx="573" cy="1008"/>
              </a:xfrm>
              <a:custGeom>
                <a:avLst/>
                <a:gdLst/>
                <a:ahLst/>
                <a:cxnLst>
                  <a:cxn ang="0">
                    <a:pos x="36" y="328"/>
                  </a:cxn>
                  <a:cxn ang="0">
                    <a:pos x="84" y="298"/>
                  </a:cxn>
                  <a:cxn ang="0">
                    <a:pos x="150" y="366"/>
                  </a:cxn>
                  <a:cxn ang="0">
                    <a:pos x="171" y="378"/>
                  </a:cxn>
                  <a:cxn ang="0">
                    <a:pos x="264" y="598"/>
                  </a:cxn>
                  <a:cxn ang="0">
                    <a:pos x="239" y="624"/>
                  </a:cxn>
                  <a:cxn ang="0">
                    <a:pos x="212" y="676"/>
                  </a:cxn>
                  <a:cxn ang="0">
                    <a:pos x="116" y="735"/>
                  </a:cxn>
                  <a:cxn ang="0">
                    <a:pos x="125" y="799"/>
                  </a:cxn>
                  <a:cxn ang="0">
                    <a:pos x="263" y="918"/>
                  </a:cxn>
                  <a:cxn ang="0">
                    <a:pos x="332" y="921"/>
                  </a:cxn>
                  <a:cxn ang="0">
                    <a:pos x="362" y="1003"/>
                  </a:cxn>
                  <a:cxn ang="0">
                    <a:pos x="545" y="991"/>
                  </a:cxn>
                  <a:cxn ang="0">
                    <a:pos x="573" y="930"/>
                  </a:cxn>
                  <a:cxn ang="0">
                    <a:pos x="527" y="787"/>
                  </a:cxn>
                  <a:cxn ang="0">
                    <a:pos x="516" y="736"/>
                  </a:cxn>
                  <a:cxn ang="0">
                    <a:pos x="500" y="724"/>
                  </a:cxn>
                  <a:cxn ang="0">
                    <a:pos x="464" y="711"/>
                  </a:cxn>
                  <a:cxn ang="0">
                    <a:pos x="414" y="673"/>
                  </a:cxn>
                  <a:cxn ang="0">
                    <a:pos x="437" y="648"/>
                  </a:cxn>
                  <a:cxn ang="0">
                    <a:pos x="476" y="487"/>
                  </a:cxn>
                  <a:cxn ang="0">
                    <a:pos x="504" y="397"/>
                  </a:cxn>
                  <a:cxn ang="0">
                    <a:pos x="530" y="346"/>
                  </a:cxn>
                  <a:cxn ang="0">
                    <a:pos x="548" y="331"/>
                  </a:cxn>
                  <a:cxn ang="0">
                    <a:pos x="546" y="307"/>
                  </a:cxn>
                  <a:cxn ang="0">
                    <a:pos x="534" y="273"/>
                  </a:cxn>
                  <a:cxn ang="0">
                    <a:pos x="507" y="262"/>
                  </a:cxn>
                  <a:cxn ang="0">
                    <a:pos x="489" y="177"/>
                  </a:cxn>
                  <a:cxn ang="0">
                    <a:pos x="452" y="163"/>
                  </a:cxn>
                  <a:cxn ang="0">
                    <a:pos x="441" y="132"/>
                  </a:cxn>
                  <a:cxn ang="0">
                    <a:pos x="410" y="145"/>
                  </a:cxn>
                  <a:cxn ang="0">
                    <a:pos x="389" y="132"/>
                  </a:cxn>
                  <a:cxn ang="0">
                    <a:pos x="350" y="105"/>
                  </a:cxn>
                  <a:cxn ang="0">
                    <a:pos x="339" y="70"/>
                  </a:cxn>
                  <a:cxn ang="0">
                    <a:pos x="317" y="36"/>
                  </a:cxn>
                  <a:cxn ang="0">
                    <a:pos x="248" y="49"/>
                  </a:cxn>
                  <a:cxn ang="0">
                    <a:pos x="194" y="43"/>
                  </a:cxn>
                  <a:cxn ang="0">
                    <a:pos x="156" y="30"/>
                  </a:cxn>
                  <a:cxn ang="0">
                    <a:pos x="114" y="7"/>
                  </a:cxn>
                  <a:cxn ang="0">
                    <a:pos x="72" y="37"/>
                  </a:cxn>
                  <a:cxn ang="0">
                    <a:pos x="86" y="94"/>
                  </a:cxn>
                  <a:cxn ang="0">
                    <a:pos x="6" y="222"/>
                  </a:cxn>
                </a:cxnLst>
                <a:rect l="0" t="0" r="r" b="b"/>
                <a:pathLst>
                  <a:path w="573" h="1008">
                    <a:moveTo>
                      <a:pt x="0" y="304"/>
                    </a:moveTo>
                    <a:lnTo>
                      <a:pt x="36" y="328"/>
                    </a:lnTo>
                    <a:lnTo>
                      <a:pt x="65" y="316"/>
                    </a:lnTo>
                    <a:lnTo>
                      <a:pt x="84" y="298"/>
                    </a:lnTo>
                    <a:lnTo>
                      <a:pt x="129" y="342"/>
                    </a:lnTo>
                    <a:lnTo>
                      <a:pt x="150" y="366"/>
                    </a:lnTo>
                    <a:lnTo>
                      <a:pt x="152" y="385"/>
                    </a:lnTo>
                    <a:lnTo>
                      <a:pt x="171" y="378"/>
                    </a:lnTo>
                    <a:lnTo>
                      <a:pt x="186" y="381"/>
                    </a:lnTo>
                    <a:lnTo>
                      <a:pt x="264" y="598"/>
                    </a:lnTo>
                    <a:lnTo>
                      <a:pt x="251" y="604"/>
                    </a:lnTo>
                    <a:lnTo>
                      <a:pt x="239" y="624"/>
                    </a:lnTo>
                    <a:lnTo>
                      <a:pt x="227" y="657"/>
                    </a:lnTo>
                    <a:lnTo>
                      <a:pt x="212" y="676"/>
                    </a:lnTo>
                    <a:lnTo>
                      <a:pt x="182" y="693"/>
                    </a:lnTo>
                    <a:lnTo>
                      <a:pt x="116" y="735"/>
                    </a:lnTo>
                    <a:lnTo>
                      <a:pt x="120" y="756"/>
                    </a:lnTo>
                    <a:lnTo>
                      <a:pt x="125" y="799"/>
                    </a:lnTo>
                    <a:lnTo>
                      <a:pt x="282" y="867"/>
                    </a:lnTo>
                    <a:lnTo>
                      <a:pt x="263" y="918"/>
                    </a:lnTo>
                    <a:lnTo>
                      <a:pt x="272" y="922"/>
                    </a:lnTo>
                    <a:lnTo>
                      <a:pt x="332" y="921"/>
                    </a:lnTo>
                    <a:lnTo>
                      <a:pt x="362" y="972"/>
                    </a:lnTo>
                    <a:lnTo>
                      <a:pt x="362" y="1003"/>
                    </a:lnTo>
                    <a:lnTo>
                      <a:pt x="542" y="1008"/>
                    </a:lnTo>
                    <a:lnTo>
                      <a:pt x="545" y="991"/>
                    </a:lnTo>
                    <a:lnTo>
                      <a:pt x="572" y="942"/>
                    </a:lnTo>
                    <a:lnTo>
                      <a:pt x="573" y="930"/>
                    </a:lnTo>
                    <a:lnTo>
                      <a:pt x="530" y="813"/>
                    </a:lnTo>
                    <a:lnTo>
                      <a:pt x="527" y="787"/>
                    </a:lnTo>
                    <a:lnTo>
                      <a:pt x="518" y="753"/>
                    </a:lnTo>
                    <a:lnTo>
                      <a:pt x="516" y="736"/>
                    </a:lnTo>
                    <a:lnTo>
                      <a:pt x="527" y="729"/>
                    </a:lnTo>
                    <a:lnTo>
                      <a:pt x="500" y="724"/>
                    </a:lnTo>
                    <a:lnTo>
                      <a:pt x="477" y="709"/>
                    </a:lnTo>
                    <a:lnTo>
                      <a:pt x="464" y="711"/>
                    </a:lnTo>
                    <a:lnTo>
                      <a:pt x="429" y="718"/>
                    </a:lnTo>
                    <a:lnTo>
                      <a:pt x="414" y="673"/>
                    </a:lnTo>
                    <a:lnTo>
                      <a:pt x="437" y="658"/>
                    </a:lnTo>
                    <a:lnTo>
                      <a:pt x="437" y="648"/>
                    </a:lnTo>
                    <a:lnTo>
                      <a:pt x="426" y="640"/>
                    </a:lnTo>
                    <a:lnTo>
                      <a:pt x="476" y="487"/>
                    </a:lnTo>
                    <a:lnTo>
                      <a:pt x="491" y="427"/>
                    </a:lnTo>
                    <a:lnTo>
                      <a:pt x="504" y="397"/>
                    </a:lnTo>
                    <a:lnTo>
                      <a:pt x="503" y="385"/>
                    </a:lnTo>
                    <a:lnTo>
                      <a:pt x="530" y="346"/>
                    </a:lnTo>
                    <a:lnTo>
                      <a:pt x="551" y="346"/>
                    </a:lnTo>
                    <a:lnTo>
                      <a:pt x="548" y="331"/>
                    </a:lnTo>
                    <a:lnTo>
                      <a:pt x="533" y="325"/>
                    </a:lnTo>
                    <a:lnTo>
                      <a:pt x="546" y="307"/>
                    </a:lnTo>
                    <a:lnTo>
                      <a:pt x="536" y="285"/>
                    </a:lnTo>
                    <a:lnTo>
                      <a:pt x="534" y="273"/>
                    </a:lnTo>
                    <a:lnTo>
                      <a:pt x="512" y="276"/>
                    </a:lnTo>
                    <a:lnTo>
                      <a:pt x="507" y="262"/>
                    </a:lnTo>
                    <a:lnTo>
                      <a:pt x="494" y="187"/>
                    </a:lnTo>
                    <a:lnTo>
                      <a:pt x="489" y="177"/>
                    </a:lnTo>
                    <a:lnTo>
                      <a:pt x="465" y="186"/>
                    </a:lnTo>
                    <a:lnTo>
                      <a:pt x="452" y="163"/>
                    </a:lnTo>
                    <a:lnTo>
                      <a:pt x="455" y="135"/>
                    </a:lnTo>
                    <a:lnTo>
                      <a:pt x="441" y="132"/>
                    </a:lnTo>
                    <a:lnTo>
                      <a:pt x="428" y="145"/>
                    </a:lnTo>
                    <a:lnTo>
                      <a:pt x="410" y="145"/>
                    </a:lnTo>
                    <a:lnTo>
                      <a:pt x="398" y="145"/>
                    </a:lnTo>
                    <a:lnTo>
                      <a:pt x="389" y="132"/>
                    </a:lnTo>
                    <a:lnTo>
                      <a:pt x="369" y="132"/>
                    </a:lnTo>
                    <a:lnTo>
                      <a:pt x="350" y="105"/>
                    </a:lnTo>
                    <a:lnTo>
                      <a:pt x="345" y="90"/>
                    </a:lnTo>
                    <a:lnTo>
                      <a:pt x="339" y="70"/>
                    </a:lnTo>
                    <a:lnTo>
                      <a:pt x="327" y="42"/>
                    </a:lnTo>
                    <a:lnTo>
                      <a:pt x="317" y="36"/>
                    </a:lnTo>
                    <a:lnTo>
                      <a:pt x="269" y="43"/>
                    </a:lnTo>
                    <a:lnTo>
                      <a:pt x="248" y="49"/>
                    </a:lnTo>
                    <a:lnTo>
                      <a:pt x="225" y="51"/>
                    </a:lnTo>
                    <a:lnTo>
                      <a:pt x="194" y="43"/>
                    </a:lnTo>
                    <a:lnTo>
                      <a:pt x="180" y="39"/>
                    </a:lnTo>
                    <a:lnTo>
                      <a:pt x="156" y="30"/>
                    </a:lnTo>
                    <a:lnTo>
                      <a:pt x="140" y="24"/>
                    </a:lnTo>
                    <a:lnTo>
                      <a:pt x="114" y="7"/>
                    </a:lnTo>
                    <a:lnTo>
                      <a:pt x="89" y="0"/>
                    </a:lnTo>
                    <a:lnTo>
                      <a:pt x="72" y="37"/>
                    </a:lnTo>
                    <a:lnTo>
                      <a:pt x="93" y="37"/>
                    </a:lnTo>
                    <a:lnTo>
                      <a:pt x="86" y="94"/>
                    </a:lnTo>
                    <a:lnTo>
                      <a:pt x="93" y="216"/>
                    </a:lnTo>
                    <a:lnTo>
                      <a:pt x="6" y="222"/>
                    </a:lnTo>
                    <a:lnTo>
                      <a:pt x="0" y="304"/>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4" name="Freeform 39">
                <a:extLst>
                  <a:ext uri="{FF2B5EF4-FFF2-40B4-BE49-F238E27FC236}">
                    <a16:creationId xmlns:a16="http://schemas.microsoft.com/office/drawing/2014/main" xmlns="" id="{ECA1FAF4-4CE2-43E6-9389-6F522E1C8B6A}"/>
                  </a:ext>
                </a:extLst>
              </p:cNvPr>
              <p:cNvSpPr>
                <a:spLocks/>
              </p:cNvSpPr>
              <p:nvPr/>
            </p:nvSpPr>
            <p:spPr bwMode="auto">
              <a:xfrm>
                <a:off x="2702" y="2766"/>
                <a:ext cx="648" cy="753"/>
              </a:xfrm>
              <a:custGeom>
                <a:avLst/>
                <a:gdLst/>
                <a:ahLst/>
                <a:cxnLst>
                  <a:cxn ang="0">
                    <a:pos x="85" y="654"/>
                  </a:cxn>
                  <a:cxn ang="0">
                    <a:pos x="48" y="641"/>
                  </a:cxn>
                  <a:cxn ang="0">
                    <a:pos x="0" y="602"/>
                  </a:cxn>
                  <a:cxn ang="0">
                    <a:pos x="22" y="576"/>
                  </a:cxn>
                  <a:cxn ang="0">
                    <a:pos x="63" y="414"/>
                  </a:cxn>
                  <a:cxn ang="0">
                    <a:pos x="93" y="324"/>
                  </a:cxn>
                  <a:cxn ang="0">
                    <a:pos x="109" y="291"/>
                  </a:cxn>
                  <a:cxn ang="0">
                    <a:pos x="142" y="272"/>
                  </a:cxn>
                  <a:cxn ang="0">
                    <a:pos x="118" y="255"/>
                  </a:cxn>
                  <a:cxn ang="0">
                    <a:pos x="121" y="215"/>
                  </a:cxn>
                  <a:cxn ang="0">
                    <a:pos x="99" y="204"/>
                  </a:cxn>
                  <a:cxn ang="0">
                    <a:pos x="79" y="116"/>
                  </a:cxn>
                  <a:cxn ang="0">
                    <a:pos x="51" y="116"/>
                  </a:cxn>
                  <a:cxn ang="0">
                    <a:pos x="42" y="60"/>
                  </a:cxn>
                  <a:cxn ang="0">
                    <a:pos x="49" y="32"/>
                  </a:cxn>
                  <a:cxn ang="0">
                    <a:pos x="108" y="38"/>
                  </a:cxn>
                  <a:cxn ang="0">
                    <a:pos x="135" y="54"/>
                  </a:cxn>
                  <a:cxn ang="0">
                    <a:pos x="115" y="0"/>
                  </a:cxn>
                  <a:cxn ang="0">
                    <a:pos x="201" y="48"/>
                  </a:cxn>
                  <a:cxn ang="0">
                    <a:pos x="229" y="47"/>
                  </a:cxn>
                  <a:cxn ang="0">
                    <a:pos x="295" y="86"/>
                  </a:cxn>
                  <a:cxn ang="0">
                    <a:pos x="370" y="138"/>
                  </a:cxn>
                  <a:cxn ang="0">
                    <a:pos x="358" y="167"/>
                  </a:cxn>
                  <a:cxn ang="0">
                    <a:pos x="399" y="245"/>
                  </a:cxn>
                  <a:cxn ang="0">
                    <a:pos x="382" y="297"/>
                  </a:cxn>
                  <a:cxn ang="0">
                    <a:pos x="286" y="290"/>
                  </a:cxn>
                  <a:cxn ang="0">
                    <a:pos x="454" y="446"/>
                  </a:cxn>
                  <a:cxn ang="0">
                    <a:pos x="502" y="476"/>
                  </a:cxn>
                  <a:cxn ang="0">
                    <a:pos x="585" y="534"/>
                  </a:cxn>
                  <a:cxn ang="0">
                    <a:pos x="615" y="561"/>
                  </a:cxn>
                  <a:cxn ang="0">
                    <a:pos x="643" y="624"/>
                  </a:cxn>
                  <a:cxn ang="0">
                    <a:pos x="648" y="654"/>
                  </a:cxn>
                  <a:cxn ang="0">
                    <a:pos x="628" y="681"/>
                  </a:cxn>
                  <a:cxn ang="0">
                    <a:pos x="361" y="570"/>
                  </a:cxn>
                  <a:cxn ang="0">
                    <a:pos x="324" y="548"/>
                  </a:cxn>
                  <a:cxn ang="0">
                    <a:pos x="267" y="585"/>
                  </a:cxn>
                  <a:cxn ang="0">
                    <a:pos x="172" y="630"/>
                  </a:cxn>
                </a:cxnLst>
                <a:rect l="0" t="0" r="r" b="b"/>
                <a:pathLst>
                  <a:path w="648" h="753">
                    <a:moveTo>
                      <a:pt x="112" y="659"/>
                    </a:moveTo>
                    <a:lnTo>
                      <a:pt x="85" y="654"/>
                    </a:lnTo>
                    <a:lnTo>
                      <a:pt x="63" y="638"/>
                    </a:lnTo>
                    <a:lnTo>
                      <a:pt x="48" y="641"/>
                    </a:lnTo>
                    <a:lnTo>
                      <a:pt x="15" y="648"/>
                    </a:lnTo>
                    <a:lnTo>
                      <a:pt x="0" y="602"/>
                    </a:lnTo>
                    <a:lnTo>
                      <a:pt x="24" y="587"/>
                    </a:lnTo>
                    <a:lnTo>
                      <a:pt x="22" y="576"/>
                    </a:lnTo>
                    <a:lnTo>
                      <a:pt x="12" y="570"/>
                    </a:lnTo>
                    <a:lnTo>
                      <a:pt x="63" y="414"/>
                    </a:lnTo>
                    <a:lnTo>
                      <a:pt x="79" y="356"/>
                    </a:lnTo>
                    <a:lnTo>
                      <a:pt x="93" y="324"/>
                    </a:lnTo>
                    <a:lnTo>
                      <a:pt x="94" y="309"/>
                    </a:lnTo>
                    <a:lnTo>
                      <a:pt x="109" y="291"/>
                    </a:lnTo>
                    <a:lnTo>
                      <a:pt x="115" y="273"/>
                    </a:lnTo>
                    <a:lnTo>
                      <a:pt x="142" y="272"/>
                    </a:lnTo>
                    <a:lnTo>
                      <a:pt x="135" y="261"/>
                    </a:lnTo>
                    <a:lnTo>
                      <a:pt x="118" y="255"/>
                    </a:lnTo>
                    <a:lnTo>
                      <a:pt x="133" y="234"/>
                    </a:lnTo>
                    <a:lnTo>
                      <a:pt x="121" y="215"/>
                    </a:lnTo>
                    <a:lnTo>
                      <a:pt x="121" y="204"/>
                    </a:lnTo>
                    <a:lnTo>
                      <a:pt x="99" y="204"/>
                    </a:lnTo>
                    <a:lnTo>
                      <a:pt x="93" y="191"/>
                    </a:lnTo>
                    <a:lnTo>
                      <a:pt x="79" y="116"/>
                    </a:lnTo>
                    <a:lnTo>
                      <a:pt x="75" y="107"/>
                    </a:lnTo>
                    <a:lnTo>
                      <a:pt x="51" y="116"/>
                    </a:lnTo>
                    <a:lnTo>
                      <a:pt x="39" y="92"/>
                    </a:lnTo>
                    <a:lnTo>
                      <a:pt x="42" y="60"/>
                    </a:lnTo>
                    <a:lnTo>
                      <a:pt x="51" y="53"/>
                    </a:lnTo>
                    <a:lnTo>
                      <a:pt x="49" y="32"/>
                    </a:lnTo>
                    <a:lnTo>
                      <a:pt x="79" y="39"/>
                    </a:lnTo>
                    <a:lnTo>
                      <a:pt x="108" y="38"/>
                    </a:lnTo>
                    <a:lnTo>
                      <a:pt x="123" y="59"/>
                    </a:lnTo>
                    <a:lnTo>
                      <a:pt x="135" y="54"/>
                    </a:lnTo>
                    <a:lnTo>
                      <a:pt x="136" y="44"/>
                    </a:lnTo>
                    <a:lnTo>
                      <a:pt x="115" y="0"/>
                    </a:lnTo>
                    <a:lnTo>
                      <a:pt x="189" y="36"/>
                    </a:lnTo>
                    <a:lnTo>
                      <a:pt x="201" y="48"/>
                    </a:lnTo>
                    <a:lnTo>
                      <a:pt x="219" y="50"/>
                    </a:lnTo>
                    <a:lnTo>
                      <a:pt x="229" y="47"/>
                    </a:lnTo>
                    <a:lnTo>
                      <a:pt x="262" y="59"/>
                    </a:lnTo>
                    <a:lnTo>
                      <a:pt x="295" y="86"/>
                    </a:lnTo>
                    <a:lnTo>
                      <a:pt x="315" y="74"/>
                    </a:lnTo>
                    <a:lnTo>
                      <a:pt x="370" y="138"/>
                    </a:lnTo>
                    <a:lnTo>
                      <a:pt x="369" y="150"/>
                    </a:lnTo>
                    <a:lnTo>
                      <a:pt x="358" y="167"/>
                    </a:lnTo>
                    <a:lnTo>
                      <a:pt x="361" y="180"/>
                    </a:lnTo>
                    <a:lnTo>
                      <a:pt x="399" y="245"/>
                    </a:lnTo>
                    <a:lnTo>
                      <a:pt x="394" y="275"/>
                    </a:lnTo>
                    <a:lnTo>
                      <a:pt x="382" y="297"/>
                    </a:lnTo>
                    <a:cubicBezTo>
                      <a:pt x="353" y="297"/>
                      <a:pt x="295" y="296"/>
                      <a:pt x="295" y="296"/>
                    </a:cubicBezTo>
                    <a:lnTo>
                      <a:pt x="286" y="290"/>
                    </a:lnTo>
                    <a:lnTo>
                      <a:pt x="316" y="353"/>
                    </a:lnTo>
                    <a:lnTo>
                      <a:pt x="454" y="446"/>
                    </a:lnTo>
                    <a:lnTo>
                      <a:pt x="483" y="459"/>
                    </a:lnTo>
                    <a:lnTo>
                      <a:pt x="502" y="476"/>
                    </a:lnTo>
                    <a:lnTo>
                      <a:pt x="513" y="485"/>
                    </a:lnTo>
                    <a:lnTo>
                      <a:pt x="585" y="534"/>
                    </a:lnTo>
                    <a:lnTo>
                      <a:pt x="621" y="537"/>
                    </a:lnTo>
                    <a:lnTo>
                      <a:pt x="615" y="561"/>
                    </a:lnTo>
                    <a:lnTo>
                      <a:pt x="634" y="582"/>
                    </a:lnTo>
                    <a:lnTo>
                      <a:pt x="643" y="624"/>
                    </a:lnTo>
                    <a:lnTo>
                      <a:pt x="645" y="639"/>
                    </a:lnTo>
                    <a:lnTo>
                      <a:pt x="648" y="654"/>
                    </a:lnTo>
                    <a:lnTo>
                      <a:pt x="631" y="671"/>
                    </a:lnTo>
                    <a:lnTo>
                      <a:pt x="628" y="681"/>
                    </a:lnTo>
                    <a:lnTo>
                      <a:pt x="432" y="753"/>
                    </a:lnTo>
                    <a:lnTo>
                      <a:pt x="361" y="570"/>
                    </a:lnTo>
                    <a:lnTo>
                      <a:pt x="346" y="554"/>
                    </a:lnTo>
                    <a:lnTo>
                      <a:pt x="324" y="548"/>
                    </a:lnTo>
                    <a:lnTo>
                      <a:pt x="292" y="564"/>
                    </a:lnTo>
                    <a:lnTo>
                      <a:pt x="267" y="585"/>
                    </a:lnTo>
                    <a:lnTo>
                      <a:pt x="213" y="609"/>
                    </a:lnTo>
                    <a:lnTo>
                      <a:pt x="172" y="630"/>
                    </a:lnTo>
                    <a:lnTo>
                      <a:pt x="112" y="659"/>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5" name="Freeform 40">
                <a:extLst>
                  <a:ext uri="{FF2B5EF4-FFF2-40B4-BE49-F238E27FC236}">
                    <a16:creationId xmlns:a16="http://schemas.microsoft.com/office/drawing/2014/main" xmlns="" id="{552069AF-6D19-477D-AE4E-658929E97267}"/>
                  </a:ext>
                </a:extLst>
              </p:cNvPr>
              <p:cNvSpPr>
                <a:spLocks/>
              </p:cNvSpPr>
              <p:nvPr/>
            </p:nvSpPr>
            <p:spPr bwMode="auto">
              <a:xfrm>
                <a:off x="2468" y="1284"/>
                <a:ext cx="916" cy="1260"/>
              </a:xfrm>
              <a:custGeom>
                <a:avLst/>
                <a:gdLst/>
                <a:ahLst/>
                <a:cxnLst>
                  <a:cxn ang="0">
                    <a:pos x="126" y="538"/>
                  </a:cxn>
                  <a:cxn ang="0">
                    <a:pos x="104" y="606"/>
                  </a:cxn>
                  <a:cxn ang="0">
                    <a:pos x="60" y="662"/>
                  </a:cxn>
                  <a:cxn ang="0">
                    <a:pos x="0" y="702"/>
                  </a:cxn>
                  <a:cxn ang="0">
                    <a:pos x="224" y="922"/>
                  </a:cxn>
                  <a:cxn ang="0">
                    <a:pos x="250" y="1082"/>
                  </a:cxn>
                  <a:cxn ang="0">
                    <a:pos x="266" y="1166"/>
                  </a:cxn>
                  <a:cxn ang="0">
                    <a:pos x="356" y="1208"/>
                  </a:cxn>
                  <a:cxn ang="0">
                    <a:pos x="464" y="1176"/>
                  </a:cxn>
                  <a:cxn ang="0">
                    <a:pos x="530" y="1206"/>
                  </a:cxn>
                  <a:cxn ang="0">
                    <a:pos x="604" y="1260"/>
                  </a:cxn>
                  <a:cxn ang="0">
                    <a:pos x="606" y="1220"/>
                  </a:cxn>
                  <a:cxn ang="0">
                    <a:pos x="574" y="1176"/>
                  </a:cxn>
                  <a:cxn ang="0">
                    <a:pos x="592" y="1032"/>
                  </a:cxn>
                  <a:cxn ang="0">
                    <a:pos x="686" y="1014"/>
                  </a:cxn>
                  <a:cxn ang="0">
                    <a:pos x="760" y="986"/>
                  </a:cxn>
                  <a:cxn ang="0">
                    <a:pos x="700" y="868"/>
                  </a:cxn>
                  <a:cxn ang="0">
                    <a:pos x="682" y="806"/>
                  </a:cxn>
                  <a:cxn ang="0">
                    <a:pos x="692" y="700"/>
                  </a:cxn>
                  <a:cxn ang="0">
                    <a:pos x="722" y="644"/>
                  </a:cxn>
                  <a:cxn ang="0">
                    <a:pos x="770" y="612"/>
                  </a:cxn>
                  <a:cxn ang="0">
                    <a:pos x="760" y="536"/>
                  </a:cxn>
                  <a:cxn ang="0">
                    <a:pos x="826" y="382"/>
                  </a:cxn>
                  <a:cxn ang="0">
                    <a:pos x="856" y="308"/>
                  </a:cxn>
                  <a:cxn ang="0">
                    <a:pos x="916" y="244"/>
                  </a:cxn>
                  <a:cxn ang="0">
                    <a:pos x="894" y="208"/>
                  </a:cxn>
                  <a:cxn ang="0">
                    <a:pos x="842" y="210"/>
                  </a:cxn>
                  <a:cxn ang="0">
                    <a:pos x="778" y="136"/>
                  </a:cxn>
                  <a:cxn ang="0">
                    <a:pos x="720" y="98"/>
                  </a:cxn>
                  <a:cxn ang="0">
                    <a:pos x="654" y="68"/>
                  </a:cxn>
                  <a:cxn ang="0">
                    <a:pos x="608" y="66"/>
                  </a:cxn>
                  <a:cxn ang="0">
                    <a:pos x="596" y="124"/>
                  </a:cxn>
                  <a:cxn ang="0">
                    <a:pos x="646" y="148"/>
                  </a:cxn>
                  <a:cxn ang="0">
                    <a:pos x="602" y="184"/>
                  </a:cxn>
                  <a:cxn ang="0">
                    <a:pos x="482" y="176"/>
                  </a:cxn>
                  <a:cxn ang="0">
                    <a:pos x="446" y="252"/>
                  </a:cxn>
                  <a:cxn ang="0">
                    <a:pos x="382" y="312"/>
                  </a:cxn>
                  <a:cxn ang="0">
                    <a:pos x="328" y="256"/>
                  </a:cxn>
                  <a:cxn ang="0">
                    <a:pos x="250" y="196"/>
                  </a:cxn>
                  <a:cxn ang="0">
                    <a:pos x="210" y="294"/>
                  </a:cxn>
                  <a:cxn ang="0">
                    <a:pos x="160" y="330"/>
                  </a:cxn>
                  <a:cxn ang="0">
                    <a:pos x="128" y="396"/>
                  </a:cxn>
                </a:cxnLst>
                <a:rect l="0" t="0" r="r" b="b"/>
                <a:pathLst>
                  <a:path w="916" h="1260">
                    <a:moveTo>
                      <a:pt x="72" y="426"/>
                    </a:moveTo>
                    <a:lnTo>
                      <a:pt x="122" y="516"/>
                    </a:lnTo>
                    <a:lnTo>
                      <a:pt x="126" y="538"/>
                    </a:lnTo>
                    <a:lnTo>
                      <a:pt x="122" y="566"/>
                    </a:lnTo>
                    <a:lnTo>
                      <a:pt x="120" y="598"/>
                    </a:lnTo>
                    <a:lnTo>
                      <a:pt x="104" y="606"/>
                    </a:lnTo>
                    <a:lnTo>
                      <a:pt x="110" y="630"/>
                    </a:lnTo>
                    <a:lnTo>
                      <a:pt x="82" y="646"/>
                    </a:lnTo>
                    <a:lnTo>
                      <a:pt x="60" y="662"/>
                    </a:lnTo>
                    <a:lnTo>
                      <a:pt x="54" y="688"/>
                    </a:lnTo>
                    <a:lnTo>
                      <a:pt x="40" y="704"/>
                    </a:lnTo>
                    <a:lnTo>
                      <a:pt x="0" y="702"/>
                    </a:lnTo>
                    <a:lnTo>
                      <a:pt x="176" y="872"/>
                    </a:lnTo>
                    <a:lnTo>
                      <a:pt x="212" y="892"/>
                    </a:lnTo>
                    <a:lnTo>
                      <a:pt x="224" y="922"/>
                    </a:lnTo>
                    <a:lnTo>
                      <a:pt x="264" y="944"/>
                    </a:lnTo>
                    <a:lnTo>
                      <a:pt x="250" y="1028"/>
                    </a:lnTo>
                    <a:lnTo>
                      <a:pt x="250" y="1082"/>
                    </a:lnTo>
                    <a:lnTo>
                      <a:pt x="278" y="1132"/>
                    </a:lnTo>
                    <a:lnTo>
                      <a:pt x="278" y="1146"/>
                    </a:lnTo>
                    <a:lnTo>
                      <a:pt x="266" y="1166"/>
                    </a:lnTo>
                    <a:lnTo>
                      <a:pt x="290" y="1178"/>
                    </a:lnTo>
                    <a:lnTo>
                      <a:pt x="344" y="1192"/>
                    </a:lnTo>
                    <a:lnTo>
                      <a:pt x="356" y="1208"/>
                    </a:lnTo>
                    <a:lnTo>
                      <a:pt x="372" y="1194"/>
                    </a:lnTo>
                    <a:lnTo>
                      <a:pt x="442" y="1190"/>
                    </a:lnTo>
                    <a:lnTo>
                      <a:pt x="464" y="1176"/>
                    </a:lnTo>
                    <a:lnTo>
                      <a:pt x="474" y="1148"/>
                    </a:lnTo>
                    <a:lnTo>
                      <a:pt x="500" y="1204"/>
                    </a:lnTo>
                    <a:lnTo>
                      <a:pt x="530" y="1206"/>
                    </a:lnTo>
                    <a:lnTo>
                      <a:pt x="544" y="1218"/>
                    </a:lnTo>
                    <a:lnTo>
                      <a:pt x="546" y="1242"/>
                    </a:lnTo>
                    <a:lnTo>
                      <a:pt x="604" y="1260"/>
                    </a:lnTo>
                    <a:lnTo>
                      <a:pt x="626" y="1246"/>
                    </a:lnTo>
                    <a:lnTo>
                      <a:pt x="620" y="1232"/>
                    </a:lnTo>
                    <a:lnTo>
                      <a:pt x="606" y="1220"/>
                    </a:lnTo>
                    <a:lnTo>
                      <a:pt x="558" y="1206"/>
                    </a:lnTo>
                    <a:lnTo>
                      <a:pt x="548" y="1188"/>
                    </a:lnTo>
                    <a:lnTo>
                      <a:pt x="574" y="1176"/>
                    </a:lnTo>
                    <a:lnTo>
                      <a:pt x="600" y="1110"/>
                    </a:lnTo>
                    <a:lnTo>
                      <a:pt x="618" y="1100"/>
                    </a:lnTo>
                    <a:lnTo>
                      <a:pt x="592" y="1032"/>
                    </a:lnTo>
                    <a:lnTo>
                      <a:pt x="672" y="1032"/>
                    </a:lnTo>
                    <a:lnTo>
                      <a:pt x="670" y="1012"/>
                    </a:lnTo>
                    <a:lnTo>
                      <a:pt x="686" y="1014"/>
                    </a:lnTo>
                    <a:lnTo>
                      <a:pt x="708" y="990"/>
                    </a:lnTo>
                    <a:lnTo>
                      <a:pt x="754" y="996"/>
                    </a:lnTo>
                    <a:lnTo>
                      <a:pt x="760" y="986"/>
                    </a:lnTo>
                    <a:lnTo>
                      <a:pt x="752" y="940"/>
                    </a:lnTo>
                    <a:lnTo>
                      <a:pt x="710" y="896"/>
                    </a:lnTo>
                    <a:lnTo>
                      <a:pt x="700" y="868"/>
                    </a:lnTo>
                    <a:lnTo>
                      <a:pt x="724" y="838"/>
                    </a:lnTo>
                    <a:lnTo>
                      <a:pt x="698" y="810"/>
                    </a:lnTo>
                    <a:lnTo>
                      <a:pt x="682" y="806"/>
                    </a:lnTo>
                    <a:lnTo>
                      <a:pt x="686" y="768"/>
                    </a:lnTo>
                    <a:lnTo>
                      <a:pt x="682" y="712"/>
                    </a:lnTo>
                    <a:lnTo>
                      <a:pt x="692" y="700"/>
                    </a:lnTo>
                    <a:lnTo>
                      <a:pt x="706" y="698"/>
                    </a:lnTo>
                    <a:lnTo>
                      <a:pt x="710" y="664"/>
                    </a:lnTo>
                    <a:lnTo>
                      <a:pt x="722" y="644"/>
                    </a:lnTo>
                    <a:lnTo>
                      <a:pt x="750" y="634"/>
                    </a:lnTo>
                    <a:lnTo>
                      <a:pt x="760" y="618"/>
                    </a:lnTo>
                    <a:lnTo>
                      <a:pt x="770" y="612"/>
                    </a:lnTo>
                    <a:lnTo>
                      <a:pt x="760" y="596"/>
                    </a:lnTo>
                    <a:lnTo>
                      <a:pt x="764" y="556"/>
                    </a:lnTo>
                    <a:lnTo>
                      <a:pt x="760" y="536"/>
                    </a:lnTo>
                    <a:lnTo>
                      <a:pt x="748" y="524"/>
                    </a:lnTo>
                    <a:lnTo>
                      <a:pt x="810" y="398"/>
                    </a:lnTo>
                    <a:lnTo>
                      <a:pt x="826" y="382"/>
                    </a:lnTo>
                    <a:lnTo>
                      <a:pt x="826" y="358"/>
                    </a:lnTo>
                    <a:lnTo>
                      <a:pt x="828" y="332"/>
                    </a:lnTo>
                    <a:lnTo>
                      <a:pt x="856" y="308"/>
                    </a:lnTo>
                    <a:lnTo>
                      <a:pt x="890" y="296"/>
                    </a:lnTo>
                    <a:lnTo>
                      <a:pt x="908" y="294"/>
                    </a:lnTo>
                    <a:lnTo>
                      <a:pt x="916" y="244"/>
                    </a:lnTo>
                    <a:lnTo>
                      <a:pt x="894" y="236"/>
                    </a:lnTo>
                    <a:lnTo>
                      <a:pt x="890" y="220"/>
                    </a:lnTo>
                    <a:lnTo>
                      <a:pt x="894" y="208"/>
                    </a:lnTo>
                    <a:lnTo>
                      <a:pt x="870" y="220"/>
                    </a:lnTo>
                    <a:lnTo>
                      <a:pt x="854" y="214"/>
                    </a:lnTo>
                    <a:lnTo>
                      <a:pt x="842" y="210"/>
                    </a:lnTo>
                    <a:lnTo>
                      <a:pt x="830" y="176"/>
                    </a:lnTo>
                    <a:lnTo>
                      <a:pt x="796" y="164"/>
                    </a:lnTo>
                    <a:lnTo>
                      <a:pt x="778" y="136"/>
                    </a:lnTo>
                    <a:lnTo>
                      <a:pt x="758" y="116"/>
                    </a:lnTo>
                    <a:lnTo>
                      <a:pt x="736" y="110"/>
                    </a:lnTo>
                    <a:lnTo>
                      <a:pt x="720" y="98"/>
                    </a:lnTo>
                    <a:lnTo>
                      <a:pt x="718" y="64"/>
                    </a:lnTo>
                    <a:lnTo>
                      <a:pt x="718" y="38"/>
                    </a:lnTo>
                    <a:lnTo>
                      <a:pt x="654" y="68"/>
                    </a:lnTo>
                    <a:lnTo>
                      <a:pt x="676" y="0"/>
                    </a:lnTo>
                    <a:lnTo>
                      <a:pt x="630" y="26"/>
                    </a:lnTo>
                    <a:lnTo>
                      <a:pt x="608" y="66"/>
                    </a:lnTo>
                    <a:lnTo>
                      <a:pt x="556" y="60"/>
                    </a:lnTo>
                    <a:lnTo>
                      <a:pt x="554" y="74"/>
                    </a:lnTo>
                    <a:lnTo>
                      <a:pt x="596" y="124"/>
                    </a:lnTo>
                    <a:lnTo>
                      <a:pt x="606" y="132"/>
                    </a:lnTo>
                    <a:lnTo>
                      <a:pt x="646" y="130"/>
                    </a:lnTo>
                    <a:lnTo>
                      <a:pt x="646" y="148"/>
                    </a:lnTo>
                    <a:lnTo>
                      <a:pt x="626" y="164"/>
                    </a:lnTo>
                    <a:lnTo>
                      <a:pt x="610" y="166"/>
                    </a:lnTo>
                    <a:lnTo>
                      <a:pt x="602" y="184"/>
                    </a:lnTo>
                    <a:lnTo>
                      <a:pt x="552" y="188"/>
                    </a:lnTo>
                    <a:lnTo>
                      <a:pt x="542" y="162"/>
                    </a:lnTo>
                    <a:lnTo>
                      <a:pt x="482" y="176"/>
                    </a:lnTo>
                    <a:lnTo>
                      <a:pt x="484" y="210"/>
                    </a:lnTo>
                    <a:lnTo>
                      <a:pt x="472" y="232"/>
                    </a:lnTo>
                    <a:lnTo>
                      <a:pt x="446" y="252"/>
                    </a:lnTo>
                    <a:lnTo>
                      <a:pt x="440" y="298"/>
                    </a:lnTo>
                    <a:lnTo>
                      <a:pt x="436" y="314"/>
                    </a:lnTo>
                    <a:lnTo>
                      <a:pt x="382" y="312"/>
                    </a:lnTo>
                    <a:lnTo>
                      <a:pt x="382" y="328"/>
                    </a:lnTo>
                    <a:lnTo>
                      <a:pt x="340" y="280"/>
                    </a:lnTo>
                    <a:lnTo>
                      <a:pt x="328" y="256"/>
                    </a:lnTo>
                    <a:lnTo>
                      <a:pt x="312" y="264"/>
                    </a:lnTo>
                    <a:lnTo>
                      <a:pt x="284" y="240"/>
                    </a:lnTo>
                    <a:lnTo>
                      <a:pt x="250" y="196"/>
                    </a:lnTo>
                    <a:lnTo>
                      <a:pt x="230" y="212"/>
                    </a:lnTo>
                    <a:lnTo>
                      <a:pt x="218" y="244"/>
                    </a:lnTo>
                    <a:lnTo>
                      <a:pt x="210" y="294"/>
                    </a:lnTo>
                    <a:lnTo>
                      <a:pt x="198" y="328"/>
                    </a:lnTo>
                    <a:lnTo>
                      <a:pt x="178" y="332"/>
                    </a:lnTo>
                    <a:lnTo>
                      <a:pt x="160" y="330"/>
                    </a:lnTo>
                    <a:lnTo>
                      <a:pt x="152" y="346"/>
                    </a:lnTo>
                    <a:lnTo>
                      <a:pt x="122" y="368"/>
                    </a:lnTo>
                    <a:lnTo>
                      <a:pt x="128" y="396"/>
                    </a:lnTo>
                    <a:lnTo>
                      <a:pt x="118" y="408"/>
                    </a:lnTo>
                    <a:lnTo>
                      <a:pt x="72" y="426"/>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6" name="Freeform 41">
                <a:extLst>
                  <a:ext uri="{FF2B5EF4-FFF2-40B4-BE49-F238E27FC236}">
                    <a16:creationId xmlns:a16="http://schemas.microsoft.com/office/drawing/2014/main" xmlns="" id="{A7CA23D5-9571-47B9-92F2-8811EFBD4B22}"/>
                  </a:ext>
                </a:extLst>
              </p:cNvPr>
              <p:cNvSpPr>
                <a:spLocks/>
              </p:cNvSpPr>
              <p:nvPr/>
            </p:nvSpPr>
            <p:spPr bwMode="auto">
              <a:xfrm>
                <a:off x="2541" y="2432"/>
                <a:ext cx="661" cy="411"/>
              </a:xfrm>
              <a:custGeom>
                <a:avLst/>
                <a:gdLst/>
                <a:ahLst/>
                <a:cxnLst>
                  <a:cxn ang="0">
                    <a:pos x="9" y="276"/>
                  </a:cxn>
                  <a:cxn ang="0">
                    <a:pos x="37" y="260"/>
                  </a:cxn>
                  <a:cxn ang="0">
                    <a:pos x="59" y="232"/>
                  </a:cxn>
                  <a:cxn ang="0">
                    <a:pos x="137" y="236"/>
                  </a:cxn>
                  <a:cxn ang="0">
                    <a:pos x="185" y="212"/>
                  </a:cxn>
                  <a:cxn ang="0">
                    <a:pos x="279" y="258"/>
                  </a:cxn>
                  <a:cxn ang="0">
                    <a:pos x="325" y="260"/>
                  </a:cxn>
                  <a:cxn ang="0">
                    <a:pos x="337" y="192"/>
                  </a:cxn>
                  <a:cxn ang="0">
                    <a:pos x="301" y="192"/>
                  </a:cxn>
                  <a:cxn ang="0">
                    <a:pos x="297" y="146"/>
                  </a:cxn>
                  <a:cxn ang="0">
                    <a:pos x="329" y="96"/>
                  </a:cxn>
                  <a:cxn ang="0">
                    <a:pos x="299" y="72"/>
                  </a:cxn>
                  <a:cxn ang="0">
                    <a:pos x="299" y="48"/>
                  </a:cxn>
                  <a:cxn ang="0">
                    <a:pos x="391" y="28"/>
                  </a:cxn>
                  <a:cxn ang="0">
                    <a:pos x="429" y="60"/>
                  </a:cxn>
                  <a:cxn ang="0">
                    <a:pos x="467" y="66"/>
                  </a:cxn>
                  <a:cxn ang="0">
                    <a:pos x="473" y="100"/>
                  </a:cxn>
                  <a:cxn ang="0">
                    <a:pos x="535" y="108"/>
                  </a:cxn>
                  <a:cxn ang="0">
                    <a:pos x="587" y="132"/>
                  </a:cxn>
                  <a:cxn ang="0">
                    <a:pos x="577" y="152"/>
                  </a:cxn>
                  <a:cxn ang="0">
                    <a:pos x="559" y="248"/>
                  </a:cxn>
                  <a:cxn ang="0">
                    <a:pos x="567" y="260"/>
                  </a:cxn>
                  <a:cxn ang="0">
                    <a:pos x="595" y="284"/>
                  </a:cxn>
                  <a:cxn ang="0">
                    <a:pos x="615" y="304"/>
                  </a:cxn>
                  <a:cxn ang="0">
                    <a:pos x="631" y="332"/>
                  </a:cxn>
                  <a:cxn ang="0">
                    <a:pos x="661" y="336"/>
                  </a:cxn>
                  <a:cxn ang="0">
                    <a:pos x="625" y="352"/>
                  </a:cxn>
                  <a:cxn ang="0">
                    <a:pos x="589" y="322"/>
                  </a:cxn>
                  <a:cxn ang="0">
                    <a:pos x="517" y="298"/>
                  </a:cxn>
                  <a:cxn ang="0">
                    <a:pos x="461" y="268"/>
                  </a:cxn>
                  <a:cxn ang="0">
                    <a:pos x="363" y="378"/>
                  </a:cxn>
                  <a:cxn ang="0">
                    <a:pos x="299" y="378"/>
                  </a:cxn>
                  <a:cxn ang="0">
                    <a:pos x="279" y="386"/>
                  </a:cxn>
                  <a:cxn ang="0">
                    <a:pos x="239" y="372"/>
                  </a:cxn>
                  <a:cxn ang="0">
                    <a:pos x="211" y="392"/>
                  </a:cxn>
                  <a:cxn ang="0">
                    <a:pos x="189" y="396"/>
                  </a:cxn>
                  <a:cxn ang="0">
                    <a:pos x="177" y="409"/>
                  </a:cxn>
                  <a:cxn ang="0">
                    <a:pos x="134" y="402"/>
                  </a:cxn>
                  <a:cxn ang="0">
                    <a:pos x="96" y="364"/>
                  </a:cxn>
                  <a:cxn ang="0">
                    <a:pos x="59" y="300"/>
                  </a:cxn>
                  <a:cxn ang="0">
                    <a:pos x="1" y="306"/>
                  </a:cxn>
                </a:cxnLst>
                <a:rect l="0" t="0" r="r" b="b"/>
                <a:pathLst>
                  <a:path w="661" h="411">
                    <a:moveTo>
                      <a:pt x="1" y="306"/>
                    </a:moveTo>
                    <a:lnTo>
                      <a:pt x="9" y="276"/>
                    </a:lnTo>
                    <a:lnTo>
                      <a:pt x="21" y="272"/>
                    </a:lnTo>
                    <a:lnTo>
                      <a:pt x="37" y="260"/>
                    </a:lnTo>
                    <a:lnTo>
                      <a:pt x="47" y="240"/>
                    </a:lnTo>
                    <a:lnTo>
                      <a:pt x="59" y="232"/>
                    </a:lnTo>
                    <a:lnTo>
                      <a:pt x="109" y="240"/>
                    </a:lnTo>
                    <a:lnTo>
                      <a:pt x="137" y="236"/>
                    </a:lnTo>
                    <a:lnTo>
                      <a:pt x="167" y="224"/>
                    </a:lnTo>
                    <a:lnTo>
                      <a:pt x="185" y="212"/>
                    </a:lnTo>
                    <a:lnTo>
                      <a:pt x="223" y="240"/>
                    </a:lnTo>
                    <a:lnTo>
                      <a:pt x="279" y="258"/>
                    </a:lnTo>
                    <a:lnTo>
                      <a:pt x="313" y="268"/>
                    </a:lnTo>
                    <a:lnTo>
                      <a:pt x="325" y="260"/>
                    </a:lnTo>
                    <a:lnTo>
                      <a:pt x="345" y="218"/>
                    </a:lnTo>
                    <a:lnTo>
                      <a:pt x="337" y="192"/>
                    </a:lnTo>
                    <a:lnTo>
                      <a:pt x="313" y="188"/>
                    </a:lnTo>
                    <a:lnTo>
                      <a:pt x="301" y="192"/>
                    </a:lnTo>
                    <a:lnTo>
                      <a:pt x="291" y="164"/>
                    </a:lnTo>
                    <a:lnTo>
                      <a:pt x="297" y="146"/>
                    </a:lnTo>
                    <a:lnTo>
                      <a:pt x="313" y="106"/>
                    </a:lnTo>
                    <a:lnTo>
                      <a:pt x="329" y="96"/>
                    </a:lnTo>
                    <a:lnTo>
                      <a:pt x="319" y="82"/>
                    </a:lnTo>
                    <a:lnTo>
                      <a:pt x="299" y="72"/>
                    </a:lnTo>
                    <a:lnTo>
                      <a:pt x="281" y="60"/>
                    </a:lnTo>
                    <a:lnTo>
                      <a:pt x="299" y="48"/>
                    </a:lnTo>
                    <a:lnTo>
                      <a:pt x="371" y="42"/>
                    </a:lnTo>
                    <a:lnTo>
                      <a:pt x="391" y="28"/>
                    </a:lnTo>
                    <a:lnTo>
                      <a:pt x="399" y="0"/>
                    </a:lnTo>
                    <a:lnTo>
                      <a:pt x="429" y="60"/>
                    </a:lnTo>
                    <a:lnTo>
                      <a:pt x="449" y="51"/>
                    </a:lnTo>
                    <a:lnTo>
                      <a:pt x="467" y="66"/>
                    </a:lnTo>
                    <a:lnTo>
                      <a:pt x="475" y="76"/>
                    </a:lnTo>
                    <a:lnTo>
                      <a:pt x="473" y="100"/>
                    </a:lnTo>
                    <a:lnTo>
                      <a:pt x="507" y="100"/>
                    </a:lnTo>
                    <a:lnTo>
                      <a:pt x="535" y="108"/>
                    </a:lnTo>
                    <a:lnTo>
                      <a:pt x="551" y="96"/>
                    </a:lnTo>
                    <a:lnTo>
                      <a:pt x="587" y="132"/>
                    </a:lnTo>
                    <a:lnTo>
                      <a:pt x="589" y="146"/>
                    </a:lnTo>
                    <a:lnTo>
                      <a:pt x="577" y="152"/>
                    </a:lnTo>
                    <a:lnTo>
                      <a:pt x="593" y="182"/>
                    </a:lnTo>
                    <a:cubicBezTo>
                      <a:pt x="582" y="204"/>
                      <a:pt x="568" y="225"/>
                      <a:pt x="559" y="248"/>
                    </a:cubicBezTo>
                    <a:cubicBezTo>
                      <a:pt x="558" y="250"/>
                      <a:pt x="563" y="250"/>
                      <a:pt x="565" y="252"/>
                    </a:cubicBezTo>
                    <a:cubicBezTo>
                      <a:pt x="567" y="255"/>
                      <a:pt x="567" y="257"/>
                      <a:pt x="567" y="260"/>
                    </a:cubicBezTo>
                    <a:lnTo>
                      <a:pt x="575" y="278"/>
                    </a:lnTo>
                    <a:lnTo>
                      <a:pt x="595" y="284"/>
                    </a:lnTo>
                    <a:lnTo>
                      <a:pt x="593" y="302"/>
                    </a:lnTo>
                    <a:lnTo>
                      <a:pt x="615" y="304"/>
                    </a:lnTo>
                    <a:lnTo>
                      <a:pt x="623" y="314"/>
                    </a:lnTo>
                    <a:lnTo>
                      <a:pt x="631" y="332"/>
                    </a:lnTo>
                    <a:lnTo>
                      <a:pt x="645" y="324"/>
                    </a:lnTo>
                    <a:lnTo>
                      <a:pt x="661" y="336"/>
                    </a:lnTo>
                    <a:lnTo>
                      <a:pt x="653" y="352"/>
                    </a:lnTo>
                    <a:lnTo>
                      <a:pt x="625" y="352"/>
                    </a:lnTo>
                    <a:lnTo>
                      <a:pt x="603" y="354"/>
                    </a:lnTo>
                    <a:lnTo>
                      <a:pt x="589" y="322"/>
                    </a:lnTo>
                    <a:lnTo>
                      <a:pt x="546" y="313"/>
                    </a:lnTo>
                    <a:lnTo>
                      <a:pt x="517" y="298"/>
                    </a:lnTo>
                    <a:lnTo>
                      <a:pt x="513" y="283"/>
                    </a:lnTo>
                    <a:lnTo>
                      <a:pt x="461" y="268"/>
                    </a:lnTo>
                    <a:lnTo>
                      <a:pt x="377" y="378"/>
                    </a:lnTo>
                    <a:lnTo>
                      <a:pt x="363" y="378"/>
                    </a:lnTo>
                    <a:lnTo>
                      <a:pt x="277" y="332"/>
                    </a:lnTo>
                    <a:lnTo>
                      <a:pt x="299" y="378"/>
                    </a:lnTo>
                    <a:lnTo>
                      <a:pt x="289" y="392"/>
                    </a:lnTo>
                    <a:lnTo>
                      <a:pt x="279" y="386"/>
                    </a:lnTo>
                    <a:lnTo>
                      <a:pt x="267" y="368"/>
                    </a:lnTo>
                    <a:lnTo>
                      <a:pt x="239" y="372"/>
                    </a:lnTo>
                    <a:lnTo>
                      <a:pt x="207" y="364"/>
                    </a:lnTo>
                    <a:lnTo>
                      <a:pt x="211" y="392"/>
                    </a:lnTo>
                    <a:lnTo>
                      <a:pt x="201" y="398"/>
                    </a:lnTo>
                    <a:lnTo>
                      <a:pt x="189" y="396"/>
                    </a:lnTo>
                    <a:lnTo>
                      <a:pt x="171" y="404"/>
                    </a:lnTo>
                    <a:lnTo>
                      <a:pt x="177" y="409"/>
                    </a:lnTo>
                    <a:lnTo>
                      <a:pt x="146" y="411"/>
                    </a:lnTo>
                    <a:lnTo>
                      <a:pt x="134" y="402"/>
                    </a:lnTo>
                    <a:lnTo>
                      <a:pt x="111" y="394"/>
                    </a:lnTo>
                    <a:lnTo>
                      <a:pt x="96" y="364"/>
                    </a:lnTo>
                    <a:lnTo>
                      <a:pt x="75" y="304"/>
                    </a:lnTo>
                    <a:lnTo>
                      <a:pt x="59" y="300"/>
                    </a:lnTo>
                    <a:lnTo>
                      <a:pt x="0" y="309"/>
                    </a:lnTo>
                    <a:lnTo>
                      <a:pt x="1" y="306"/>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9" name="Freeform 42">
                <a:extLst>
                  <a:ext uri="{FF2B5EF4-FFF2-40B4-BE49-F238E27FC236}">
                    <a16:creationId xmlns:a16="http://schemas.microsoft.com/office/drawing/2014/main" xmlns="" id="{4027FE4F-05CA-4069-BCB9-F76D62E33997}"/>
                  </a:ext>
                </a:extLst>
              </p:cNvPr>
              <p:cNvSpPr>
                <a:spLocks/>
              </p:cNvSpPr>
              <p:nvPr/>
            </p:nvSpPr>
            <p:spPr bwMode="auto">
              <a:xfrm>
                <a:off x="3007" y="1896"/>
                <a:ext cx="575" cy="1050"/>
              </a:xfrm>
              <a:custGeom>
                <a:avLst/>
                <a:gdLst/>
                <a:ahLst/>
                <a:cxnLst>
                  <a:cxn ang="0">
                    <a:pos x="79" y="616"/>
                  </a:cxn>
                  <a:cxn ang="0">
                    <a:pos x="17" y="594"/>
                  </a:cxn>
                  <a:cxn ang="0">
                    <a:pos x="51" y="564"/>
                  </a:cxn>
                  <a:cxn ang="0">
                    <a:pos x="59" y="496"/>
                  </a:cxn>
                  <a:cxn ang="0">
                    <a:pos x="53" y="418"/>
                  </a:cxn>
                  <a:cxn ang="0">
                    <a:pos x="127" y="396"/>
                  </a:cxn>
                  <a:cxn ang="0">
                    <a:pos x="173" y="375"/>
                  </a:cxn>
                  <a:cxn ang="0">
                    <a:pos x="221" y="372"/>
                  </a:cxn>
                  <a:cxn ang="0">
                    <a:pos x="169" y="282"/>
                  </a:cxn>
                  <a:cxn ang="0">
                    <a:pos x="185" y="227"/>
                  </a:cxn>
                  <a:cxn ang="0">
                    <a:pos x="143" y="192"/>
                  </a:cxn>
                  <a:cxn ang="0">
                    <a:pos x="145" y="98"/>
                  </a:cxn>
                  <a:cxn ang="0">
                    <a:pos x="169" y="53"/>
                  </a:cxn>
                  <a:cxn ang="0">
                    <a:pos x="213" y="20"/>
                  </a:cxn>
                  <a:cxn ang="0">
                    <a:pos x="231" y="0"/>
                  </a:cxn>
                  <a:cxn ang="0">
                    <a:pos x="241" y="34"/>
                  </a:cxn>
                  <a:cxn ang="0">
                    <a:pos x="331" y="18"/>
                  </a:cxn>
                  <a:cxn ang="0">
                    <a:pos x="467" y="34"/>
                  </a:cxn>
                  <a:cxn ang="0">
                    <a:pos x="559" y="106"/>
                  </a:cxn>
                  <a:cxn ang="0">
                    <a:pos x="565" y="180"/>
                  </a:cxn>
                  <a:cxn ang="0">
                    <a:pos x="505" y="220"/>
                  </a:cxn>
                  <a:cxn ang="0">
                    <a:pos x="475" y="208"/>
                  </a:cxn>
                  <a:cxn ang="0">
                    <a:pos x="377" y="309"/>
                  </a:cxn>
                  <a:cxn ang="0">
                    <a:pos x="427" y="460"/>
                  </a:cxn>
                  <a:cxn ang="0">
                    <a:pos x="361" y="520"/>
                  </a:cxn>
                  <a:cxn ang="0">
                    <a:pos x="357" y="580"/>
                  </a:cxn>
                  <a:cxn ang="0">
                    <a:pos x="338" y="677"/>
                  </a:cxn>
                  <a:cxn ang="0">
                    <a:pos x="413" y="690"/>
                  </a:cxn>
                  <a:cxn ang="0">
                    <a:pos x="445" y="718"/>
                  </a:cxn>
                  <a:cxn ang="0">
                    <a:pos x="449" y="806"/>
                  </a:cxn>
                  <a:cxn ang="0">
                    <a:pos x="479" y="856"/>
                  </a:cxn>
                  <a:cxn ang="0">
                    <a:pos x="513" y="926"/>
                  </a:cxn>
                  <a:cxn ang="0">
                    <a:pos x="521" y="992"/>
                  </a:cxn>
                  <a:cxn ang="0">
                    <a:pos x="473" y="1010"/>
                  </a:cxn>
                  <a:cxn ang="0">
                    <a:pos x="455" y="1000"/>
                  </a:cxn>
                  <a:cxn ang="0">
                    <a:pos x="421" y="1050"/>
                  </a:cxn>
                  <a:cxn ang="0">
                    <a:pos x="397" y="1023"/>
                  </a:cxn>
                  <a:cxn ang="0">
                    <a:pos x="367" y="1004"/>
                  </a:cxn>
                  <a:cxn ang="0">
                    <a:pos x="299" y="990"/>
                  </a:cxn>
                  <a:cxn ang="0">
                    <a:pos x="263" y="932"/>
                  </a:cxn>
                  <a:cxn ang="0">
                    <a:pos x="213" y="904"/>
                  </a:cxn>
                  <a:cxn ang="0">
                    <a:pos x="187" y="854"/>
                  </a:cxn>
                  <a:cxn ang="0">
                    <a:pos x="153" y="846"/>
                  </a:cxn>
                  <a:cxn ang="0">
                    <a:pos x="127" y="820"/>
                  </a:cxn>
                  <a:cxn ang="0">
                    <a:pos x="97" y="798"/>
                  </a:cxn>
                  <a:cxn ang="0">
                    <a:pos x="127" y="714"/>
                  </a:cxn>
                  <a:cxn ang="0">
                    <a:pos x="119" y="678"/>
                  </a:cxn>
                  <a:cxn ang="0">
                    <a:pos x="85" y="632"/>
                  </a:cxn>
                </a:cxnLst>
                <a:rect l="0" t="0" r="r" b="b"/>
                <a:pathLst>
                  <a:path w="575" h="1050">
                    <a:moveTo>
                      <a:pt x="85" y="632"/>
                    </a:moveTo>
                    <a:lnTo>
                      <a:pt x="79" y="616"/>
                    </a:lnTo>
                    <a:lnTo>
                      <a:pt x="65" y="604"/>
                    </a:lnTo>
                    <a:lnTo>
                      <a:pt x="17" y="594"/>
                    </a:lnTo>
                    <a:cubicBezTo>
                      <a:pt x="0" y="559"/>
                      <a:pt x="14" y="571"/>
                      <a:pt x="45" y="568"/>
                    </a:cubicBezTo>
                    <a:cubicBezTo>
                      <a:pt x="47" y="567"/>
                      <a:pt x="51" y="564"/>
                      <a:pt x="51" y="564"/>
                    </a:cubicBezTo>
                    <a:lnTo>
                      <a:pt x="35" y="562"/>
                    </a:lnTo>
                    <a:lnTo>
                      <a:pt x="59" y="496"/>
                    </a:lnTo>
                    <a:lnTo>
                      <a:pt x="79" y="484"/>
                    </a:lnTo>
                    <a:lnTo>
                      <a:pt x="53" y="418"/>
                    </a:lnTo>
                    <a:lnTo>
                      <a:pt x="133" y="420"/>
                    </a:lnTo>
                    <a:lnTo>
                      <a:pt x="127" y="396"/>
                    </a:lnTo>
                    <a:lnTo>
                      <a:pt x="147" y="402"/>
                    </a:lnTo>
                    <a:lnTo>
                      <a:pt x="173" y="375"/>
                    </a:lnTo>
                    <a:lnTo>
                      <a:pt x="211" y="384"/>
                    </a:lnTo>
                    <a:lnTo>
                      <a:pt x="221" y="372"/>
                    </a:lnTo>
                    <a:lnTo>
                      <a:pt x="213" y="326"/>
                    </a:lnTo>
                    <a:lnTo>
                      <a:pt x="169" y="282"/>
                    </a:lnTo>
                    <a:lnTo>
                      <a:pt x="161" y="252"/>
                    </a:lnTo>
                    <a:lnTo>
                      <a:pt x="185" y="227"/>
                    </a:lnTo>
                    <a:lnTo>
                      <a:pt x="155" y="194"/>
                    </a:lnTo>
                    <a:lnTo>
                      <a:pt x="143" y="192"/>
                    </a:lnTo>
                    <a:lnTo>
                      <a:pt x="148" y="147"/>
                    </a:lnTo>
                    <a:lnTo>
                      <a:pt x="145" y="98"/>
                    </a:lnTo>
                    <a:lnTo>
                      <a:pt x="169" y="86"/>
                    </a:lnTo>
                    <a:lnTo>
                      <a:pt x="169" y="53"/>
                    </a:lnTo>
                    <a:lnTo>
                      <a:pt x="184" y="33"/>
                    </a:lnTo>
                    <a:lnTo>
                      <a:pt x="213" y="20"/>
                    </a:lnTo>
                    <a:lnTo>
                      <a:pt x="219" y="8"/>
                    </a:lnTo>
                    <a:lnTo>
                      <a:pt x="231" y="0"/>
                    </a:lnTo>
                    <a:lnTo>
                      <a:pt x="239" y="14"/>
                    </a:lnTo>
                    <a:lnTo>
                      <a:pt x="241" y="34"/>
                    </a:lnTo>
                    <a:lnTo>
                      <a:pt x="251" y="40"/>
                    </a:lnTo>
                    <a:lnTo>
                      <a:pt x="331" y="18"/>
                    </a:lnTo>
                    <a:lnTo>
                      <a:pt x="395" y="32"/>
                    </a:lnTo>
                    <a:lnTo>
                      <a:pt x="467" y="34"/>
                    </a:lnTo>
                    <a:lnTo>
                      <a:pt x="519" y="72"/>
                    </a:lnTo>
                    <a:lnTo>
                      <a:pt x="559" y="106"/>
                    </a:lnTo>
                    <a:lnTo>
                      <a:pt x="575" y="154"/>
                    </a:lnTo>
                    <a:lnTo>
                      <a:pt x="565" y="180"/>
                    </a:lnTo>
                    <a:lnTo>
                      <a:pt x="535" y="204"/>
                    </a:lnTo>
                    <a:lnTo>
                      <a:pt x="505" y="220"/>
                    </a:lnTo>
                    <a:lnTo>
                      <a:pt x="493" y="216"/>
                    </a:lnTo>
                    <a:lnTo>
                      <a:pt x="475" y="208"/>
                    </a:lnTo>
                    <a:lnTo>
                      <a:pt x="423" y="252"/>
                    </a:lnTo>
                    <a:lnTo>
                      <a:pt x="377" y="309"/>
                    </a:lnTo>
                    <a:lnTo>
                      <a:pt x="423" y="418"/>
                    </a:lnTo>
                    <a:lnTo>
                      <a:pt x="427" y="460"/>
                    </a:lnTo>
                    <a:lnTo>
                      <a:pt x="411" y="478"/>
                    </a:lnTo>
                    <a:lnTo>
                      <a:pt x="361" y="520"/>
                    </a:lnTo>
                    <a:lnTo>
                      <a:pt x="345" y="536"/>
                    </a:lnTo>
                    <a:lnTo>
                      <a:pt x="357" y="580"/>
                    </a:lnTo>
                    <a:lnTo>
                      <a:pt x="347" y="640"/>
                    </a:lnTo>
                    <a:lnTo>
                      <a:pt x="338" y="677"/>
                    </a:lnTo>
                    <a:lnTo>
                      <a:pt x="375" y="690"/>
                    </a:lnTo>
                    <a:lnTo>
                      <a:pt x="413" y="690"/>
                    </a:lnTo>
                    <a:lnTo>
                      <a:pt x="443" y="698"/>
                    </a:lnTo>
                    <a:lnTo>
                      <a:pt x="445" y="718"/>
                    </a:lnTo>
                    <a:lnTo>
                      <a:pt x="437" y="764"/>
                    </a:lnTo>
                    <a:lnTo>
                      <a:pt x="449" y="806"/>
                    </a:lnTo>
                    <a:lnTo>
                      <a:pt x="479" y="836"/>
                    </a:lnTo>
                    <a:lnTo>
                      <a:pt x="479" y="856"/>
                    </a:lnTo>
                    <a:lnTo>
                      <a:pt x="509" y="910"/>
                    </a:lnTo>
                    <a:lnTo>
                      <a:pt x="513" y="926"/>
                    </a:lnTo>
                    <a:lnTo>
                      <a:pt x="503" y="960"/>
                    </a:lnTo>
                    <a:lnTo>
                      <a:pt x="521" y="992"/>
                    </a:lnTo>
                    <a:lnTo>
                      <a:pt x="511" y="1008"/>
                    </a:lnTo>
                    <a:lnTo>
                      <a:pt x="473" y="1010"/>
                    </a:lnTo>
                    <a:lnTo>
                      <a:pt x="465" y="994"/>
                    </a:lnTo>
                    <a:lnTo>
                      <a:pt x="455" y="1000"/>
                    </a:lnTo>
                    <a:lnTo>
                      <a:pt x="437" y="1026"/>
                    </a:lnTo>
                    <a:lnTo>
                      <a:pt x="421" y="1050"/>
                    </a:lnTo>
                    <a:lnTo>
                      <a:pt x="409" y="1048"/>
                    </a:lnTo>
                    <a:lnTo>
                      <a:pt x="397" y="1023"/>
                    </a:lnTo>
                    <a:lnTo>
                      <a:pt x="383" y="996"/>
                    </a:lnTo>
                    <a:lnTo>
                      <a:pt x="367" y="1004"/>
                    </a:lnTo>
                    <a:lnTo>
                      <a:pt x="327" y="992"/>
                    </a:lnTo>
                    <a:lnTo>
                      <a:pt x="299" y="990"/>
                    </a:lnTo>
                    <a:lnTo>
                      <a:pt x="271" y="942"/>
                    </a:lnTo>
                    <a:lnTo>
                      <a:pt x="263" y="932"/>
                    </a:lnTo>
                    <a:lnTo>
                      <a:pt x="233" y="930"/>
                    </a:lnTo>
                    <a:lnTo>
                      <a:pt x="213" y="904"/>
                    </a:lnTo>
                    <a:lnTo>
                      <a:pt x="195" y="878"/>
                    </a:lnTo>
                    <a:lnTo>
                      <a:pt x="187" y="854"/>
                    </a:lnTo>
                    <a:lnTo>
                      <a:pt x="169" y="868"/>
                    </a:lnTo>
                    <a:lnTo>
                      <a:pt x="153" y="846"/>
                    </a:lnTo>
                    <a:lnTo>
                      <a:pt x="127" y="836"/>
                    </a:lnTo>
                    <a:lnTo>
                      <a:pt x="127" y="820"/>
                    </a:lnTo>
                    <a:lnTo>
                      <a:pt x="109" y="810"/>
                    </a:lnTo>
                    <a:lnTo>
                      <a:pt x="97" y="798"/>
                    </a:lnTo>
                    <a:lnTo>
                      <a:pt x="95" y="776"/>
                    </a:lnTo>
                    <a:lnTo>
                      <a:pt x="127" y="714"/>
                    </a:lnTo>
                    <a:lnTo>
                      <a:pt x="113" y="688"/>
                    </a:lnTo>
                    <a:lnTo>
                      <a:pt x="119" y="678"/>
                    </a:lnTo>
                    <a:lnTo>
                      <a:pt x="119" y="664"/>
                    </a:lnTo>
                    <a:lnTo>
                      <a:pt x="85" y="632"/>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40" name="Freeform 43">
                <a:extLst>
                  <a:ext uri="{FF2B5EF4-FFF2-40B4-BE49-F238E27FC236}">
                    <a16:creationId xmlns:a16="http://schemas.microsoft.com/office/drawing/2014/main" xmlns="" id="{7C548E2B-A027-49D1-97CE-63B17640FBE1}"/>
                  </a:ext>
                </a:extLst>
              </p:cNvPr>
              <p:cNvSpPr>
                <a:spLocks/>
              </p:cNvSpPr>
              <p:nvPr/>
            </p:nvSpPr>
            <p:spPr bwMode="auto">
              <a:xfrm>
                <a:off x="3344" y="2058"/>
                <a:ext cx="702" cy="882"/>
              </a:xfrm>
              <a:custGeom>
                <a:avLst/>
                <a:gdLst/>
                <a:ahLst/>
                <a:cxnLst>
                  <a:cxn ang="0">
                    <a:pos x="166" y="796"/>
                  </a:cxn>
                  <a:cxn ang="0">
                    <a:pos x="172" y="746"/>
                  </a:cxn>
                  <a:cxn ang="0">
                    <a:pos x="140" y="672"/>
                  </a:cxn>
                  <a:cxn ang="0">
                    <a:pos x="98" y="598"/>
                  </a:cxn>
                  <a:cxn ang="0">
                    <a:pos x="106" y="532"/>
                  </a:cxn>
                  <a:cxn ang="0">
                    <a:pos x="38" y="528"/>
                  </a:cxn>
                  <a:cxn ang="0">
                    <a:pos x="10" y="474"/>
                  </a:cxn>
                  <a:cxn ang="0">
                    <a:pos x="6" y="372"/>
                  </a:cxn>
                  <a:cxn ang="0">
                    <a:pos x="74" y="314"/>
                  </a:cxn>
                  <a:cxn ang="0">
                    <a:pos x="88" y="263"/>
                  </a:cxn>
                  <a:cxn ang="0">
                    <a:pos x="42" y="148"/>
                  </a:cxn>
                  <a:cxn ang="0">
                    <a:pos x="88" y="88"/>
                  </a:cxn>
                  <a:cxn ang="0">
                    <a:pos x="154" y="54"/>
                  </a:cxn>
                  <a:cxn ang="0">
                    <a:pos x="198" y="42"/>
                  </a:cxn>
                  <a:cxn ang="0">
                    <a:pos x="234" y="8"/>
                  </a:cxn>
                  <a:cxn ang="0">
                    <a:pos x="266" y="0"/>
                  </a:cxn>
                  <a:cxn ang="0">
                    <a:pos x="288" y="50"/>
                  </a:cxn>
                  <a:cxn ang="0">
                    <a:pos x="326" y="112"/>
                  </a:cxn>
                  <a:cxn ang="0">
                    <a:pos x="358" y="180"/>
                  </a:cxn>
                  <a:cxn ang="0">
                    <a:pos x="386" y="246"/>
                  </a:cxn>
                  <a:cxn ang="0">
                    <a:pos x="450" y="268"/>
                  </a:cxn>
                  <a:cxn ang="0">
                    <a:pos x="578" y="276"/>
                  </a:cxn>
                  <a:cxn ang="0">
                    <a:pos x="584" y="312"/>
                  </a:cxn>
                  <a:cxn ang="0">
                    <a:pos x="550" y="308"/>
                  </a:cxn>
                  <a:cxn ang="0">
                    <a:pos x="610" y="364"/>
                  </a:cxn>
                  <a:cxn ang="0">
                    <a:pos x="662" y="376"/>
                  </a:cxn>
                  <a:cxn ang="0">
                    <a:pos x="702" y="404"/>
                  </a:cxn>
                  <a:cxn ang="0">
                    <a:pos x="636" y="470"/>
                  </a:cxn>
                  <a:cxn ang="0">
                    <a:pos x="558" y="624"/>
                  </a:cxn>
                  <a:cxn ang="0">
                    <a:pos x="506" y="744"/>
                  </a:cxn>
                  <a:cxn ang="0">
                    <a:pos x="508" y="816"/>
                  </a:cxn>
                  <a:cxn ang="0">
                    <a:pos x="454" y="882"/>
                  </a:cxn>
                  <a:cxn ang="0">
                    <a:pos x="435" y="863"/>
                  </a:cxn>
                  <a:cxn ang="0">
                    <a:pos x="364" y="806"/>
                  </a:cxn>
                  <a:cxn ang="0">
                    <a:pos x="330" y="796"/>
                  </a:cxn>
                  <a:cxn ang="0">
                    <a:pos x="307" y="807"/>
                  </a:cxn>
                  <a:cxn ang="0">
                    <a:pos x="260" y="828"/>
                  </a:cxn>
                  <a:cxn ang="0">
                    <a:pos x="220" y="844"/>
                  </a:cxn>
                </a:cxnLst>
                <a:rect l="0" t="0" r="r" b="b"/>
                <a:pathLst>
                  <a:path w="702" h="882">
                    <a:moveTo>
                      <a:pt x="184" y="830"/>
                    </a:moveTo>
                    <a:lnTo>
                      <a:pt x="166" y="796"/>
                    </a:lnTo>
                    <a:lnTo>
                      <a:pt x="174" y="760"/>
                    </a:lnTo>
                    <a:lnTo>
                      <a:pt x="172" y="746"/>
                    </a:lnTo>
                    <a:lnTo>
                      <a:pt x="142" y="692"/>
                    </a:lnTo>
                    <a:lnTo>
                      <a:pt x="140" y="672"/>
                    </a:lnTo>
                    <a:lnTo>
                      <a:pt x="110" y="642"/>
                    </a:lnTo>
                    <a:lnTo>
                      <a:pt x="98" y="598"/>
                    </a:lnTo>
                    <a:lnTo>
                      <a:pt x="110" y="550"/>
                    </a:lnTo>
                    <a:lnTo>
                      <a:pt x="106" y="532"/>
                    </a:lnTo>
                    <a:lnTo>
                      <a:pt x="74" y="526"/>
                    </a:lnTo>
                    <a:lnTo>
                      <a:pt x="38" y="528"/>
                    </a:lnTo>
                    <a:lnTo>
                      <a:pt x="0" y="514"/>
                    </a:lnTo>
                    <a:lnTo>
                      <a:pt x="10" y="474"/>
                    </a:lnTo>
                    <a:lnTo>
                      <a:pt x="20" y="416"/>
                    </a:lnTo>
                    <a:lnTo>
                      <a:pt x="6" y="372"/>
                    </a:lnTo>
                    <a:lnTo>
                      <a:pt x="24" y="356"/>
                    </a:lnTo>
                    <a:lnTo>
                      <a:pt x="74" y="314"/>
                    </a:lnTo>
                    <a:lnTo>
                      <a:pt x="90" y="294"/>
                    </a:lnTo>
                    <a:lnTo>
                      <a:pt x="88" y="263"/>
                    </a:lnTo>
                    <a:lnTo>
                      <a:pt x="82" y="248"/>
                    </a:lnTo>
                    <a:lnTo>
                      <a:pt x="42" y="148"/>
                    </a:lnTo>
                    <a:lnTo>
                      <a:pt x="76" y="101"/>
                    </a:lnTo>
                    <a:lnTo>
                      <a:pt x="88" y="88"/>
                    </a:lnTo>
                    <a:lnTo>
                      <a:pt x="138" y="44"/>
                    </a:lnTo>
                    <a:lnTo>
                      <a:pt x="154" y="54"/>
                    </a:lnTo>
                    <a:lnTo>
                      <a:pt x="168" y="58"/>
                    </a:lnTo>
                    <a:lnTo>
                      <a:pt x="198" y="42"/>
                    </a:lnTo>
                    <a:lnTo>
                      <a:pt x="228" y="20"/>
                    </a:lnTo>
                    <a:lnTo>
                      <a:pt x="234" y="8"/>
                    </a:lnTo>
                    <a:lnTo>
                      <a:pt x="254" y="12"/>
                    </a:lnTo>
                    <a:lnTo>
                      <a:pt x="266" y="0"/>
                    </a:lnTo>
                    <a:lnTo>
                      <a:pt x="276" y="30"/>
                    </a:lnTo>
                    <a:lnTo>
                      <a:pt x="288" y="50"/>
                    </a:lnTo>
                    <a:lnTo>
                      <a:pt x="306" y="62"/>
                    </a:lnTo>
                    <a:lnTo>
                      <a:pt x="326" y="112"/>
                    </a:lnTo>
                    <a:lnTo>
                      <a:pt x="356" y="156"/>
                    </a:lnTo>
                    <a:lnTo>
                      <a:pt x="358" y="180"/>
                    </a:lnTo>
                    <a:lnTo>
                      <a:pt x="338" y="232"/>
                    </a:lnTo>
                    <a:lnTo>
                      <a:pt x="386" y="246"/>
                    </a:lnTo>
                    <a:lnTo>
                      <a:pt x="412" y="256"/>
                    </a:lnTo>
                    <a:lnTo>
                      <a:pt x="450" y="268"/>
                    </a:lnTo>
                    <a:lnTo>
                      <a:pt x="508" y="278"/>
                    </a:lnTo>
                    <a:lnTo>
                      <a:pt x="578" y="276"/>
                    </a:lnTo>
                    <a:lnTo>
                      <a:pt x="594" y="284"/>
                    </a:lnTo>
                    <a:lnTo>
                      <a:pt x="584" y="312"/>
                    </a:lnTo>
                    <a:lnTo>
                      <a:pt x="564" y="322"/>
                    </a:lnTo>
                    <a:lnTo>
                      <a:pt x="550" y="308"/>
                    </a:lnTo>
                    <a:lnTo>
                      <a:pt x="552" y="366"/>
                    </a:lnTo>
                    <a:lnTo>
                      <a:pt x="610" y="364"/>
                    </a:lnTo>
                    <a:lnTo>
                      <a:pt x="626" y="360"/>
                    </a:lnTo>
                    <a:lnTo>
                      <a:pt x="662" y="376"/>
                    </a:lnTo>
                    <a:lnTo>
                      <a:pt x="698" y="386"/>
                    </a:lnTo>
                    <a:lnTo>
                      <a:pt x="702" y="404"/>
                    </a:lnTo>
                    <a:lnTo>
                      <a:pt x="692" y="424"/>
                    </a:lnTo>
                    <a:lnTo>
                      <a:pt x="636" y="470"/>
                    </a:lnTo>
                    <a:lnTo>
                      <a:pt x="576" y="572"/>
                    </a:lnTo>
                    <a:lnTo>
                      <a:pt x="558" y="624"/>
                    </a:lnTo>
                    <a:lnTo>
                      <a:pt x="584" y="644"/>
                    </a:lnTo>
                    <a:lnTo>
                      <a:pt x="506" y="744"/>
                    </a:lnTo>
                    <a:lnTo>
                      <a:pt x="494" y="782"/>
                    </a:lnTo>
                    <a:cubicBezTo>
                      <a:pt x="510" y="809"/>
                      <a:pt x="508" y="797"/>
                      <a:pt x="508" y="816"/>
                    </a:cubicBezTo>
                    <a:lnTo>
                      <a:pt x="466" y="880"/>
                    </a:lnTo>
                    <a:lnTo>
                      <a:pt x="454" y="882"/>
                    </a:lnTo>
                    <a:lnTo>
                      <a:pt x="460" y="858"/>
                    </a:lnTo>
                    <a:lnTo>
                      <a:pt x="435" y="863"/>
                    </a:lnTo>
                    <a:lnTo>
                      <a:pt x="412" y="843"/>
                    </a:lnTo>
                    <a:lnTo>
                      <a:pt x="364" y="806"/>
                    </a:lnTo>
                    <a:lnTo>
                      <a:pt x="364" y="784"/>
                    </a:lnTo>
                    <a:lnTo>
                      <a:pt x="330" y="796"/>
                    </a:lnTo>
                    <a:lnTo>
                      <a:pt x="314" y="786"/>
                    </a:lnTo>
                    <a:lnTo>
                      <a:pt x="307" y="807"/>
                    </a:lnTo>
                    <a:lnTo>
                      <a:pt x="284" y="820"/>
                    </a:lnTo>
                    <a:lnTo>
                      <a:pt x="260" y="828"/>
                    </a:lnTo>
                    <a:lnTo>
                      <a:pt x="246" y="828"/>
                    </a:lnTo>
                    <a:lnTo>
                      <a:pt x="220" y="844"/>
                    </a:lnTo>
                    <a:lnTo>
                      <a:pt x="184" y="830"/>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41" name="Freeform 44">
                <a:extLst>
                  <a:ext uri="{FF2B5EF4-FFF2-40B4-BE49-F238E27FC236}">
                    <a16:creationId xmlns:a16="http://schemas.microsoft.com/office/drawing/2014/main" xmlns="" id="{696606D2-AA98-4B8E-A12F-DEBA0C9753A0}"/>
                  </a:ext>
                </a:extLst>
              </p:cNvPr>
              <p:cNvSpPr>
                <a:spLocks/>
              </p:cNvSpPr>
              <p:nvPr/>
            </p:nvSpPr>
            <p:spPr bwMode="auto">
              <a:xfrm>
                <a:off x="2916" y="2700"/>
                <a:ext cx="1704" cy="1284"/>
              </a:xfrm>
              <a:custGeom>
                <a:avLst/>
                <a:gdLst/>
                <a:ahLst/>
                <a:cxnLst>
                  <a:cxn ang="0">
                    <a:pos x="418" y="646"/>
                  </a:cxn>
                  <a:cxn ang="0">
                    <a:pos x="298" y="552"/>
                  </a:cxn>
                  <a:cxn ang="0">
                    <a:pos x="70" y="352"/>
                  </a:cxn>
                  <a:cxn ang="0">
                    <a:pos x="184" y="310"/>
                  </a:cxn>
                  <a:cxn ang="0">
                    <a:pos x="156" y="202"/>
                  </a:cxn>
                  <a:cxn ang="0">
                    <a:pos x="14" y="112"/>
                  </a:cxn>
                  <a:cxn ang="0">
                    <a:pos x="152" y="38"/>
                  </a:cxn>
                  <a:cxn ang="0">
                    <a:pos x="288" y="78"/>
                  </a:cxn>
                  <a:cxn ang="0">
                    <a:pos x="388" y="186"/>
                  </a:cxn>
                  <a:cxn ang="0">
                    <a:pos x="506" y="248"/>
                  </a:cxn>
                  <a:cxn ang="0">
                    <a:pos x="612" y="186"/>
                  </a:cxn>
                  <a:cxn ang="0">
                    <a:pos x="730" y="166"/>
                  </a:cxn>
                  <a:cxn ang="0">
                    <a:pos x="794" y="166"/>
                  </a:cxn>
                  <a:cxn ang="0">
                    <a:pos x="902" y="224"/>
                  </a:cxn>
                  <a:cxn ang="0">
                    <a:pos x="978" y="210"/>
                  </a:cxn>
                  <a:cxn ang="0">
                    <a:pos x="1110" y="160"/>
                  </a:cxn>
                  <a:cxn ang="0">
                    <a:pos x="1200" y="224"/>
                  </a:cxn>
                  <a:cxn ang="0">
                    <a:pos x="1326" y="308"/>
                  </a:cxn>
                  <a:cxn ang="0">
                    <a:pos x="1370" y="380"/>
                  </a:cxn>
                  <a:cxn ang="0">
                    <a:pos x="1362" y="304"/>
                  </a:cxn>
                  <a:cxn ang="0">
                    <a:pos x="1378" y="286"/>
                  </a:cxn>
                  <a:cxn ang="0">
                    <a:pos x="1484" y="382"/>
                  </a:cxn>
                  <a:cxn ang="0">
                    <a:pos x="1566" y="398"/>
                  </a:cxn>
                  <a:cxn ang="0">
                    <a:pos x="1676" y="426"/>
                  </a:cxn>
                  <a:cxn ang="0">
                    <a:pos x="1698" y="480"/>
                  </a:cxn>
                  <a:cxn ang="0">
                    <a:pos x="1658" y="444"/>
                  </a:cxn>
                  <a:cxn ang="0">
                    <a:pos x="1556" y="568"/>
                  </a:cxn>
                  <a:cxn ang="0">
                    <a:pos x="1548" y="674"/>
                  </a:cxn>
                  <a:cxn ang="0">
                    <a:pos x="1534" y="734"/>
                  </a:cxn>
                  <a:cxn ang="0">
                    <a:pos x="1442" y="758"/>
                  </a:cxn>
                  <a:cxn ang="0">
                    <a:pos x="1378" y="836"/>
                  </a:cxn>
                  <a:cxn ang="0">
                    <a:pos x="1296" y="890"/>
                  </a:cxn>
                  <a:cxn ang="0">
                    <a:pos x="1368" y="946"/>
                  </a:cxn>
                  <a:cxn ang="0">
                    <a:pos x="1296" y="1070"/>
                  </a:cxn>
                  <a:cxn ang="0">
                    <a:pos x="1212" y="1070"/>
                  </a:cxn>
                  <a:cxn ang="0">
                    <a:pos x="1162" y="1110"/>
                  </a:cxn>
                  <a:cxn ang="0">
                    <a:pos x="1126" y="1170"/>
                  </a:cxn>
                  <a:cxn ang="0">
                    <a:pos x="1092" y="1272"/>
                  </a:cxn>
                  <a:cxn ang="0">
                    <a:pos x="1022" y="1230"/>
                  </a:cxn>
                  <a:cxn ang="0">
                    <a:pos x="1056" y="1068"/>
                  </a:cxn>
                  <a:cxn ang="0">
                    <a:pos x="1044" y="1012"/>
                  </a:cxn>
                  <a:cxn ang="0">
                    <a:pos x="978" y="964"/>
                  </a:cxn>
                  <a:cxn ang="0">
                    <a:pos x="860" y="932"/>
                  </a:cxn>
                  <a:cxn ang="0">
                    <a:pos x="802" y="852"/>
                  </a:cxn>
                  <a:cxn ang="0">
                    <a:pos x="594" y="854"/>
                  </a:cxn>
                  <a:cxn ang="0">
                    <a:pos x="520" y="792"/>
                  </a:cxn>
                  <a:cxn ang="0">
                    <a:pos x="480" y="778"/>
                  </a:cxn>
                  <a:cxn ang="0">
                    <a:pos x="412" y="750"/>
                  </a:cxn>
                </a:cxnLst>
                <a:rect l="0" t="0" r="r" b="b"/>
                <a:pathLst>
                  <a:path w="1704" h="1284">
                    <a:moveTo>
                      <a:pt x="412" y="750"/>
                    </a:moveTo>
                    <a:lnTo>
                      <a:pt x="416" y="734"/>
                    </a:lnTo>
                    <a:lnTo>
                      <a:pt x="434" y="718"/>
                    </a:lnTo>
                    <a:lnTo>
                      <a:pt x="418" y="646"/>
                    </a:lnTo>
                    <a:lnTo>
                      <a:pt x="402" y="616"/>
                    </a:lnTo>
                    <a:lnTo>
                      <a:pt x="406" y="602"/>
                    </a:lnTo>
                    <a:lnTo>
                      <a:pt x="370" y="598"/>
                    </a:lnTo>
                    <a:lnTo>
                      <a:pt x="298" y="552"/>
                    </a:lnTo>
                    <a:lnTo>
                      <a:pt x="266" y="522"/>
                    </a:lnTo>
                    <a:lnTo>
                      <a:pt x="240" y="510"/>
                    </a:lnTo>
                    <a:lnTo>
                      <a:pt x="100" y="418"/>
                    </a:lnTo>
                    <a:lnTo>
                      <a:pt x="70" y="352"/>
                    </a:lnTo>
                    <a:lnTo>
                      <a:pt x="82" y="360"/>
                    </a:lnTo>
                    <a:lnTo>
                      <a:pt x="166" y="364"/>
                    </a:lnTo>
                    <a:lnTo>
                      <a:pt x="180" y="340"/>
                    </a:lnTo>
                    <a:lnTo>
                      <a:pt x="184" y="310"/>
                    </a:lnTo>
                    <a:lnTo>
                      <a:pt x="146" y="246"/>
                    </a:lnTo>
                    <a:lnTo>
                      <a:pt x="142" y="232"/>
                    </a:lnTo>
                    <a:lnTo>
                      <a:pt x="154" y="218"/>
                    </a:lnTo>
                    <a:lnTo>
                      <a:pt x="156" y="202"/>
                    </a:lnTo>
                    <a:lnTo>
                      <a:pt x="100" y="140"/>
                    </a:lnTo>
                    <a:lnTo>
                      <a:pt x="82" y="152"/>
                    </a:lnTo>
                    <a:lnTo>
                      <a:pt x="48" y="126"/>
                    </a:lnTo>
                    <a:lnTo>
                      <a:pt x="14" y="112"/>
                    </a:lnTo>
                    <a:lnTo>
                      <a:pt x="0" y="108"/>
                    </a:lnTo>
                    <a:lnTo>
                      <a:pt x="88" y="0"/>
                    </a:lnTo>
                    <a:lnTo>
                      <a:pt x="136" y="16"/>
                    </a:lnTo>
                    <a:lnTo>
                      <a:pt x="152" y="38"/>
                    </a:lnTo>
                    <a:lnTo>
                      <a:pt x="208" y="54"/>
                    </a:lnTo>
                    <a:lnTo>
                      <a:pt x="228" y="86"/>
                    </a:lnTo>
                    <a:lnTo>
                      <a:pt x="270" y="84"/>
                    </a:lnTo>
                    <a:lnTo>
                      <a:pt x="288" y="78"/>
                    </a:lnTo>
                    <a:lnTo>
                      <a:pt x="322" y="126"/>
                    </a:lnTo>
                    <a:lnTo>
                      <a:pt x="358" y="132"/>
                    </a:lnTo>
                    <a:lnTo>
                      <a:pt x="380" y="170"/>
                    </a:lnTo>
                    <a:lnTo>
                      <a:pt x="388" y="186"/>
                    </a:lnTo>
                    <a:lnTo>
                      <a:pt x="424" y="188"/>
                    </a:lnTo>
                    <a:lnTo>
                      <a:pt x="452" y="198"/>
                    </a:lnTo>
                    <a:lnTo>
                      <a:pt x="474" y="190"/>
                    </a:lnTo>
                    <a:lnTo>
                      <a:pt x="506" y="248"/>
                    </a:lnTo>
                    <a:lnTo>
                      <a:pt x="550" y="192"/>
                    </a:lnTo>
                    <a:lnTo>
                      <a:pt x="562" y="204"/>
                    </a:lnTo>
                    <a:lnTo>
                      <a:pt x="608" y="202"/>
                    </a:lnTo>
                    <a:lnTo>
                      <a:pt x="612" y="186"/>
                    </a:lnTo>
                    <a:lnTo>
                      <a:pt x="644" y="202"/>
                    </a:lnTo>
                    <a:lnTo>
                      <a:pt x="680" y="184"/>
                    </a:lnTo>
                    <a:lnTo>
                      <a:pt x="710" y="178"/>
                    </a:lnTo>
                    <a:lnTo>
                      <a:pt x="730" y="166"/>
                    </a:lnTo>
                    <a:lnTo>
                      <a:pt x="744" y="144"/>
                    </a:lnTo>
                    <a:lnTo>
                      <a:pt x="764" y="152"/>
                    </a:lnTo>
                    <a:lnTo>
                      <a:pt x="788" y="146"/>
                    </a:lnTo>
                    <a:lnTo>
                      <a:pt x="794" y="166"/>
                    </a:lnTo>
                    <a:lnTo>
                      <a:pt x="864" y="222"/>
                    </a:lnTo>
                    <a:lnTo>
                      <a:pt x="884" y="214"/>
                    </a:lnTo>
                    <a:lnTo>
                      <a:pt x="884" y="240"/>
                    </a:lnTo>
                    <a:lnTo>
                      <a:pt x="902" y="224"/>
                    </a:lnTo>
                    <a:lnTo>
                      <a:pt x="918" y="232"/>
                    </a:lnTo>
                    <a:lnTo>
                      <a:pt x="940" y="204"/>
                    </a:lnTo>
                    <a:lnTo>
                      <a:pt x="964" y="222"/>
                    </a:lnTo>
                    <a:lnTo>
                      <a:pt x="978" y="210"/>
                    </a:lnTo>
                    <a:lnTo>
                      <a:pt x="980" y="180"/>
                    </a:lnTo>
                    <a:lnTo>
                      <a:pt x="1070" y="124"/>
                    </a:lnTo>
                    <a:lnTo>
                      <a:pt x="1086" y="126"/>
                    </a:lnTo>
                    <a:lnTo>
                      <a:pt x="1110" y="160"/>
                    </a:lnTo>
                    <a:lnTo>
                      <a:pt x="1142" y="178"/>
                    </a:lnTo>
                    <a:lnTo>
                      <a:pt x="1164" y="178"/>
                    </a:lnTo>
                    <a:lnTo>
                      <a:pt x="1180" y="198"/>
                    </a:lnTo>
                    <a:lnTo>
                      <a:pt x="1200" y="224"/>
                    </a:lnTo>
                    <a:lnTo>
                      <a:pt x="1248" y="266"/>
                    </a:lnTo>
                    <a:lnTo>
                      <a:pt x="1262" y="292"/>
                    </a:lnTo>
                    <a:lnTo>
                      <a:pt x="1312" y="302"/>
                    </a:lnTo>
                    <a:lnTo>
                      <a:pt x="1326" y="308"/>
                    </a:lnTo>
                    <a:lnTo>
                      <a:pt x="1334" y="336"/>
                    </a:lnTo>
                    <a:lnTo>
                      <a:pt x="1332" y="374"/>
                    </a:lnTo>
                    <a:lnTo>
                      <a:pt x="1352" y="386"/>
                    </a:lnTo>
                    <a:lnTo>
                      <a:pt x="1370" y="380"/>
                    </a:lnTo>
                    <a:lnTo>
                      <a:pt x="1376" y="362"/>
                    </a:lnTo>
                    <a:lnTo>
                      <a:pt x="1376" y="344"/>
                    </a:lnTo>
                    <a:lnTo>
                      <a:pt x="1362" y="338"/>
                    </a:lnTo>
                    <a:lnTo>
                      <a:pt x="1362" y="304"/>
                    </a:lnTo>
                    <a:lnTo>
                      <a:pt x="1352" y="280"/>
                    </a:lnTo>
                    <a:lnTo>
                      <a:pt x="1340" y="270"/>
                    </a:lnTo>
                    <a:lnTo>
                      <a:pt x="1352" y="266"/>
                    </a:lnTo>
                    <a:lnTo>
                      <a:pt x="1378" y="286"/>
                    </a:lnTo>
                    <a:lnTo>
                      <a:pt x="1396" y="302"/>
                    </a:lnTo>
                    <a:lnTo>
                      <a:pt x="1440" y="308"/>
                    </a:lnTo>
                    <a:lnTo>
                      <a:pt x="1454" y="338"/>
                    </a:lnTo>
                    <a:lnTo>
                      <a:pt x="1484" y="382"/>
                    </a:lnTo>
                    <a:lnTo>
                      <a:pt x="1516" y="396"/>
                    </a:lnTo>
                    <a:lnTo>
                      <a:pt x="1530" y="396"/>
                    </a:lnTo>
                    <a:lnTo>
                      <a:pt x="1542" y="384"/>
                    </a:lnTo>
                    <a:lnTo>
                      <a:pt x="1566" y="398"/>
                    </a:lnTo>
                    <a:lnTo>
                      <a:pt x="1636" y="388"/>
                    </a:lnTo>
                    <a:lnTo>
                      <a:pt x="1668" y="394"/>
                    </a:lnTo>
                    <a:lnTo>
                      <a:pt x="1660" y="424"/>
                    </a:lnTo>
                    <a:lnTo>
                      <a:pt x="1676" y="426"/>
                    </a:lnTo>
                    <a:lnTo>
                      <a:pt x="1674" y="438"/>
                    </a:lnTo>
                    <a:lnTo>
                      <a:pt x="1678" y="462"/>
                    </a:lnTo>
                    <a:lnTo>
                      <a:pt x="1704" y="460"/>
                    </a:lnTo>
                    <a:lnTo>
                      <a:pt x="1698" y="480"/>
                    </a:lnTo>
                    <a:lnTo>
                      <a:pt x="1672" y="484"/>
                    </a:lnTo>
                    <a:lnTo>
                      <a:pt x="1678" y="464"/>
                    </a:lnTo>
                    <a:lnTo>
                      <a:pt x="1676" y="434"/>
                    </a:lnTo>
                    <a:lnTo>
                      <a:pt x="1658" y="444"/>
                    </a:lnTo>
                    <a:lnTo>
                      <a:pt x="1628" y="458"/>
                    </a:lnTo>
                    <a:cubicBezTo>
                      <a:pt x="1610" y="483"/>
                      <a:pt x="1594" y="494"/>
                      <a:pt x="1594" y="522"/>
                    </a:cubicBezTo>
                    <a:lnTo>
                      <a:pt x="1576" y="528"/>
                    </a:lnTo>
                    <a:lnTo>
                      <a:pt x="1556" y="568"/>
                    </a:lnTo>
                    <a:lnTo>
                      <a:pt x="1560" y="590"/>
                    </a:lnTo>
                    <a:lnTo>
                      <a:pt x="1540" y="630"/>
                    </a:lnTo>
                    <a:lnTo>
                      <a:pt x="1538" y="662"/>
                    </a:lnTo>
                    <a:lnTo>
                      <a:pt x="1548" y="674"/>
                    </a:lnTo>
                    <a:lnTo>
                      <a:pt x="1556" y="684"/>
                    </a:lnTo>
                    <a:lnTo>
                      <a:pt x="1532" y="698"/>
                    </a:lnTo>
                    <a:lnTo>
                      <a:pt x="1528" y="712"/>
                    </a:lnTo>
                    <a:lnTo>
                      <a:pt x="1534" y="734"/>
                    </a:lnTo>
                    <a:lnTo>
                      <a:pt x="1502" y="754"/>
                    </a:lnTo>
                    <a:lnTo>
                      <a:pt x="1484" y="754"/>
                    </a:lnTo>
                    <a:lnTo>
                      <a:pt x="1456" y="754"/>
                    </a:lnTo>
                    <a:lnTo>
                      <a:pt x="1442" y="758"/>
                    </a:lnTo>
                    <a:lnTo>
                      <a:pt x="1428" y="778"/>
                    </a:lnTo>
                    <a:lnTo>
                      <a:pt x="1414" y="786"/>
                    </a:lnTo>
                    <a:lnTo>
                      <a:pt x="1388" y="824"/>
                    </a:lnTo>
                    <a:lnTo>
                      <a:pt x="1378" y="836"/>
                    </a:lnTo>
                    <a:lnTo>
                      <a:pt x="1362" y="846"/>
                    </a:lnTo>
                    <a:lnTo>
                      <a:pt x="1344" y="862"/>
                    </a:lnTo>
                    <a:lnTo>
                      <a:pt x="1316" y="888"/>
                    </a:lnTo>
                    <a:lnTo>
                      <a:pt x="1296" y="890"/>
                    </a:lnTo>
                    <a:lnTo>
                      <a:pt x="1318" y="914"/>
                    </a:lnTo>
                    <a:lnTo>
                      <a:pt x="1350" y="918"/>
                    </a:lnTo>
                    <a:lnTo>
                      <a:pt x="1348" y="942"/>
                    </a:lnTo>
                    <a:lnTo>
                      <a:pt x="1368" y="946"/>
                    </a:lnTo>
                    <a:lnTo>
                      <a:pt x="1362" y="966"/>
                    </a:lnTo>
                    <a:lnTo>
                      <a:pt x="1334" y="1010"/>
                    </a:lnTo>
                    <a:lnTo>
                      <a:pt x="1316" y="1040"/>
                    </a:lnTo>
                    <a:lnTo>
                      <a:pt x="1296" y="1070"/>
                    </a:lnTo>
                    <a:lnTo>
                      <a:pt x="1292" y="1086"/>
                    </a:lnTo>
                    <a:lnTo>
                      <a:pt x="1262" y="1102"/>
                    </a:lnTo>
                    <a:lnTo>
                      <a:pt x="1238" y="1088"/>
                    </a:lnTo>
                    <a:lnTo>
                      <a:pt x="1212" y="1070"/>
                    </a:lnTo>
                    <a:lnTo>
                      <a:pt x="1192" y="1056"/>
                    </a:lnTo>
                    <a:lnTo>
                      <a:pt x="1174" y="1080"/>
                    </a:lnTo>
                    <a:cubicBezTo>
                      <a:pt x="1171" y="1088"/>
                      <a:pt x="1169" y="1096"/>
                      <a:pt x="1166" y="1104"/>
                    </a:cubicBezTo>
                    <a:cubicBezTo>
                      <a:pt x="1165" y="1106"/>
                      <a:pt x="1162" y="1110"/>
                      <a:pt x="1162" y="1110"/>
                    </a:cubicBezTo>
                    <a:lnTo>
                      <a:pt x="1152" y="1118"/>
                    </a:lnTo>
                    <a:lnTo>
                      <a:pt x="1144" y="1138"/>
                    </a:lnTo>
                    <a:lnTo>
                      <a:pt x="1142" y="1150"/>
                    </a:lnTo>
                    <a:lnTo>
                      <a:pt x="1126" y="1170"/>
                    </a:lnTo>
                    <a:lnTo>
                      <a:pt x="1118" y="1188"/>
                    </a:lnTo>
                    <a:lnTo>
                      <a:pt x="1118" y="1204"/>
                    </a:lnTo>
                    <a:lnTo>
                      <a:pt x="1096" y="1232"/>
                    </a:lnTo>
                    <a:lnTo>
                      <a:pt x="1092" y="1272"/>
                    </a:lnTo>
                    <a:lnTo>
                      <a:pt x="1088" y="1284"/>
                    </a:lnTo>
                    <a:lnTo>
                      <a:pt x="1062" y="1284"/>
                    </a:lnTo>
                    <a:lnTo>
                      <a:pt x="1044" y="1264"/>
                    </a:lnTo>
                    <a:lnTo>
                      <a:pt x="1022" y="1230"/>
                    </a:lnTo>
                    <a:lnTo>
                      <a:pt x="1028" y="1206"/>
                    </a:lnTo>
                    <a:lnTo>
                      <a:pt x="1032" y="1148"/>
                    </a:lnTo>
                    <a:lnTo>
                      <a:pt x="1028" y="1088"/>
                    </a:lnTo>
                    <a:lnTo>
                      <a:pt x="1056" y="1068"/>
                    </a:lnTo>
                    <a:lnTo>
                      <a:pt x="1072" y="1046"/>
                    </a:lnTo>
                    <a:lnTo>
                      <a:pt x="1058" y="1030"/>
                    </a:lnTo>
                    <a:lnTo>
                      <a:pt x="1040" y="1028"/>
                    </a:lnTo>
                    <a:lnTo>
                      <a:pt x="1044" y="1012"/>
                    </a:lnTo>
                    <a:lnTo>
                      <a:pt x="1040" y="998"/>
                    </a:lnTo>
                    <a:lnTo>
                      <a:pt x="1036" y="984"/>
                    </a:lnTo>
                    <a:lnTo>
                      <a:pt x="986" y="988"/>
                    </a:lnTo>
                    <a:lnTo>
                      <a:pt x="978" y="964"/>
                    </a:lnTo>
                    <a:lnTo>
                      <a:pt x="972" y="954"/>
                    </a:lnTo>
                    <a:lnTo>
                      <a:pt x="954" y="950"/>
                    </a:lnTo>
                    <a:lnTo>
                      <a:pt x="870" y="990"/>
                    </a:lnTo>
                    <a:lnTo>
                      <a:pt x="860" y="932"/>
                    </a:lnTo>
                    <a:lnTo>
                      <a:pt x="848" y="914"/>
                    </a:lnTo>
                    <a:lnTo>
                      <a:pt x="810" y="888"/>
                    </a:lnTo>
                    <a:lnTo>
                      <a:pt x="802" y="874"/>
                    </a:lnTo>
                    <a:lnTo>
                      <a:pt x="802" y="852"/>
                    </a:lnTo>
                    <a:lnTo>
                      <a:pt x="794" y="838"/>
                    </a:lnTo>
                    <a:lnTo>
                      <a:pt x="722" y="860"/>
                    </a:lnTo>
                    <a:lnTo>
                      <a:pt x="634" y="866"/>
                    </a:lnTo>
                    <a:lnTo>
                      <a:pt x="594" y="854"/>
                    </a:lnTo>
                    <a:lnTo>
                      <a:pt x="560" y="848"/>
                    </a:lnTo>
                    <a:lnTo>
                      <a:pt x="532" y="844"/>
                    </a:lnTo>
                    <a:lnTo>
                      <a:pt x="520" y="818"/>
                    </a:lnTo>
                    <a:lnTo>
                      <a:pt x="520" y="792"/>
                    </a:lnTo>
                    <a:lnTo>
                      <a:pt x="528" y="774"/>
                    </a:lnTo>
                    <a:lnTo>
                      <a:pt x="524" y="762"/>
                    </a:lnTo>
                    <a:lnTo>
                      <a:pt x="506" y="768"/>
                    </a:lnTo>
                    <a:lnTo>
                      <a:pt x="480" y="778"/>
                    </a:lnTo>
                    <a:lnTo>
                      <a:pt x="464" y="768"/>
                    </a:lnTo>
                    <a:lnTo>
                      <a:pt x="450" y="756"/>
                    </a:lnTo>
                    <a:lnTo>
                      <a:pt x="434" y="752"/>
                    </a:lnTo>
                    <a:lnTo>
                      <a:pt x="412" y="750"/>
                    </a:ln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27" name="Freeform 45">
              <a:extLst>
                <a:ext uri="{FF2B5EF4-FFF2-40B4-BE49-F238E27FC236}">
                  <a16:creationId xmlns:a16="http://schemas.microsoft.com/office/drawing/2014/main" xmlns="" id="{6CD37691-31FC-4562-A2F2-2DF9170DDE5C}"/>
                </a:ext>
              </a:extLst>
            </p:cNvPr>
            <p:cNvSpPr>
              <a:spLocks/>
            </p:cNvSpPr>
            <p:nvPr/>
          </p:nvSpPr>
          <p:spPr bwMode="auto">
            <a:xfrm>
              <a:off x="1433" y="1719"/>
              <a:ext cx="2376" cy="1752"/>
            </a:xfrm>
            <a:custGeom>
              <a:avLst/>
              <a:gdLst/>
              <a:ahLst/>
              <a:cxnLst>
                <a:cxn ang="0">
                  <a:pos x="1242" y="48"/>
                </a:cxn>
                <a:cxn ang="0">
                  <a:pos x="1061" y="180"/>
                </a:cxn>
                <a:cxn ang="0">
                  <a:pos x="973" y="246"/>
                </a:cxn>
                <a:cxn ang="0">
                  <a:pos x="819" y="279"/>
                </a:cxn>
                <a:cxn ang="0">
                  <a:pos x="560" y="279"/>
                </a:cxn>
                <a:cxn ang="0">
                  <a:pos x="461" y="307"/>
                </a:cxn>
                <a:cxn ang="0">
                  <a:pos x="351" y="329"/>
                </a:cxn>
                <a:cxn ang="0">
                  <a:pos x="301" y="356"/>
                </a:cxn>
                <a:cxn ang="0">
                  <a:pos x="263" y="532"/>
                </a:cxn>
                <a:cxn ang="0">
                  <a:pos x="174" y="1017"/>
                </a:cxn>
                <a:cxn ang="0">
                  <a:pos x="97" y="1039"/>
                </a:cxn>
                <a:cxn ang="0">
                  <a:pos x="59" y="1138"/>
                </a:cxn>
                <a:cxn ang="0">
                  <a:pos x="15" y="1402"/>
                </a:cxn>
                <a:cxn ang="0">
                  <a:pos x="119" y="1600"/>
                </a:cxn>
                <a:cxn ang="0">
                  <a:pos x="439" y="1573"/>
                </a:cxn>
                <a:cxn ang="0">
                  <a:pos x="565" y="1551"/>
                </a:cxn>
                <a:cxn ang="0">
                  <a:pos x="752" y="1567"/>
                </a:cxn>
                <a:cxn ang="0">
                  <a:pos x="874" y="1606"/>
                </a:cxn>
                <a:cxn ang="0">
                  <a:pos x="978" y="1633"/>
                </a:cxn>
                <a:cxn ang="0">
                  <a:pos x="1000" y="1677"/>
                </a:cxn>
                <a:cxn ang="0">
                  <a:pos x="1039" y="1738"/>
                </a:cxn>
                <a:cxn ang="0">
                  <a:pos x="1116" y="1749"/>
                </a:cxn>
                <a:cxn ang="0">
                  <a:pos x="1193" y="1743"/>
                </a:cxn>
                <a:cxn ang="0">
                  <a:pos x="1242" y="1683"/>
                </a:cxn>
                <a:cxn ang="0">
                  <a:pos x="1380" y="1666"/>
                </a:cxn>
                <a:cxn ang="0">
                  <a:pos x="1397" y="1661"/>
                </a:cxn>
                <a:cxn ang="0">
                  <a:pos x="1419" y="1628"/>
                </a:cxn>
                <a:cxn ang="0">
                  <a:pos x="1452" y="1556"/>
                </a:cxn>
                <a:cxn ang="0">
                  <a:pos x="1529" y="1534"/>
                </a:cxn>
                <a:cxn ang="0">
                  <a:pos x="1584" y="1507"/>
                </a:cxn>
                <a:cxn ang="0">
                  <a:pos x="1727" y="1562"/>
                </a:cxn>
                <a:cxn ang="0">
                  <a:pos x="1793" y="1611"/>
                </a:cxn>
                <a:cxn ang="0">
                  <a:pos x="1815" y="1661"/>
                </a:cxn>
                <a:cxn ang="0">
                  <a:pos x="2019" y="1705"/>
                </a:cxn>
                <a:cxn ang="0">
                  <a:pos x="2178" y="1672"/>
                </a:cxn>
                <a:cxn ang="0">
                  <a:pos x="2233" y="1463"/>
                </a:cxn>
                <a:cxn ang="0">
                  <a:pos x="2244" y="1407"/>
                </a:cxn>
                <a:cxn ang="0">
                  <a:pos x="2299" y="1374"/>
                </a:cxn>
                <a:cxn ang="0">
                  <a:pos x="2343" y="1325"/>
                </a:cxn>
                <a:cxn ang="0">
                  <a:pos x="2376" y="1237"/>
                </a:cxn>
                <a:cxn ang="0">
                  <a:pos x="2272" y="802"/>
                </a:cxn>
                <a:cxn ang="0">
                  <a:pos x="2233" y="626"/>
                </a:cxn>
                <a:cxn ang="0">
                  <a:pos x="2222" y="571"/>
                </a:cxn>
                <a:cxn ang="0">
                  <a:pos x="2178" y="505"/>
                </a:cxn>
                <a:cxn ang="0">
                  <a:pos x="2167" y="472"/>
                </a:cxn>
                <a:cxn ang="0">
                  <a:pos x="2140" y="362"/>
                </a:cxn>
                <a:cxn ang="0">
                  <a:pos x="1958" y="307"/>
                </a:cxn>
                <a:cxn ang="0">
                  <a:pos x="1886" y="279"/>
                </a:cxn>
                <a:cxn ang="0">
                  <a:pos x="1804" y="268"/>
                </a:cxn>
                <a:cxn ang="0">
                  <a:pos x="1776" y="230"/>
                </a:cxn>
                <a:cxn ang="0">
                  <a:pos x="1688" y="125"/>
                </a:cxn>
                <a:cxn ang="0">
                  <a:pos x="1540" y="81"/>
                </a:cxn>
                <a:cxn ang="0">
                  <a:pos x="1358" y="42"/>
                </a:cxn>
                <a:cxn ang="0">
                  <a:pos x="1242" y="48"/>
                </a:cxn>
              </a:cxnLst>
              <a:rect l="0" t="0" r="r" b="b"/>
              <a:pathLst>
                <a:path w="2376" h="1752">
                  <a:moveTo>
                    <a:pt x="1242" y="48"/>
                  </a:moveTo>
                  <a:cubicBezTo>
                    <a:pt x="1167" y="134"/>
                    <a:pt x="1221" y="82"/>
                    <a:pt x="1061" y="180"/>
                  </a:cubicBezTo>
                  <a:cubicBezTo>
                    <a:pt x="1030" y="199"/>
                    <a:pt x="1005" y="229"/>
                    <a:pt x="973" y="246"/>
                  </a:cubicBezTo>
                  <a:cubicBezTo>
                    <a:pt x="915" y="277"/>
                    <a:pt x="879" y="274"/>
                    <a:pt x="819" y="279"/>
                  </a:cubicBezTo>
                  <a:cubicBezTo>
                    <a:pt x="744" y="277"/>
                    <a:pt x="639" y="269"/>
                    <a:pt x="560" y="279"/>
                  </a:cubicBezTo>
                  <a:cubicBezTo>
                    <a:pt x="529" y="283"/>
                    <a:pt x="495" y="302"/>
                    <a:pt x="461" y="307"/>
                  </a:cubicBezTo>
                  <a:cubicBezTo>
                    <a:pt x="418" y="321"/>
                    <a:pt x="400" y="324"/>
                    <a:pt x="351" y="329"/>
                  </a:cubicBezTo>
                  <a:cubicBezTo>
                    <a:pt x="326" y="335"/>
                    <a:pt x="316" y="335"/>
                    <a:pt x="301" y="356"/>
                  </a:cubicBezTo>
                  <a:cubicBezTo>
                    <a:pt x="286" y="415"/>
                    <a:pt x="272" y="472"/>
                    <a:pt x="263" y="532"/>
                  </a:cubicBezTo>
                  <a:cubicBezTo>
                    <a:pt x="261" y="595"/>
                    <a:pt x="294" y="937"/>
                    <a:pt x="174" y="1017"/>
                  </a:cubicBezTo>
                  <a:cubicBezTo>
                    <a:pt x="165" y="1023"/>
                    <a:pt x="103" y="1038"/>
                    <a:pt x="97" y="1039"/>
                  </a:cubicBezTo>
                  <a:cubicBezTo>
                    <a:pt x="61" y="1065"/>
                    <a:pt x="67" y="1096"/>
                    <a:pt x="59" y="1138"/>
                  </a:cubicBezTo>
                  <a:cubicBezTo>
                    <a:pt x="42" y="1225"/>
                    <a:pt x="35" y="1315"/>
                    <a:pt x="15" y="1402"/>
                  </a:cubicBezTo>
                  <a:cubicBezTo>
                    <a:pt x="21" y="1543"/>
                    <a:pt x="0" y="1541"/>
                    <a:pt x="119" y="1600"/>
                  </a:cubicBezTo>
                  <a:cubicBezTo>
                    <a:pt x="235" y="1597"/>
                    <a:pt x="329" y="1595"/>
                    <a:pt x="439" y="1573"/>
                  </a:cubicBezTo>
                  <a:cubicBezTo>
                    <a:pt x="473" y="1550"/>
                    <a:pt x="525" y="1555"/>
                    <a:pt x="565" y="1551"/>
                  </a:cubicBezTo>
                  <a:cubicBezTo>
                    <a:pt x="629" y="1554"/>
                    <a:pt x="689" y="1560"/>
                    <a:pt x="752" y="1567"/>
                  </a:cubicBezTo>
                  <a:cubicBezTo>
                    <a:pt x="795" y="1578"/>
                    <a:pt x="831" y="1594"/>
                    <a:pt x="874" y="1606"/>
                  </a:cubicBezTo>
                  <a:cubicBezTo>
                    <a:pt x="909" y="1616"/>
                    <a:pt x="978" y="1633"/>
                    <a:pt x="978" y="1633"/>
                  </a:cubicBezTo>
                  <a:cubicBezTo>
                    <a:pt x="999" y="1646"/>
                    <a:pt x="1009" y="1652"/>
                    <a:pt x="1000" y="1677"/>
                  </a:cubicBezTo>
                  <a:cubicBezTo>
                    <a:pt x="1005" y="1707"/>
                    <a:pt x="1004" y="1732"/>
                    <a:pt x="1039" y="1738"/>
                  </a:cubicBezTo>
                  <a:cubicBezTo>
                    <a:pt x="1065" y="1743"/>
                    <a:pt x="1116" y="1749"/>
                    <a:pt x="1116" y="1749"/>
                  </a:cubicBezTo>
                  <a:cubicBezTo>
                    <a:pt x="1142" y="1747"/>
                    <a:pt x="1169" y="1752"/>
                    <a:pt x="1193" y="1743"/>
                  </a:cubicBezTo>
                  <a:cubicBezTo>
                    <a:pt x="1216" y="1734"/>
                    <a:pt x="1215" y="1693"/>
                    <a:pt x="1242" y="1683"/>
                  </a:cubicBezTo>
                  <a:cubicBezTo>
                    <a:pt x="1288" y="1666"/>
                    <a:pt x="1330" y="1669"/>
                    <a:pt x="1380" y="1666"/>
                  </a:cubicBezTo>
                  <a:cubicBezTo>
                    <a:pt x="1386" y="1664"/>
                    <a:pt x="1393" y="1665"/>
                    <a:pt x="1397" y="1661"/>
                  </a:cubicBezTo>
                  <a:cubicBezTo>
                    <a:pt x="1406" y="1652"/>
                    <a:pt x="1419" y="1628"/>
                    <a:pt x="1419" y="1628"/>
                  </a:cubicBezTo>
                  <a:cubicBezTo>
                    <a:pt x="1424" y="1612"/>
                    <a:pt x="1444" y="1564"/>
                    <a:pt x="1452" y="1556"/>
                  </a:cubicBezTo>
                  <a:cubicBezTo>
                    <a:pt x="1457" y="1551"/>
                    <a:pt x="1529" y="1534"/>
                    <a:pt x="1529" y="1534"/>
                  </a:cubicBezTo>
                  <a:cubicBezTo>
                    <a:pt x="1549" y="1520"/>
                    <a:pt x="1561" y="1514"/>
                    <a:pt x="1584" y="1507"/>
                  </a:cubicBezTo>
                  <a:cubicBezTo>
                    <a:pt x="1664" y="1514"/>
                    <a:pt x="1665" y="1512"/>
                    <a:pt x="1727" y="1562"/>
                  </a:cubicBezTo>
                  <a:cubicBezTo>
                    <a:pt x="1748" y="1579"/>
                    <a:pt x="1793" y="1611"/>
                    <a:pt x="1793" y="1611"/>
                  </a:cubicBezTo>
                  <a:cubicBezTo>
                    <a:pt x="1802" y="1625"/>
                    <a:pt x="1805" y="1650"/>
                    <a:pt x="1815" y="1661"/>
                  </a:cubicBezTo>
                  <a:cubicBezTo>
                    <a:pt x="1855" y="1708"/>
                    <a:pt x="1977" y="1703"/>
                    <a:pt x="2019" y="1705"/>
                  </a:cubicBezTo>
                  <a:cubicBezTo>
                    <a:pt x="2079" y="1700"/>
                    <a:pt x="2121" y="1686"/>
                    <a:pt x="2178" y="1672"/>
                  </a:cubicBezTo>
                  <a:cubicBezTo>
                    <a:pt x="2201" y="1603"/>
                    <a:pt x="2217" y="1534"/>
                    <a:pt x="2233" y="1463"/>
                  </a:cubicBezTo>
                  <a:cubicBezTo>
                    <a:pt x="2237" y="1444"/>
                    <a:pt x="2233" y="1423"/>
                    <a:pt x="2244" y="1407"/>
                  </a:cubicBezTo>
                  <a:cubicBezTo>
                    <a:pt x="2255" y="1391"/>
                    <a:pt x="2283" y="1385"/>
                    <a:pt x="2299" y="1374"/>
                  </a:cubicBezTo>
                  <a:cubicBezTo>
                    <a:pt x="2311" y="1356"/>
                    <a:pt x="2343" y="1325"/>
                    <a:pt x="2343" y="1325"/>
                  </a:cubicBezTo>
                  <a:cubicBezTo>
                    <a:pt x="2354" y="1295"/>
                    <a:pt x="2369" y="1269"/>
                    <a:pt x="2376" y="1237"/>
                  </a:cubicBezTo>
                  <a:cubicBezTo>
                    <a:pt x="2371" y="1069"/>
                    <a:pt x="2356" y="949"/>
                    <a:pt x="2272" y="802"/>
                  </a:cubicBezTo>
                  <a:cubicBezTo>
                    <a:pt x="2260" y="742"/>
                    <a:pt x="2248" y="685"/>
                    <a:pt x="2233" y="626"/>
                  </a:cubicBezTo>
                  <a:cubicBezTo>
                    <a:pt x="2228" y="608"/>
                    <a:pt x="2230" y="588"/>
                    <a:pt x="2222" y="571"/>
                  </a:cubicBezTo>
                  <a:cubicBezTo>
                    <a:pt x="2211" y="547"/>
                    <a:pt x="2191" y="528"/>
                    <a:pt x="2178" y="505"/>
                  </a:cubicBezTo>
                  <a:cubicBezTo>
                    <a:pt x="2172" y="495"/>
                    <a:pt x="2171" y="483"/>
                    <a:pt x="2167" y="472"/>
                  </a:cubicBezTo>
                  <a:cubicBezTo>
                    <a:pt x="2163" y="445"/>
                    <a:pt x="2155" y="384"/>
                    <a:pt x="2140" y="362"/>
                  </a:cubicBezTo>
                  <a:cubicBezTo>
                    <a:pt x="2103" y="310"/>
                    <a:pt x="2014" y="312"/>
                    <a:pt x="1958" y="307"/>
                  </a:cubicBezTo>
                  <a:cubicBezTo>
                    <a:pt x="1934" y="298"/>
                    <a:pt x="1911" y="283"/>
                    <a:pt x="1886" y="279"/>
                  </a:cubicBezTo>
                  <a:cubicBezTo>
                    <a:pt x="1859" y="275"/>
                    <a:pt x="1804" y="268"/>
                    <a:pt x="1804" y="268"/>
                  </a:cubicBezTo>
                  <a:cubicBezTo>
                    <a:pt x="1773" y="259"/>
                    <a:pt x="1768" y="263"/>
                    <a:pt x="1776" y="230"/>
                  </a:cubicBezTo>
                  <a:cubicBezTo>
                    <a:pt x="1769" y="175"/>
                    <a:pt x="1743" y="143"/>
                    <a:pt x="1688" y="125"/>
                  </a:cubicBezTo>
                  <a:cubicBezTo>
                    <a:pt x="1645" y="95"/>
                    <a:pt x="1590" y="94"/>
                    <a:pt x="1540" y="81"/>
                  </a:cubicBezTo>
                  <a:cubicBezTo>
                    <a:pt x="1478" y="65"/>
                    <a:pt x="1422" y="49"/>
                    <a:pt x="1358" y="42"/>
                  </a:cubicBezTo>
                  <a:cubicBezTo>
                    <a:pt x="1328" y="35"/>
                    <a:pt x="1242" y="0"/>
                    <a:pt x="1242" y="48"/>
                  </a:cubicBezTo>
                  <a:close/>
                </a:path>
              </a:pathLst>
            </a:custGeom>
            <a:grpFill/>
            <a:ln w="9525" cap="flat" cmpd="sng">
              <a:solidFill>
                <a:schemeClr val="accent5"/>
              </a:solidFill>
              <a:prstDash val="solid"/>
              <a:round/>
              <a:headEnd type="none" w="sm" len="sm"/>
              <a:tailEnd type="none" w="sm" len="sm"/>
            </a:ln>
            <a:effectLst/>
          </p:spPr>
          <p:txBody>
            <a:bodyPr wrap="none" anchor="ct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42" name="Ellipse 141">
            <a:extLst>
              <a:ext uri="{FF2B5EF4-FFF2-40B4-BE49-F238E27FC236}">
                <a16:creationId xmlns:a16="http://schemas.microsoft.com/office/drawing/2014/main" xmlns="" id="{45FC24A4-705F-4ED1-9CAE-01E4171987EA}"/>
              </a:ext>
            </a:extLst>
          </p:cNvPr>
          <p:cNvSpPr/>
          <p:nvPr/>
        </p:nvSpPr>
        <p:spPr>
          <a:xfrm>
            <a:off x="543022" y="4588234"/>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143" name="Gerade Verbindung 19">
            <a:extLst>
              <a:ext uri="{FF2B5EF4-FFF2-40B4-BE49-F238E27FC236}">
                <a16:creationId xmlns:a16="http://schemas.microsoft.com/office/drawing/2014/main" xmlns="" id="{19235B5E-7483-4707-ABC3-B7BC6F404E9D}"/>
              </a:ext>
            </a:extLst>
          </p:cNvPr>
          <p:cNvCxnSpPr>
            <a:cxnSpLocks/>
          </p:cNvCxnSpPr>
          <p:nvPr/>
        </p:nvCxnSpPr>
        <p:spPr>
          <a:xfrm>
            <a:off x="542527" y="4474698"/>
            <a:ext cx="2230499" cy="13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4" name="Grafik 143">
            <a:extLst>
              <a:ext uri="{FF2B5EF4-FFF2-40B4-BE49-F238E27FC236}">
                <a16:creationId xmlns:a16="http://schemas.microsoft.com/office/drawing/2014/main" xmlns="" id="{57180552-50C5-4C60-8A0C-B12379D38450}"/>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590225" y="4669392"/>
            <a:ext cx="247624" cy="175400"/>
          </a:xfrm>
          <a:prstGeom prst="rect">
            <a:avLst/>
          </a:prstGeom>
        </p:spPr>
      </p:pic>
      <p:sp>
        <p:nvSpPr>
          <p:cNvPr id="145" name="Textfeld 144">
            <a:extLst>
              <a:ext uri="{FF2B5EF4-FFF2-40B4-BE49-F238E27FC236}">
                <a16:creationId xmlns:a16="http://schemas.microsoft.com/office/drawing/2014/main" xmlns="" id="{18C37EFA-AE35-4ECB-967B-4D276BC8A7B9}"/>
              </a:ext>
            </a:extLst>
          </p:cNvPr>
          <p:cNvSpPr txBox="1"/>
          <p:nvPr/>
        </p:nvSpPr>
        <p:spPr>
          <a:xfrm>
            <a:off x="902279" y="4612915"/>
            <a:ext cx="24482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Bewirtschaftete</a:t>
            </a:r>
            <a:br>
              <a:rPr kumimoji="0" lang="de-DE" sz="1400" b="0" i="0" u="none" strike="noStrike" kern="1200" cap="none" spc="0" normalizeH="0" baseline="0" noProof="0" dirty="0">
                <a:ln>
                  <a:noFill/>
                </a:ln>
                <a:solidFill>
                  <a:prstClr val="black"/>
                </a:solidFill>
                <a:effectLst/>
                <a:uLnTx/>
                <a:uFillTx/>
                <a:latin typeface="Arial"/>
                <a:ea typeface="+mn-ea"/>
                <a:cs typeface="+mn-cs"/>
              </a:rPr>
            </a:br>
            <a:r>
              <a:rPr kumimoji="0" lang="de-DE" sz="1400" b="0" i="0" u="none" strike="noStrike" kern="1200" cap="none" spc="0" normalizeH="0" baseline="0" noProof="0" dirty="0">
                <a:ln>
                  <a:noFill/>
                </a:ln>
                <a:solidFill>
                  <a:prstClr val="black"/>
                </a:solidFill>
                <a:effectLst/>
                <a:uLnTx/>
                <a:uFillTx/>
                <a:latin typeface="Arial"/>
                <a:ea typeface="+mn-ea"/>
                <a:cs typeface="+mn-cs"/>
              </a:rPr>
              <a:t>Straßen-km</a:t>
            </a:r>
          </a:p>
        </p:txBody>
      </p:sp>
      <p:cxnSp>
        <p:nvCxnSpPr>
          <p:cNvPr id="147" name="Gerade Verbindung 6">
            <a:extLst>
              <a:ext uri="{FF2B5EF4-FFF2-40B4-BE49-F238E27FC236}">
                <a16:creationId xmlns:a16="http://schemas.microsoft.com/office/drawing/2014/main" xmlns="" id="{40FA99DC-5B75-4EBC-96C5-F8867E8086BE}"/>
              </a:ext>
            </a:extLst>
          </p:cNvPr>
          <p:cNvCxnSpPr>
            <a:cxnSpLocks/>
          </p:cNvCxnSpPr>
          <p:nvPr/>
        </p:nvCxnSpPr>
        <p:spPr>
          <a:xfrm>
            <a:off x="920050" y="5164298"/>
            <a:ext cx="185297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9" name="Textfeld 108">
            <a:extLst>
              <a:ext uri="{FF2B5EF4-FFF2-40B4-BE49-F238E27FC236}">
                <a16:creationId xmlns:a16="http://schemas.microsoft.com/office/drawing/2014/main" xmlns="" id="{F5650B42-932E-41D0-8A03-25531F6DCAE5}"/>
              </a:ext>
            </a:extLst>
          </p:cNvPr>
          <p:cNvSpPr txBox="1"/>
          <p:nvPr/>
        </p:nvSpPr>
        <p:spPr>
          <a:xfrm>
            <a:off x="3376985" y="3259723"/>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111" name="Textfeld 110">
            <a:extLst>
              <a:ext uri="{FF2B5EF4-FFF2-40B4-BE49-F238E27FC236}">
                <a16:creationId xmlns:a16="http://schemas.microsoft.com/office/drawing/2014/main" xmlns="" id="{ED9EF861-8FB4-49BF-985B-AFC72ED96B3F}"/>
              </a:ext>
            </a:extLst>
          </p:cNvPr>
          <p:cNvSpPr txBox="1"/>
          <p:nvPr/>
        </p:nvSpPr>
        <p:spPr>
          <a:xfrm>
            <a:off x="6123739" y="3259723"/>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
        <p:nvSpPr>
          <p:cNvPr id="117" name="Textfeld 116">
            <a:extLst>
              <a:ext uri="{FF2B5EF4-FFF2-40B4-BE49-F238E27FC236}">
                <a16:creationId xmlns:a16="http://schemas.microsoft.com/office/drawing/2014/main" xmlns="" id="{5A01ACA5-D32F-4E64-95C1-29FD6F16235E}"/>
              </a:ext>
            </a:extLst>
          </p:cNvPr>
          <p:cNvSpPr txBox="1"/>
          <p:nvPr/>
        </p:nvSpPr>
        <p:spPr>
          <a:xfrm>
            <a:off x="562773" y="3259723"/>
            <a:ext cx="550151" cy="169277"/>
          </a:xfrm>
          <a:prstGeom prst="rect">
            <a:avLst/>
          </a:prstGeom>
          <a:noFill/>
        </p:spPr>
        <p:txBody>
          <a:bodyPr wrap="none" rtlCol="0">
            <a:spAutoFit/>
          </a:bodyPr>
          <a:lstStyle/>
          <a:p>
            <a:r>
              <a:rPr lang="de-DE" sz="500" dirty="0"/>
              <a:t>© </a:t>
            </a:r>
            <a:r>
              <a:rPr lang="de-DE" sz="500" dirty="0" err="1"/>
              <a:t>civity</a:t>
            </a:r>
            <a:r>
              <a:rPr lang="de-DE" sz="500" dirty="0"/>
              <a:t> 2019</a:t>
            </a:r>
          </a:p>
        </p:txBody>
      </p:sp>
    </p:spTree>
    <p:extLst>
      <p:ext uri="{BB962C8B-B14F-4D97-AF65-F5344CB8AC3E}">
        <p14:creationId xmlns:p14="http://schemas.microsoft.com/office/powerpoint/2010/main" val="2691001526"/>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903680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395" name="think-cell Folie" r:id="rId48" imgW="270" imgH="270" progId="TCLayout.ActiveDocument.1">
                  <p:embed/>
                </p:oleObj>
              </mc:Choice>
              <mc:Fallback>
                <p:oleObj name="think-cell Folie" r:id="rId48" imgW="270" imgH="270" progId="TCLayout.ActiveDocument.1">
                  <p:embed/>
                  <p:pic>
                    <p:nvPicPr>
                      <p:cNvPr id="6" name="Objekt 5"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1400" dirty="0">
              <a:solidFill>
                <a:schemeClr val="tx1"/>
              </a:solidFill>
              <a:sym typeface="+mn-lt"/>
            </a:endParaRPr>
          </a:p>
        </p:txBody>
      </p:sp>
      <p:sp>
        <p:nvSpPr>
          <p:cNvPr id="70" name="Inhaltsplatzhalter 2">
            <a:extLst>
              <a:ext uri="{FF2B5EF4-FFF2-40B4-BE49-F238E27FC236}">
                <a16:creationId xmlns:a16="http://schemas.microsoft.com/office/drawing/2014/main" xmlns="" id="{49AEB2EB-0AC5-4B74-A1D1-7DF718514E7B}"/>
              </a:ext>
            </a:extLst>
          </p:cNvPr>
          <p:cNvSpPr txBox="1">
            <a:spLocks/>
          </p:cNvSpPr>
          <p:nvPr/>
        </p:nvSpPr>
        <p:spPr>
          <a:xfrm>
            <a:off x="5916613" y="2061022"/>
            <a:ext cx="2735954"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Im Zuge der Tarifreform im Jahr 2012 wurde die Parkraumbewirtschaftung in Wien deutlich intensiviert</a:t>
            </a:r>
          </a:p>
        </p:txBody>
      </p:sp>
      <p:sp>
        <p:nvSpPr>
          <p:cNvPr id="2" name="Titel 1">
            <a:extLst>
              <a:ext uri="{FF2B5EF4-FFF2-40B4-BE49-F238E27FC236}">
                <a16:creationId xmlns:a16="http://schemas.microsoft.com/office/drawing/2014/main" xmlns="" id="{FD18AB81-62FB-4C8D-8B5E-A4ED27A98461}"/>
              </a:ext>
            </a:extLst>
          </p:cNvPr>
          <p:cNvSpPr>
            <a:spLocks noGrp="1"/>
          </p:cNvSpPr>
          <p:nvPr>
            <p:ph type="title"/>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Im Zuge der Tarifreform im Jahr 2012 wurde die Parkraumbewirtschaftung in Wien deutlich intensiviert</a:t>
            </a:r>
          </a:p>
        </p:txBody>
      </p:sp>
      <p:sp>
        <p:nvSpPr>
          <p:cNvPr id="3" name="Inhaltsplatzhalter 2">
            <a:extLst>
              <a:ext uri="{FF2B5EF4-FFF2-40B4-BE49-F238E27FC236}">
                <a16:creationId xmlns:a16="http://schemas.microsoft.com/office/drawing/2014/main" xmlns="" id="{A9C37537-2B9C-45AD-B573-E53FF097A288}"/>
              </a:ext>
            </a:extLst>
          </p:cNvPr>
          <p:cNvSpPr>
            <a:spLocks noGrp="1"/>
          </p:cNvSpPr>
          <p:nvPr>
            <p:ph idx="1"/>
          </p:nvPr>
        </p:nvSpPr>
        <p:spPr>
          <a:xfrm>
            <a:off x="451758" y="1083558"/>
            <a:ext cx="6635010" cy="292316"/>
          </a:xfrm>
        </p:spPr>
        <p:txBody>
          <a:bodyPr/>
          <a:lstStyle/>
          <a:p>
            <a:r>
              <a:rPr lang="de-DE" dirty="0">
                <a:latin typeface="Arial" panose="020B0604020202020204" pitchFamily="34" charset="0"/>
                <a:cs typeface="Arial" panose="020B0604020202020204" pitchFamily="34" charset="0"/>
                <a:sym typeface="Arial" panose="020B0604020202020204" pitchFamily="34" charset="0"/>
              </a:rPr>
              <a:t>Parkraumbewirtschaftung Wien</a:t>
            </a:r>
            <a:endParaRPr lang="de-DE" dirty="0"/>
          </a:p>
        </p:txBody>
      </p:sp>
      <p:sp>
        <p:nvSpPr>
          <p:cNvPr id="4" name="Foliennummernplatzhalter 3">
            <a:extLst>
              <a:ext uri="{FF2B5EF4-FFF2-40B4-BE49-F238E27FC236}">
                <a16:creationId xmlns:a16="http://schemas.microsoft.com/office/drawing/2014/main" xmlns="" id="{B7EF17C9-3399-4461-A2FC-C726A1BD7D85}"/>
              </a:ext>
            </a:extLst>
          </p:cNvPr>
          <p:cNvSpPr>
            <a:spLocks noGrp="1"/>
          </p:cNvSpPr>
          <p:nvPr>
            <p:ph type="sldNum" sz="quarter" idx="11"/>
          </p:nvPr>
        </p:nvSpPr>
        <p:spPr/>
        <p:txBody>
          <a:bodyPr/>
          <a:lstStyle/>
          <a:p>
            <a:fld id="{CD21EFEB-933F-4F46-A5AD-B6372944D9E5}" type="slidenum">
              <a:rPr lang="de-DE" smtClean="0"/>
              <a:pPr/>
              <a:t>18</a:t>
            </a:fld>
            <a:endParaRPr lang="de-DE" dirty="0"/>
          </a:p>
        </p:txBody>
      </p:sp>
      <p:sp>
        <p:nvSpPr>
          <p:cNvPr id="9" name="Rechteck 8">
            <a:extLst>
              <a:ext uri="{FF2B5EF4-FFF2-40B4-BE49-F238E27FC236}">
                <a16:creationId xmlns:a16="http://schemas.microsoft.com/office/drawing/2014/main" xmlns="" id="{5DEC85F3-3AD0-41A3-927F-ADF5B3361CD7}"/>
              </a:ext>
            </a:extLst>
          </p:cNvPr>
          <p:cNvSpPr/>
          <p:nvPr/>
        </p:nvSpPr>
        <p:spPr>
          <a:xfrm>
            <a:off x="444500" y="1738909"/>
            <a:ext cx="4847580"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de-DE" sz="1400" b="1" dirty="0">
                <a:solidFill>
                  <a:schemeClr val="tx1"/>
                </a:solidFill>
              </a:rPr>
              <a:t>Bewirtschaftete Stellplätze</a:t>
            </a:r>
            <a:endParaRPr lang="de-DE" sz="1400" dirty="0">
              <a:solidFill>
                <a:schemeClr val="tx1"/>
              </a:solidFill>
            </a:endParaRPr>
          </a:p>
        </p:txBody>
      </p:sp>
      <p:sp>
        <p:nvSpPr>
          <p:cNvPr id="10" name="Rechteck 9">
            <a:extLst>
              <a:ext uri="{FF2B5EF4-FFF2-40B4-BE49-F238E27FC236}">
                <a16:creationId xmlns:a16="http://schemas.microsoft.com/office/drawing/2014/main" xmlns="" id="{85C25577-4ED1-43B1-BD5C-5A524B11B83D}"/>
              </a:ext>
            </a:extLst>
          </p:cNvPr>
          <p:cNvSpPr/>
          <p:nvPr/>
        </p:nvSpPr>
        <p:spPr>
          <a:xfrm>
            <a:off x="5916613"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Erläuterung</a:t>
            </a:r>
          </a:p>
        </p:txBody>
      </p:sp>
      <p:cxnSp>
        <p:nvCxnSpPr>
          <p:cNvPr id="11" name="Gerade Verbindung 6">
            <a:extLst>
              <a:ext uri="{FF2B5EF4-FFF2-40B4-BE49-F238E27FC236}">
                <a16:creationId xmlns:a16="http://schemas.microsoft.com/office/drawing/2014/main" xmlns="" id="{E2014845-73AB-43C0-9ABC-28BDC03AA516}"/>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9">
            <a:extLst>
              <a:ext uri="{FF2B5EF4-FFF2-40B4-BE49-F238E27FC236}">
                <a16:creationId xmlns:a16="http://schemas.microsoft.com/office/drawing/2014/main" xmlns="" id="{1E0FBAFA-97B2-4146-9B65-3525ED330557}"/>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66" name="Chart 3">
            <a:extLst>
              <a:ext uri="{FF2B5EF4-FFF2-40B4-BE49-F238E27FC236}">
                <a16:creationId xmlns:a16="http://schemas.microsoft.com/office/drawing/2014/main" xmlns="" id="{DB21D9DE-C2E4-4187-A8F8-24D5E7275E11}"/>
              </a:ext>
            </a:extLst>
          </p:cNvPr>
          <p:cNvGraphicFramePr/>
          <p:nvPr>
            <p:custDataLst>
              <p:tags r:id="rId4"/>
            </p:custDataLst>
            <p:extLst>
              <p:ext uri="{D42A27DB-BD31-4B8C-83A1-F6EECF244321}">
                <p14:modId xmlns:p14="http://schemas.microsoft.com/office/powerpoint/2010/main" val="2921875550"/>
              </p:ext>
            </p:extLst>
          </p:nvPr>
        </p:nvGraphicFramePr>
        <p:xfrm>
          <a:off x="1249363" y="2409825"/>
          <a:ext cx="4700587" cy="2617788"/>
        </p:xfrm>
        <a:graphic>
          <a:graphicData uri="http://schemas.openxmlformats.org/drawingml/2006/chart">
            <c:chart xmlns:c="http://schemas.openxmlformats.org/drawingml/2006/chart" xmlns:r="http://schemas.openxmlformats.org/officeDocument/2006/relationships" r:id="rId50"/>
          </a:graphicData>
        </a:graphic>
      </p:graphicFrame>
      <p:sp>
        <p:nvSpPr>
          <p:cNvPr id="104" name="Textplatzhalter 2">
            <a:extLst>
              <a:ext uri="{FF2B5EF4-FFF2-40B4-BE49-F238E27FC236}">
                <a16:creationId xmlns:a16="http://schemas.microsoft.com/office/drawing/2014/main" xmlns="" id="{43DBB5F0-6D34-4AFC-9429-90A9AF127B8A}"/>
              </a:ext>
            </a:extLst>
          </p:cNvPr>
          <p:cNvSpPr>
            <a:spLocks noGrp="1"/>
          </p:cNvSpPr>
          <p:nvPr>
            <p:custDataLst>
              <p:tags r:id="rId5"/>
            </p:custDataLst>
          </p:nvPr>
        </p:nvSpPr>
        <p:spPr bwMode="gray">
          <a:xfrm>
            <a:off x="515938" y="2386014"/>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F9D30FC-671D-4F1C-8013-3E0F1EB76F4A}" type="datetime'3''0''''0'''',''''''''0''''''''''0''''''''''0'''''''''''''''">
              <a:rPr lang="de-DE" altLang="en-US" sz="1400" smtClean="0">
                <a:sym typeface="+mn-lt"/>
              </a:rPr>
              <a:pPr lvl="1" algn="r">
                <a:spcBef>
                  <a:spcPct val="0"/>
                </a:spcBef>
                <a:spcAft>
                  <a:spcPct val="0"/>
                </a:spcAft>
              </a:pPr>
              <a:t>300,000</a:t>
            </a:fld>
            <a:endParaRPr lang="de-DE" sz="1400" dirty="0">
              <a:sym typeface="+mn-lt"/>
            </a:endParaRPr>
          </a:p>
        </p:txBody>
      </p:sp>
      <p:sp>
        <p:nvSpPr>
          <p:cNvPr id="101" name="Textplatzhalter 2">
            <a:extLst>
              <a:ext uri="{FF2B5EF4-FFF2-40B4-BE49-F238E27FC236}">
                <a16:creationId xmlns:a16="http://schemas.microsoft.com/office/drawing/2014/main" xmlns="" id="{FC1070CA-3973-4E6A-BE85-6FB6DE57B9C0}"/>
              </a:ext>
            </a:extLst>
          </p:cNvPr>
          <p:cNvSpPr>
            <a:spLocks noGrp="1"/>
          </p:cNvSpPr>
          <p:nvPr>
            <p:custDataLst>
              <p:tags r:id="rId6"/>
            </p:custDataLst>
          </p:nvPr>
        </p:nvSpPr>
        <p:spPr bwMode="gray">
          <a:xfrm>
            <a:off x="515938" y="3613151"/>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6743B55-D03E-4B5D-A5F4-E3A2D361080D}" type="datetime'''1''5''''''''''0'''''',0''''''0''0'''''''''">
              <a:rPr lang="de-DE" altLang="en-US" sz="1400" smtClean="0">
                <a:sym typeface="+mn-lt"/>
              </a:rPr>
              <a:pPr lvl="1" algn="r">
                <a:spcBef>
                  <a:spcPct val="0"/>
                </a:spcBef>
                <a:spcAft>
                  <a:spcPct val="0"/>
                </a:spcAft>
              </a:pPr>
              <a:t>150,000</a:t>
            </a:fld>
            <a:endParaRPr lang="de-DE" sz="1400" dirty="0">
              <a:sym typeface="+mn-lt"/>
            </a:endParaRPr>
          </a:p>
        </p:txBody>
      </p:sp>
      <p:sp>
        <p:nvSpPr>
          <p:cNvPr id="103" name="Textplatzhalter 2">
            <a:extLst>
              <a:ext uri="{FF2B5EF4-FFF2-40B4-BE49-F238E27FC236}">
                <a16:creationId xmlns:a16="http://schemas.microsoft.com/office/drawing/2014/main" xmlns="" id="{1BA4EED9-319C-436A-9C97-FD5B7104F765}"/>
              </a:ext>
            </a:extLst>
          </p:cNvPr>
          <p:cNvSpPr>
            <a:spLocks noGrp="1"/>
          </p:cNvSpPr>
          <p:nvPr>
            <p:custDataLst>
              <p:tags r:id="rId7"/>
            </p:custDataLst>
          </p:nvPr>
        </p:nvSpPr>
        <p:spPr bwMode="gray">
          <a:xfrm>
            <a:off x="515938" y="2795589"/>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1EF92B1-0F46-42AD-BD29-316BDAE235EA}" type="datetime'''''''''''2''5''''''''''''''''''''''0,''0''0''0'''''''''''''''">
              <a:rPr lang="de-DE" altLang="en-US" sz="1400" smtClean="0">
                <a:sym typeface="+mn-lt"/>
              </a:rPr>
              <a:pPr lvl="1" algn="r">
                <a:spcBef>
                  <a:spcPct val="0"/>
                </a:spcBef>
                <a:spcAft>
                  <a:spcPct val="0"/>
                </a:spcAft>
              </a:pPr>
              <a:t>250,000</a:t>
            </a:fld>
            <a:endParaRPr lang="de-DE" sz="1400" dirty="0">
              <a:sym typeface="+mn-lt"/>
            </a:endParaRPr>
          </a:p>
        </p:txBody>
      </p:sp>
      <p:sp>
        <p:nvSpPr>
          <p:cNvPr id="102" name="Textplatzhalter 2">
            <a:extLst>
              <a:ext uri="{FF2B5EF4-FFF2-40B4-BE49-F238E27FC236}">
                <a16:creationId xmlns:a16="http://schemas.microsoft.com/office/drawing/2014/main" xmlns="" id="{A3C122C5-2DEF-46AC-9938-10096DE94A8B}"/>
              </a:ext>
            </a:extLst>
          </p:cNvPr>
          <p:cNvSpPr>
            <a:spLocks noGrp="1"/>
          </p:cNvSpPr>
          <p:nvPr>
            <p:custDataLst>
              <p:tags r:id="rId8"/>
            </p:custDataLst>
          </p:nvPr>
        </p:nvSpPr>
        <p:spPr bwMode="gray">
          <a:xfrm>
            <a:off x="515938" y="3203576"/>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E113CA34-6EFA-4E1D-A9D7-926CEF5B545C}" type="datetime'''''''''''''''''''''''2''''00,''0''''0''0'''''''''">
              <a:rPr lang="de-DE" altLang="en-US" sz="1400" smtClean="0">
                <a:sym typeface="+mn-lt"/>
              </a:rPr>
              <a:pPr lvl="1" algn="r">
                <a:spcBef>
                  <a:spcPct val="0"/>
                </a:spcBef>
                <a:spcAft>
                  <a:spcPct val="0"/>
                </a:spcAft>
              </a:pPr>
              <a:t>200,000</a:t>
            </a:fld>
            <a:endParaRPr lang="de-DE" sz="1400" dirty="0">
              <a:sym typeface="+mn-lt"/>
            </a:endParaRPr>
          </a:p>
        </p:txBody>
      </p:sp>
      <p:sp>
        <p:nvSpPr>
          <p:cNvPr id="100" name="Textplatzhalter 2">
            <a:extLst>
              <a:ext uri="{FF2B5EF4-FFF2-40B4-BE49-F238E27FC236}">
                <a16:creationId xmlns:a16="http://schemas.microsoft.com/office/drawing/2014/main" xmlns="" id="{5EAA2574-26C8-4C0C-80E2-F9D552A35664}"/>
              </a:ext>
            </a:extLst>
          </p:cNvPr>
          <p:cNvSpPr>
            <a:spLocks noGrp="1"/>
          </p:cNvSpPr>
          <p:nvPr>
            <p:custDataLst>
              <p:tags r:id="rId9"/>
            </p:custDataLst>
          </p:nvPr>
        </p:nvSpPr>
        <p:spPr bwMode="gray">
          <a:xfrm>
            <a:off x="515938" y="4021139"/>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BABFDC20-3A5E-4505-AA12-BDA7342B6332}" type="datetime'100,''''0''''''''''''''''''''''''0''''''''''''0'''''">
              <a:rPr lang="de-DE" altLang="en-US" sz="1400" smtClean="0">
                <a:sym typeface="+mn-lt"/>
              </a:rPr>
              <a:pPr lvl="1" algn="r">
                <a:spcBef>
                  <a:spcPct val="0"/>
                </a:spcBef>
                <a:spcAft>
                  <a:spcPct val="0"/>
                </a:spcAft>
              </a:pPr>
              <a:t>100,000</a:t>
            </a:fld>
            <a:endParaRPr lang="de-DE" sz="1400" dirty="0">
              <a:sym typeface="+mn-lt"/>
            </a:endParaRPr>
          </a:p>
        </p:txBody>
      </p:sp>
      <p:sp>
        <p:nvSpPr>
          <p:cNvPr id="99" name="Textplatzhalter 2">
            <a:extLst>
              <a:ext uri="{FF2B5EF4-FFF2-40B4-BE49-F238E27FC236}">
                <a16:creationId xmlns:a16="http://schemas.microsoft.com/office/drawing/2014/main" xmlns="" id="{497022D9-4F9E-490C-8C04-D1901F3386AD}"/>
              </a:ext>
            </a:extLst>
          </p:cNvPr>
          <p:cNvSpPr>
            <a:spLocks noGrp="1"/>
          </p:cNvSpPr>
          <p:nvPr>
            <p:custDataLst>
              <p:tags r:id="rId10"/>
            </p:custDataLst>
          </p:nvPr>
        </p:nvSpPr>
        <p:spPr bwMode="gray">
          <a:xfrm>
            <a:off x="614362" y="4430714"/>
            <a:ext cx="5413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E81E51D8-B5D2-458D-BA7E-79FD6F2BD1DD}" type="datetime'''''''''5''''''0'''''',''''''0''0''''''''0'''''''">
              <a:rPr lang="de-DE" altLang="en-US" sz="1400" smtClean="0">
                <a:sym typeface="+mn-lt"/>
              </a:rPr>
              <a:pPr lvl="1" algn="r">
                <a:spcBef>
                  <a:spcPct val="0"/>
                </a:spcBef>
                <a:spcAft>
                  <a:spcPct val="0"/>
                </a:spcAft>
              </a:pPr>
              <a:t>50,000</a:t>
            </a:fld>
            <a:endParaRPr lang="de-DE" sz="1400" dirty="0">
              <a:sym typeface="+mn-lt"/>
            </a:endParaRPr>
          </a:p>
        </p:txBody>
      </p:sp>
      <p:cxnSp>
        <p:nvCxnSpPr>
          <p:cNvPr id="15" name="Gerader Verbinder 14">
            <a:extLst>
              <a:ext uri="{FF2B5EF4-FFF2-40B4-BE49-F238E27FC236}">
                <a16:creationId xmlns:a16="http://schemas.microsoft.com/office/drawing/2014/main" xmlns="" id="{A140F957-4EA5-4D74-A167-A9F10BC551E3}"/>
              </a:ext>
            </a:extLst>
          </p:cNvPr>
          <p:cNvCxnSpPr/>
          <p:nvPr>
            <p:custDataLst>
              <p:tags r:id="rId11"/>
            </p:custDataLst>
          </p:nvPr>
        </p:nvCxnSpPr>
        <p:spPr bwMode="gray">
          <a:xfrm>
            <a:off x="2463800" y="3732213"/>
            <a:ext cx="2078038"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xmlns="" id="{6A04A9AD-638D-4A8D-B7C8-E8DF9403E262}"/>
              </a:ext>
            </a:extLst>
          </p:cNvPr>
          <p:cNvCxnSpPr/>
          <p:nvPr>
            <p:custDataLst>
              <p:tags r:id="rId12"/>
            </p:custDataLst>
          </p:nvPr>
        </p:nvCxnSpPr>
        <p:spPr bwMode="gray">
          <a:xfrm>
            <a:off x="4541838" y="3732213"/>
            <a:ext cx="0" cy="188913"/>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xmlns="" id="{427501AB-EBB7-4507-8BF7-374EC88E43DA}"/>
              </a:ext>
            </a:extLst>
          </p:cNvPr>
          <p:cNvCxnSpPr/>
          <p:nvPr>
            <p:custDataLst>
              <p:tags r:id="rId13"/>
            </p:custDataLst>
          </p:nvPr>
        </p:nvCxnSpPr>
        <p:spPr bwMode="gray">
          <a:xfrm flipV="1">
            <a:off x="2463800" y="3732213"/>
            <a:ext cx="0" cy="242888"/>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xmlns="" id="{42DB0189-8FB1-495C-A7FB-5BBE03CCF0D2}"/>
              </a:ext>
            </a:extLst>
          </p:cNvPr>
          <p:cNvCxnSpPr>
            <a:cxnSpLocks/>
          </p:cNvCxnSpPr>
          <p:nvPr>
            <p:custDataLst>
              <p:tags r:id="rId14"/>
            </p:custDataLst>
          </p:nvPr>
        </p:nvCxnSpPr>
        <p:spPr bwMode="gray">
          <a:xfrm flipV="1">
            <a:off x="4573588" y="2303463"/>
            <a:ext cx="0" cy="1617663"/>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xmlns="" id="{A3C656C7-F685-4732-88F9-E6AB9C47374A}"/>
              </a:ext>
            </a:extLst>
          </p:cNvPr>
          <p:cNvCxnSpPr/>
          <p:nvPr>
            <p:custDataLst>
              <p:tags r:id="rId15"/>
            </p:custDataLst>
          </p:nvPr>
        </p:nvCxnSpPr>
        <p:spPr bwMode="gray">
          <a:xfrm>
            <a:off x="4573588" y="2303463"/>
            <a:ext cx="1204913"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xmlns="" id="{72CB0291-6609-48CB-8A34-1B7799DD73D3}"/>
              </a:ext>
            </a:extLst>
          </p:cNvPr>
          <p:cNvCxnSpPr/>
          <p:nvPr>
            <p:custDataLst>
              <p:tags r:id="rId16"/>
            </p:custDataLst>
          </p:nvPr>
        </p:nvCxnSpPr>
        <p:spPr bwMode="gray">
          <a:xfrm>
            <a:off x="5778500" y="2303463"/>
            <a:ext cx="0" cy="152400"/>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1" name="Textplatzhalter 2">
            <a:extLst>
              <a:ext uri="{FF2B5EF4-FFF2-40B4-BE49-F238E27FC236}">
                <a16:creationId xmlns:a16="http://schemas.microsoft.com/office/drawing/2014/main" xmlns="" id="{38EE77D8-2AD9-46D2-8746-824D769AF3A2}"/>
              </a:ext>
            </a:extLst>
          </p:cNvPr>
          <p:cNvSpPr>
            <a:spLocks noGrp="1"/>
          </p:cNvSpPr>
          <p:nvPr>
            <p:custDataLst>
              <p:tags r:id="rId17"/>
            </p:custDataLst>
          </p:nvPr>
        </p:nvSpPr>
        <p:spPr bwMode="auto">
          <a:xfrm>
            <a:off x="18351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2C373A17-26B5-4023-9702-AB5FB583D855}" type="datetime'''1''''''''''''''''''''''9''''96'''''''''">
              <a:rPr lang="de-DE" altLang="en-US" sz="1400" smtClean="0">
                <a:sym typeface="+mn-lt"/>
              </a:rPr>
              <a:pPr lvl="1" algn="r">
                <a:spcBef>
                  <a:spcPct val="0"/>
                </a:spcBef>
                <a:spcAft>
                  <a:spcPct val="0"/>
                </a:spcAft>
              </a:pPr>
              <a:t>1996</a:t>
            </a:fld>
            <a:endParaRPr lang="de-DE" sz="1400" dirty="0">
              <a:sym typeface="+mn-lt"/>
            </a:endParaRPr>
          </a:p>
        </p:txBody>
      </p:sp>
      <p:sp>
        <p:nvSpPr>
          <p:cNvPr id="122" name="Textplatzhalter 2">
            <a:extLst>
              <a:ext uri="{FF2B5EF4-FFF2-40B4-BE49-F238E27FC236}">
                <a16:creationId xmlns:a16="http://schemas.microsoft.com/office/drawing/2014/main" xmlns="" id="{15A32B38-14BD-4CD0-A679-0AC4F7A518B2}"/>
              </a:ext>
            </a:extLst>
          </p:cNvPr>
          <p:cNvSpPr>
            <a:spLocks noGrp="1"/>
          </p:cNvSpPr>
          <p:nvPr>
            <p:custDataLst>
              <p:tags r:id="rId18"/>
            </p:custDataLst>
          </p:nvPr>
        </p:nvSpPr>
        <p:spPr bwMode="auto">
          <a:xfrm>
            <a:off x="200977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7EAAA99-C324-47E6-80B6-AB9BEF00550F}" type="datetime'''''''''''1''''''9''''''''''''''''''''9''''''''''7'''">
              <a:rPr lang="de-DE" altLang="en-US" sz="1400" smtClean="0">
                <a:sym typeface="+mn-lt"/>
              </a:rPr>
              <a:pPr lvl="1" algn="r">
                <a:spcBef>
                  <a:spcPct val="0"/>
                </a:spcBef>
                <a:spcAft>
                  <a:spcPct val="0"/>
                </a:spcAft>
              </a:pPr>
              <a:t>1997</a:t>
            </a:fld>
            <a:endParaRPr lang="de-DE" sz="1400" dirty="0">
              <a:sym typeface="+mn-lt"/>
            </a:endParaRPr>
          </a:p>
        </p:txBody>
      </p:sp>
      <p:sp>
        <p:nvSpPr>
          <p:cNvPr id="133" name="Textplatzhalter 2">
            <a:extLst>
              <a:ext uri="{FF2B5EF4-FFF2-40B4-BE49-F238E27FC236}">
                <a16:creationId xmlns:a16="http://schemas.microsoft.com/office/drawing/2014/main" xmlns="" id="{B71688FB-716B-49D3-A867-1092DB389AA9}"/>
              </a:ext>
            </a:extLst>
          </p:cNvPr>
          <p:cNvSpPr>
            <a:spLocks noGrp="1"/>
          </p:cNvSpPr>
          <p:nvPr>
            <p:custDataLst>
              <p:tags r:id="rId19"/>
            </p:custDataLst>
          </p:nvPr>
        </p:nvSpPr>
        <p:spPr bwMode="auto">
          <a:xfrm>
            <a:off x="392747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642C1BA-E583-4065-9DDA-25A188DF45E2}" type="datetime'''''''''''2''''''0''''''''0''''''''''8'''''''">
              <a:rPr lang="de-DE" altLang="en-US" sz="1400" smtClean="0">
                <a:sym typeface="+mn-lt"/>
              </a:rPr>
              <a:pPr lvl="1" algn="r">
                <a:spcBef>
                  <a:spcPct val="0"/>
                </a:spcBef>
                <a:spcAft>
                  <a:spcPct val="0"/>
                </a:spcAft>
              </a:pPr>
              <a:t>2008</a:t>
            </a:fld>
            <a:endParaRPr lang="de-DE" sz="1400" dirty="0">
              <a:sym typeface="+mn-lt"/>
            </a:endParaRPr>
          </a:p>
        </p:txBody>
      </p:sp>
      <p:sp>
        <p:nvSpPr>
          <p:cNvPr id="123" name="Textplatzhalter 2">
            <a:extLst>
              <a:ext uri="{FF2B5EF4-FFF2-40B4-BE49-F238E27FC236}">
                <a16:creationId xmlns:a16="http://schemas.microsoft.com/office/drawing/2014/main" xmlns="" id="{571DB246-301C-4CB8-82D8-B5C061BB05D1}"/>
              </a:ext>
            </a:extLst>
          </p:cNvPr>
          <p:cNvSpPr>
            <a:spLocks noGrp="1"/>
          </p:cNvSpPr>
          <p:nvPr>
            <p:custDataLst>
              <p:tags r:id="rId20"/>
            </p:custDataLst>
          </p:nvPr>
        </p:nvSpPr>
        <p:spPr bwMode="auto">
          <a:xfrm>
            <a:off x="218281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BDBBB9C9-F7C3-49FC-A32B-446FA5E50D12}" type="datetime'''''''19''''''9''''''''''''''''''''''8'''''">
              <a:rPr lang="de-DE" altLang="en-US" sz="1400" smtClean="0">
                <a:sym typeface="+mn-lt"/>
              </a:rPr>
              <a:pPr lvl="1" algn="r">
                <a:spcBef>
                  <a:spcPct val="0"/>
                </a:spcBef>
                <a:spcAft>
                  <a:spcPct val="0"/>
                </a:spcAft>
              </a:pPr>
              <a:t>1998</a:t>
            </a:fld>
            <a:endParaRPr lang="de-DE" sz="1400" dirty="0">
              <a:sym typeface="+mn-lt"/>
            </a:endParaRPr>
          </a:p>
        </p:txBody>
      </p:sp>
      <p:sp>
        <p:nvSpPr>
          <p:cNvPr id="124" name="Textplatzhalter 2">
            <a:extLst>
              <a:ext uri="{FF2B5EF4-FFF2-40B4-BE49-F238E27FC236}">
                <a16:creationId xmlns:a16="http://schemas.microsoft.com/office/drawing/2014/main" xmlns="" id="{DAAD2FF6-3338-4A03-90D5-2377B5C6722A}"/>
              </a:ext>
            </a:extLst>
          </p:cNvPr>
          <p:cNvSpPr>
            <a:spLocks noGrp="1"/>
          </p:cNvSpPr>
          <p:nvPr>
            <p:custDataLst>
              <p:tags r:id="rId21"/>
            </p:custDataLst>
          </p:nvPr>
        </p:nvSpPr>
        <p:spPr bwMode="auto">
          <a:xfrm>
            <a:off x="23574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52C81AE-1D2A-45FC-A8E0-5CA947BB8190}" type="datetime'1''''''9''''9''''''''''''''''''''''''''''''''''''''''''''''9'">
              <a:rPr lang="de-DE" altLang="en-US" sz="1400" smtClean="0">
                <a:sym typeface="+mn-lt"/>
              </a:rPr>
              <a:pPr lvl="1" algn="r">
                <a:spcBef>
                  <a:spcPct val="0"/>
                </a:spcBef>
                <a:spcAft>
                  <a:spcPct val="0"/>
                </a:spcAft>
              </a:pPr>
              <a:t>1999</a:t>
            </a:fld>
            <a:endParaRPr lang="de-DE" sz="1400" dirty="0">
              <a:sym typeface="+mn-lt"/>
            </a:endParaRPr>
          </a:p>
        </p:txBody>
      </p:sp>
      <p:sp>
        <p:nvSpPr>
          <p:cNvPr id="143" name="Textplatzhalter 2">
            <a:extLst>
              <a:ext uri="{FF2B5EF4-FFF2-40B4-BE49-F238E27FC236}">
                <a16:creationId xmlns:a16="http://schemas.microsoft.com/office/drawing/2014/main" xmlns="" id="{90CBFEDB-DE1B-4ED7-BBB2-EA3D6D483F32}"/>
              </a:ext>
            </a:extLst>
          </p:cNvPr>
          <p:cNvSpPr>
            <a:spLocks noGrp="1"/>
          </p:cNvSpPr>
          <p:nvPr>
            <p:custDataLst>
              <p:tags r:id="rId22"/>
            </p:custDataLst>
          </p:nvPr>
        </p:nvSpPr>
        <p:spPr bwMode="auto">
          <a:xfrm>
            <a:off x="56721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92C0CA4-0115-4931-812B-1ECEAA53E223}" type="datetime'''''''2''''''''01''''''''''''''''8'''''''''''''''''''''''''''">
              <a:rPr lang="de-DE" altLang="en-US" sz="1400" smtClean="0">
                <a:sym typeface="+mn-lt"/>
              </a:rPr>
              <a:pPr lvl="1" algn="r">
                <a:spcBef>
                  <a:spcPct val="0"/>
                </a:spcBef>
                <a:spcAft>
                  <a:spcPct val="0"/>
                </a:spcAft>
              </a:pPr>
              <a:t>2018</a:t>
            </a:fld>
            <a:endParaRPr lang="de-DE" sz="1400" dirty="0">
              <a:sym typeface="+mn-lt"/>
            </a:endParaRPr>
          </a:p>
        </p:txBody>
      </p:sp>
      <p:sp>
        <p:nvSpPr>
          <p:cNvPr id="125" name="Textplatzhalter 2">
            <a:extLst>
              <a:ext uri="{FF2B5EF4-FFF2-40B4-BE49-F238E27FC236}">
                <a16:creationId xmlns:a16="http://schemas.microsoft.com/office/drawing/2014/main" xmlns="" id="{1D0118A1-9632-44FB-BC8A-732C01809F95}"/>
              </a:ext>
            </a:extLst>
          </p:cNvPr>
          <p:cNvSpPr>
            <a:spLocks noGrp="1"/>
          </p:cNvSpPr>
          <p:nvPr>
            <p:custDataLst>
              <p:tags r:id="rId23"/>
            </p:custDataLst>
          </p:nvPr>
        </p:nvSpPr>
        <p:spPr bwMode="auto">
          <a:xfrm>
            <a:off x="253206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5EDC81C-B40A-4AB3-ADBD-773F79763AC1}" type="datetime'''''''''2''''''''''''''''''''''''0''0''0'''''">
              <a:rPr lang="de-DE" altLang="en-US" sz="1400" smtClean="0">
                <a:sym typeface="+mn-lt"/>
              </a:rPr>
              <a:pPr lvl="1" algn="r">
                <a:spcBef>
                  <a:spcPct val="0"/>
                </a:spcBef>
                <a:spcAft>
                  <a:spcPct val="0"/>
                </a:spcAft>
              </a:pPr>
              <a:t>2000</a:t>
            </a:fld>
            <a:endParaRPr lang="de-DE" sz="1400" dirty="0">
              <a:sym typeface="+mn-lt"/>
            </a:endParaRPr>
          </a:p>
        </p:txBody>
      </p:sp>
      <p:sp>
        <p:nvSpPr>
          <p:cNvPr id="135" name="Textplatzhalter 2">
            <a:extLst>
              <a:ext uri="{FF2B5EF4-FFF2-40B4-BE49-F238E27FC236}">
                <a16:creationId xmlns:a16="http://schemas.microsoft.com/office/drawing/2014/main" xmlns="" id="{64C8E382-6270-429D-8EEA-A95A4EAED209}"/>
              </a:ext>
            </a:extLst>
          </p:cNvPr>
          <p:cNvSpPr>
            <a:spLocks noGrp="1"/>
          </p:cNvSpPr>
          <p:nvPr>
            <p:custDataLst>
              <p:tags r:id="rId24"/>
            </p:custDataLst>
          </p:nvPr>
        </p:nvSpPr>
        <p:spPr bwMode="auto">
          <a:xfrm>
            <a:off x="427672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8BF5920-44A2-4398-84CC-21EDDCEE3D5A}" type="datetime'''''''''''2''''''''''''''''''''''0''1''''''''''''''0'">
              <a:rPr lang="de-DE" altLang="en-US" sz="1400" smtClean="0">
                <a:sym typeface="+mn-lt"/>
              </a:rPr>
              <a:pPr lvl="1" algn="r">
                <a:spcBef>
                  <a:spcPct val="0"/>
                </a:spcBef>
                <a:spcAft>
                  <a:spcPct val="0"/>
                </a:spcAft>
              </a:pPr>
              <a:t>2010</a:t>
            </a:fld>
            <a:endParaRPr lang="de-DE" sz="1400" dirty="0">
              <a:sym typeface="+mn-lt"/>
            </a:endParaRPr>
          </a:p>
        </p:txBody>
      </p:sp>
      <p:sp>
        <p:nvSpPr>
          <p:cNvPr id="127" name="Textplatzhalter 2">
            <a:extLst>
              <a:ext uri="{FF2B5EF4-FFF2-40B4-BE49-F238E27FC236}">
                <a16:creationId xmlns:a16="http://schemas.microsoft.com/office/drawing/2014/main" xmlns="" id="{4EADFE9E-482E-45B7-9F7E-64B697BEBB03}"/>
              </a:ext>
            </a:extLst>
          </p:cNvPr>
          <p:cNvSpPr>
            <a:spLocks noGrp="1"/>
          </p:cNvSpPr>
          <p:nvPr>
            <p:custDataLst>
              <p:tags r:id="rId25"/>
            </p:custDataLst>
          </p:nvPr>
        </p:nvSpPr>
        <p:spPr bwMode="auto">
          <a:xfrm>
            <a:off x="288131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1302BD7-9853-4AF4-8BF1-AD6FF3DA5A91}" type="datetime'''''''''''''20''''''''''0''''2'''''''''''''''''">
              <a:rPr lang="de-DE" altLang="en-US" sz="1400" smtClean="0">
                <a:sym typeface="+mn-lt"/>
              </a:rPr>
              <a:pPr lvl="1" algn="r">
                <a:spcBef>
                  <a:spcPct val="0"/>
                </a:spcBef>
                <a:spcAft>
                  <a:spcPct val="0"/>
                </a:spcAft>
              </a:pPr>
              <a:t>2002</a:t>
            </a:fld>
            <a:endParaRPr lang="de-DE" sz="1400" dirty="0">
              <a:sym typeface="+mn-lt"/>
            </a:endParaRPr>
          </a:p>
        </p:txBody>
      </p:sp>
      <p:sp>
        <p:nvSpPr>
          <p:cNvPr id="129" name="Textplatzhalter 2">
            <a:extLst>
              <a:ext uri="{FF2B5EF4-FFF2-40B4-BE49-F238E27FC236}">
                <a16:creationId xmlns:a16="http://schemas.microsoft.com/office/drawing/2014/main" xmlns="" id="{AA3CC824-7DEB-4DF2-BDAF-3FD457398133}"/>
              </a:ext>
            </a:extLst>
          </p:cNvPr>
          <p:cNvSpPr>
            <a:spLocks noGrp="1"/>
          </p:cNvSpPr>
          <p:nvPr>
            <p:custDataLst>
              <p:tags r:id="rId26"/>
            </p:custDataLst>
          </p:nvPr>
        </p:nvSpPr>
        <p:spPr bwMode="auto">
          <a:xfrm>
            <a:off x="323056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0168429-D5C0-4CF4-9A11-11507CA16F3D}" type="datetime'''''''''20''''''''''''''''''''0''4'''''''''">
              <a:rPr lang="de-DE" altLang="en-US" sz="1400" smtClean="0">
                <a:sym typeface="+mn-lt"/>
              </a:rPr>
              <a:pPr lvl="1" algn="r">
                <a:spcBef>
                  <a:spcPct val="0"/>
                </a:spcBef>
                <a:spcAft>
                  <a:spcPct val="0"/>
                </a:spcAft>
              </a:pPr>
              <a:t>2004</a:t>
            </a:fld>
            <a:endParaRPr lang="de-DE" sz="1400" dirty="0">
              <a:sym typeface="+mn-lt"/>
            </a:endParaRPr>
          </a:p>
        </p:txBody>
      </p:sp>
      <p:sp>
        <p:nvSpPr>
          <p:cNvPr id="119" name="Textplatzhalter 2">
            <a:extLst>
              <a:ext uri="{FF2B5EF4-FFF2-40B4-BE49-F238E27FC236}">
                <a16:creationId xmlns:a16="http://schemas.microsoft.com/office/drawing/2014/main" xmlns="" id="{5B489937-2208-4FBD-9351-0F49CC4C3699}"/>
              </a:ext>
            </a:extLst>
          </p:cNvPr>
          <p:cNvSpPr>
            <a:spLocks noGrp="1"/>
          </p:cNvSpPr>
          <p:nvPr>
            <p:custDataLst>
              <p:tags r:id="rId27"/>
            </p:custDataLst>
          </p:nvPr>
        </p:nvSpPr>
        <p:spPr bwMode="auto">
          <a:xfrm>
            <a:off x="148590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8E776254-7E6B-439A-AFE8-A6DE1F9F0D11}" type="datetime'''''''''''1''''''''99''''''''''4'''''''''''''">
              <a:rPr lang="de-DE" altLang="en-US" sz="1400" smtClean="0">
                <a:sym typeface="+mn-lt"/>
              </a:rPr>
              <a:pPr lvl="1" algn="r">
                <a:spcBef>
                  <a:spcPct val="0"/>
                </a:spcBef>
                <a:spcAft>
                  <a:spcPct val="0"/>
                </a:spcAft>
              </a:pPr>
              <a:t>1994</a:t>
            </a:fld>
            <a:endParaRPr lang="de-DE" sz="1400" dirty="0">
              <a:sym typeface="+mn-lt"/>
            </a:endParaRPr>
          </a:p>
        </p:txBody>
      </p:sp>
      <p:sp>
        <p:nvSpPr>
          <p:cNvPr id="130" name="Textplatzhalter 2">
            <a:extLst>
              <a:ext uri="{FF2B5EF4-FFF2-40B4-BE49-F238E27FC236}">
                <a16:creationId xmlns:a16="http://schemas.microsoft.com/office/drawing/2014/main" xmlns="" id="{732A7062-A1EC-411E-A3E2-49AB82AC8332}"/>
              </a:ext>
            </a:extLst>
          </p:cNvPr>
          <p:cNvSpPr>
            <a:spLocks noGrp="1"/>
          </p:cNvSpPr>
          <p:nvPr>
            <p:custDataLst>
              <p:tags r:id="rId28"/>
            </p:custDataLst>
          </p:nvPr>
        </p:nvSpPr>
        <p:spPr bwMode="auto">
          <a:xfrm>
            <a:off x="340518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DF68866E-5381-4E83-BFF4-EC166979401B}" type="datetime'''20''''''''''''''''''05'''''''''">
              <a:rPr lang="de-DE" altLang="en-US" sz="1400" smtClean="0">
                <a:sym typeface="+mn-lt"/>
              </a:rPr>
              <a:pPr lvl="1" algn="r">
                <a:spcBef>
                  <a:spcPct val="0"/>
                </a:spcBef>
                <a:spcAft>
                  <a:spcPct val="0"/>
                </a:spcAft>
              </a:pPr>
              <a:t>2005</a:t>
            </a:fld>
            <a:endParaRPr lang="de-DE" sz="1400" dirty="0">
              <a:sym typeface="+mn-lt"/>
            </a:endParaRPr>
          </a:p>
        </p:txBody>
      </p:sp>
      <p:sp>
        <p:nvSpPr>
          <p:cNvPr id="139" name="Textplatzhalter 2">
            <a:extLst>
              <a:ext uri="{FF2B5EF4-FFF2-40B4-BE49-F238E27FC236}">
                <a16:creationId xmlns:a16="http://schemas.microsoft.com/office/drawing/2014/main" xmlns="" id="{EE93D85D-EA44-4ACE-9AFF-D0664C9CCFB3}"/>
              </a:ext>
            </a:extLst>
          </p:cNvPr>
          <p:cNvSpPr>
            <a:spLocks noGrp="1"/>
          </p:cNvSpPr>
          <p:nvPr>
            <p:custDataLst>
              <p:tags r:id="rId29"/>
            </p:custDataLst>
          </p:nvPr>
        </p:nvSpPr>
        <p:spPr bwMode="auto">
          <a:xfrm>
            <a:off x="497522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3EC146C-49A5-4A82-9C17-26AA1FBD5D47}" type="datetime'''''''20''''''''1''''''4'''''''''''''''''''''''''''''''''''''">
              <a:rPr lang="de-DE" altLang="en-US" sz="1400" smtClean="0">
                <a:sym typeface="+mn-lt"/>
              </a:rPr>
              <a:pPr lvl="1" algn="r">
                <a:spcBef>
                  <a:spcPct val="0"/>
                </a:spcBef>
                <a:spcAft>
                  <a:spcPct val="0"/>
                </a:spcAft>
              </a:pPr>
              <a:t>2014</a:t>
            </a:fld>
            <a:endParaRPr lang="de-DE" sz="1400" dirty="0">
              <a:sym typeface="+mn-lt"/>
            </a:endParaRPr>
          </a:p>
        </p:txBody>
      </p:sp>
      <p:sp>
        <p:nvSpPr>
          <p:cNvPr id="131" name="Textplatzhalter 2">
            <a:extLst>
              <a:ext uri="{FF2B5EF4-FFF2-40B4-BE49-F238E27FC236}">
                <a16:creationId xmlns:a16="http://schemas.microsoft.com/office/drawing/2014/main" xmlns="" id="{912ADB93-0D0E-42F0-8A4E-73458AE74CEE}"/>
              </a:ext>
            </a:extLst>
          </p:cNvPr>
          <p:cNvSpPr>
            <a:spLocks noGrp="1"/>
          </p:cNvSpPr>
          <p:nvPr>
            <p:custDataLst>
              <p:tags r:id="rId30"/>
            </p:custDataLst>
          </p:nvPr>
        </p:nvSpPr>
        <p:spPr bwMode="auto">
          <a:xfrm>
            <a:off x="357981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F931E42-50AB-44AA-8550-447EC81DEC7D}" type="datetime'''20''0''''''''''''''''''''''''''''''''''6'''''''''''''">
              <a:rPr lang="de-DE" altLang="en-US" sz="1400" smtClean="0">
                <a:sym typeface="+mn-lt"/>
              </a:rPr>
              <a:pPr lvl="1" algn="r">
                <a:spcBef>
                  <a:spcPct val="0"/>
                </a:spcBef>
                <a:spcAft>
                  <a:spcPct val="0"/>
                </a:spcAft>
              </a:pPr>
              <a:t>2006</a:t>
            </a:fld>
            <a:endParaRPr lang="de-DE" sz="1400" dirty="0">
              <a:sym typeface="+mn-lt"/>
            </a:endParaRPr>
          </a:p>
        </p:txBody>
      </p:sp>
      <p:sp>
        <p:nvSpPr>
          <p:cNvPr id="132" name="Textplatzhalter 2">
            <a:extLst>
              <a:ext uri="{FF2B5EF4-FFF2-40B4-BE49-F238E27FC236}">
                <a16:creationId xmlns:a16="http://schemas.microsoft.com/office/drawing/2014/main" xmlns="" id="{261212FA-FA56-479A-AE30-0F899D86F952}"/>
              </a:ext>
            </a:extLst>
          </p:cNvPr>
          <p:cNvSpPr>
            <a:spLocks noGrp="1"/>
          </p:cNvSpPr>
          <p:nvPr>
            <p:custDataLst>
              <p:tags r:id="rId31"/>
            </p:custDataLst>
          </p:nvPr>
        </p:nvSpPr>
        <p:spPr bwMode="auto">
          <a:xfrm>
            <a:off x="37528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FA949FC-1A8A-47B7-A9E4-A00D0E4BBB6F}" type="datetime'''''''''''2''''''''''''''0''''''''''''''''0''''''''7'''''''">
              <a:rPr lang="de-DE" altLang="en-US" sz="1400" smtClean="0">
                <a:sym typeface="+mn-lt"/>
              </a:rPr>
              <a:pPr lvl="1" algn="r">
                <a:spcBef>
                  <a:spcPct val="0"/>
                </a:spcBef>
                <a:spcAft>
                  <a:spcPct val="0"/>
                </a:spcAft>
              </a:pPr>
              <a:t>2007</a:t>
            </a:fld>
            <a:endParaRPr lang="de-DE" sz="1400" dirty="0">
              <a:sym typeface="+mn-lt"/>
            </a:endParaRPr>
          </a:p>
        </p:txBody>
      </p:sp>
      <p:sp>
        <p:nvSpPr>
          <p:cNvPr id="138" name="Textplatzhalter 2">
            <a:extLst>
              <a:ext uri="{FF2B5EF4-FFF2-40B4-BE49-F238E27FC236}">
                <a16:creationId xmlns:a16="http://schemas.microsoft.com/office/drawing/2014/main" xmlns="" id="{84647AF1-4364-4FAC-B952-28B4581E046C}"/>
              </a:ext>
            </a:extLst>
          </p:cNvPr>
          <p:cNvSpPr>
            <a:spLocks noGrp="1"/>
          </p:cNvSpPr>
          <p:nvPr>
            <p:custDataLst>
              <p:tags r:id="rId32"/>
            </p:custDataLst>
          </p:nvPr>
        </p:nvSpPr>
        <p:spPr bwMode="auto">
          <a:xfrm>
            <a:off x="480060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A965E257-74A3-408D-80F9-744A799216BA}" type="datetime'''''''''''''''''2''''0''''13'''''''''''''''''''''''''''''''''">
              <a:rPr lang="de-DE" altLang="en-US" sz="1400" smtClean="0">
                <a:sym typeface="+mn-lt"/>
              </a:rPr>
              <a:pPr lvl="1" algn="r">
                <a:spcBef>
                  <a:spcPct val="0"/>
                </a:spcBef>
                <a:spcAft>
                  <a:spcPct val="0"/>
                </a:spcAft>
              </a:pPr>
              <a:t>2013</a:t>
            </a:fld>
            <a:endParaRPr lang="de-DE" sz="1400" dirty="0">
              <a:sym typeface="+mn-lt"/>
            </a:endParaRPr>
          </a:p>
        </p:txBody>
      </p:sp>
      <p:sp>
        <p:nvSpPr>
          <p:cNvPr id="134" name="Textplatzhalter 2">
            <a:extLst>
              <a:ext uri="{FF2B5EF4-FFF2-40B4-BE49-F238E27FC236}">
                <a16:creationId xmlns:a16="http://schemas.microsoft.com/office/drawing/2014/main" xmlns="" id="{3CAAE3A1-5544-4ADC-B0D1-117F84138306}"/>
              </a:ext>
            </a:extLst>
          </p:cNvPr>
          <p:cNvSpPr>
            <a:spLocks noGrp="1"/>
          </p:cNvSpPr>
          <p:nvPr>
            <p:custDataLst>
              <p:tags r:id="rId33"/>
            </p:custDataLst>
          </p:nvPr>
        </p:nvSpPr>
        <p:spPr bwMode="auto">
          <a:xfrm>
            <a:off x="410210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C777D2B-F4BD-4D62-843C-7A51E347E515}" type="datetime'''''''''''''''''''2''''''0''''0''''''''9'''">
              <a:rPr lang="de-DE" altLang="en-US" sz="1400" smtClean="0">
                <a:sym typeface="+mn-lt"/>
              </a:rPr>
              <a:pPr lvl="1" algn="r">
                <a:spcBef>
                  <a:spcPct val="0"/>
                </a:spcBef>
                <a:spcAft>
                  <a:spcPct val="0"/>
                </a:spcAft>
              </a:pPr>
              <a:t>2009</a:t>
            </a:fld>
            <a:endParaRPr lang="de-DE" sz="1400" dirty="0">
              <a:sym typeface="+mn-lt"/>
            </a:endParaRPr>
          </a:p>
        </p:txBody>
      </p:sp>
      <p:sp>
        <p:nvSpPr>
          <p:cNvPr id="136" name="Textplatzhalter 2">
            <a:extLst>
              <a:ext uri="{FF2B5EF4-FFF2-40B4-BE49-F238E27FC236}">
                <a16:creationId xmlns:a16="http://schemas.microsoft.com/office/drawing/2014/main" xmlns="" id="{C3F5FE44-4C84-4D7F-9030-8822D05B6EC6}"/>
              </a:ext>
            </a:extLst>
          </p:cNvPr>
          <p:cNvSpPr>
            <a:spLocks noGrp="1"/>
          </p:cNvSpPr>
          <p:nvPr>
            <p:custDataLst>
              <p:tags r:id="rId34"/>
            </p:custDataLst>
          </p:nvPr>
        </p:nvSpPr>
        <p:spPr bwMode="auto">
          <a:xfrm>
            <a:off x="4451350" y="5003800"/>
            <a:ext cx="212725"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FE0253E3-3B56-4114-93EE-D5B9D81C8760}" type="datetime'''2''''''''''''''''''0''''''''''''''1''''''''''''1'''''''''''">
              <a:rPr lang="de-DE" altLang="en-US" sz="1400" smtClean="0">
                <a:sym typeface="+mn-lt"/>
              </a:rPr>
              <a:pPr lvl="1" algn="r">
                <a:spcBef>
                  <a:spcPct val="0"/>
                </a:spcBef>
                <a:spcAft>
                  <a:spcPct val="0"/>
                </a:spcAft>
              </a:pPr>
              <a:t>2011</a:t>
            </a:fld>
            <a:endParaRPr lang="de-DE" sz="1400" dirty="0">
              <a:sym typeface="+mn-lt"/>
            </a:endParaRPr>
          </a:p>
        </p:txBody>
      </p:sp>
      <p:sp>
        <p:nvSpPr>
          <p:cNvPr id="137" name="Textplatzhalter 2">
            <a:extLst>
              <a:ext uri="{FF2B5EF4-FFF2-40B4-BE49-F238E27FC236}">
                <a16:creationId xmlns:a16="http://schemas.microsoft.com/office/drawing/2014/main" xmlns="" id="{0E9D7B5B-B063-4542-ACE7-8C5A0401A6E9}"/>
              </a:ext>
            </a:extLst>
          </p:cNvPr>
          <p:cNvSpPr>
            <a:spLocks noGrp="1"/>
          </p:cNvSpPr>
          <p:nvPr>
            <p:custDataLst>
              <p:tags r:id="rId35"/>
            </p:custDataLst>
          </p:nvPr>
        </p:nvSpPr>
        <p:spPr bwMode="auto">
          <a:xfrm>
            <a:off x="462597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87A1CFD-0E32-42AC-90EF-47789AD43554}" type="datetime'''20''''''''''1''''''''''''2'">
              <a:rPr lang="de-DE" altLang="en-US" sz="1400" smtClean="0">
                <a:sym typeface="+mn-lt"/>
              </a:rPr>
              <a:pPr lvl="1" algn="r">
                <a:spcBef>
                  <a:spcPct val="0"/>
                </a:spcBef>
                <a:spcAft>
                  <a:spcPct val="0"/>
                </a:spcAft>
              </a:pPr>
              <a:t>2012</a:t>
            </a:fld>
            <a:endParaRPr lang="de-DE" sz="1400" dirty="0">
              <a:sym typeface="+mn-lt"/>
            </a:endParaRPr>
          </a:p>
        </p:txBody>
      </p:sp>
      <p:sp>
        <p:nvSpPr>
          <p:cNvPr id="140" name="Textplatzhalter 2">
            <a:extLst>
              <a:ext uri="{FF2B5EF4-FFF2-40B4-BE49-F238E27FC236}">
                <a16:creationId xmlns:a16="http://schemas.microsoft.com/office/drawing/2014/main" xmlns="" id="{B9D3C93B-3E59-4FD1-BE09-FC61281054FA}"/>
              </a:ext>
            </a:extLst>
          </p:cNvPr>
          <p:cNvSpPr>
            <a:spLocks noGrp="1"/>
          </p:cNvSpPr>
          <p:nvPr>
            <p:custDataLst>
              <p:tags r:id="rId36"/>
            </p:custDataLst>
          </p:nvPr>
        </p:nvSpPr>
        <p:spPr bwMode="auto">
          <a:xfrm>
            <a:off x="514826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FEBC2F3-72CF-49B5-BC70-D272D12F09B9}" type="datetime'''''''''''''''''''''''''''''''20''''''''''''''''15'''''">
              <a:rPr lang="de-DE" altLang="en-US" sz="1400" smtClean="0">
                <a:sym typeface="+mn-lt"/>
              </a:rPr>
              <a:pPr lvl="1" algn="r">
                <a:spcBef>
                  <a:spcPct val="0"/>
                </a:spcBef>
                <a:spcAft>
                  <a:spcPct val="0"/>
                </a:spcAft>
              </a:pPr>
              <a:t>2015</a:t>
            </a:fld>
            <a:endParaRPr lang="de-DE" sz="1400" dirty="0">
              <a:sym typeface="+mn-lt"/>
            </a:endParaRPr>
          </a:p>
        </p:txBody>
      </p:sp>
      <p:sp>
        <p:nvSpPr>
          <p:cNvPr id="141" name="Textplatzhalter 2">
            <a:extLst>
              <a:ext uri="{FF2B5EF4-FFF2-40B4-BE49-F238E27FC236}">
                <a16:creationId xmlns:a16="http://schemas.microsoft.com/office/drawing/2014/main" xmlns="" id="{7F75DBA5-93BB-42CA-BDB3-40D1E6922120}"/>
              </a:ext>
            </a:extLst>
          </p:cNvPr>
          <p:cNvSpPr>
            <a:spLocks noGrp="1"/>
          </p:cNvSpPr>
          <p:nvPr>
            <p:custDataLst>
              <p:tags r:id="rId37"/>
            </p:custDataLst>
          </p:nvPr>
        </p:nvSpPr>
        <p:spPr bwMode="auto">
          <a:xfrm>
            <a:off x="532288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54F1261-D9E3-456A-A241-BCC48F171C8B}" type="datetime'2''''''''''''''''''''''0''''''''1''''6'''''''''''">
              <a:rPr lang="de-DE" altLang="en-US" sz="1400" smtClean="0">
                <a:sym typeface="+mn-lt"/>
              </a:rPr>
              <a:pPr lvl="1" algn="r">
                <a:spcBef>
                  <a:spcPct val="0"/>
                </a:spcBef>
                <a:spcAft>
                  <a:spcPct val="0"/>
                </a:spcAft>
              </a:pPr>
              <a:t>2016</a:t>
            </a:fld>
            <a:endParaRPr lang="de-DE" sz="1400" dirty="0">
              <a:sym typeface="+mn-lt"/>
            </a:endParaRPr>
          </a:p>
        </p:txBody>
      </p:sp>
      <p:sp>
        <p:nvSpPr>
          <p:cNvPr id="118" name="Textplatzhalter 2">
            <a:extLst>
              <a:ext uri="{FF2B5EF4-FFF2-40B4-BE49-F238E27FC236}">
                <a16:creationId xmlns:a16="http://schemas.microsoft.com/office/drawing/2014/main" xmlns="" id="{23375C37-4BFA-45CA-889A-1698E7353DB7}"/>
              </a:ext>
            </a:extLst>
          </p:cNvPr>
          <p:cNvSpPr>
            <a:spLocks noGrp="1"/>
          </p:cNvSpPr>
          <p:nvPr>
            <p:custDataLst>
              <p:tags r:id="rId38"/>
            </p:custDataLst>
          </p:nvPr>
        </p:nvSpPr>
        <p:spPr bwMode="auto">
          <a:xfrm>
            <a:off x="131127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4DC14F3B-5F9D-45FB-B7CE-84EA33B3F068}" type="datetime'''''''''''''''''''1''''''9''''''''''''''''''9''3'''">
              <a:rPr lang="de-DE" altLang="en-US" sz="1400" smtClean="0">
                <a:sym typeface="+mn-lt"/>
              </a:rPr>
              <a:pPr lvl="1" algn="r">
                <a:spcBef>
                  <a:spcPct val="0"/>
                </a:spcBef>
                <a:spcAft>
                  <a:spcPct val="0"/>
                </a:spcAft>
              </a:pPr>
              <a:t>1993</a:t>
            </a:fld>
            <a:endParaRPr lang="de-DE" sz="1400" dirty="0">
              <a:sym typeface="+mn-lt"/>
            </a:endParaRPr>
          </a:p>
        </p:txBody>
      </p:sp>
      <p:sp>
        <p:nvSpPr>
          <p:cNvPr id="128" name="Textplatzhalter 2">
            <a:extLst>
              <a:ext uri="{FF2B5EF4-FFF2-40B4-BE49-F238E27FC236}">
                <a16:creationId xmlns:a16="http://schemas.microsoft.com/office/drawing/2014/main" xmlns="" id="{CC9B704E-D649-43B4-9B2C-1C44C40E8958}"/>
              </a:ext>
            </a:extLst>
          </p:cNvPr>
          <p:cNvSpPr>
            <a:spLocks noGrp="1"/>
          </p:cNvSpPr>
          <p:nvPr>
            <p:custDataLst>
              <p:tags r:id="rId39"/>
            </p:custDataLst>
          </p:nvPr>
        </p:nvSpPr>
        <p:spPr bwMode="auto">
          <a:xfrm>
            <a:off x="30559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31136A2-6DD9-487D-84DA-26BB68A8F120}" type="datetime'''''''''''''''2''''''0''''''''''''''''03'''''''">
              <a:rPr lang="de-DE" altLang="en-US" sz="1400" smtClean="0">
                <a:sym typeface="+mn-lt"/>
              </a:rPr>
              <a:pPr lvl="1" algn="r">
                <a:spcBef>
                  <a:spcPct val="0"/>
                </a:spcBef>
                <a:spcAft>
                  <a:spcPct val="0"/>
                </a:spcAft>
              </a:pPr>
              <a:t>2003</a:t>
            </a:fld>
            <a:endParaRPr lang="de-DE" sz="1400" dirty="0">
              <a:sym typeface="+mn-lt"/>
            </a:endParaRPr>
          </a:p>
        </p:txBody>
      </p:sp>
      <p:sp>
        <p:nvSpPr>
          <p:cNvPr id="142" name="Textplatzhalter 2">
            <a:extLst>
              <a:ext uri="{FF2B5EF4-FFF2-40B4-BE49-F238E27FC236}">
                <a16:creationId xmlns:a16="http://schemas.microsoft.com/office/drawing/2014/main" xmlns="" id="{5371FB7B-0EA4-4EEF-AAD4-E420DB837F19}"/>
              </a:ext>
            </a:extLst>
          </p:cNvPr>
          <p:cNvSpPr>
            <a:spLocks noGrp="1"/>
          </p:cNvSpPr>
          <p:nvPr>
            <p:custDataLst>
              <p:tags r:id="rId40"/>
            </p:custDataLst>
          </p:nvPr>
        </p:nvSpPr>
        <p:spPr bwMode="auto">
          <a:xfrm>
            <a:off x="549751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7EF87E2-FAB9-431C-A72D-9358FF0163E9}" type="datetime'20''1''''''''''''''''''''''''''''''''''''''''7'''''''">
              <a:rPr lang="de-DE" altLang="en-US" sz="1400" smtClean="0">
                <a:sym typeface="+mn-lt"/>
              </a:rPr>
              <a:pPr lvl="1" algn="r">
                <a:spcBef>
                  <a:spcPct val="0"/>
                </a:spcBef>
                <a:spcAft>
                  <a:spcPct val="0"/>
                </a:spcAft>
              </a:pPr>
              <a:t>2017</a:t>
            </a:fld>
            <a:endParaRPr lang="de-DE" sz="1400" dirty="0">
              <a:sym typeface="+mn-lt"/>
            </a:endParaRPr>
          </a:p>
        </p:txBody>
      </p:sp>
      <p:sp>
        <p:nvSpPr>
          <p:cNvPr id="120" name="Textplatzhalter 2">
            <a:extLst>
              <a:ext uri="{FF2B5EF4-FFF2-40B4-BE49-F238E27FC236}">
                <a16:creationId xmlns:a16="http://schemas.microsoft.com/office/drawing/2014/main" xmlns="" id="{7558F3A3-DBBB-4F00-B383-3818BC53F704}"/>
              </a:ext>
            </a:extLst>
          </p:cNvPr>
          <p:cNvSpPr>
            <a:spLocks noGrp="1"/>
          </p:cNvSpPr>
          <p:nvPr>
            <p:custDataLst>
              <p:tags r:id="rId41"/>
            </p:custDataLst>
          </p:nvPr>
        </p:nvSpPr>
        <p:spPr bwMode="auto">
          <a:xfrm>
            <a:off x="166052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CE3ACD8-2E92-4F0B-A005-70FE0BF6DAFD}" type="datetime'''''''''''''''''''1''9''''''''''9''5'''''''''''''''''''''">
              <a:rPr lang="de-DE" altLang="en-US" sz="1400" smtClean="0">
                <a:sym typeface="+mn-lt"/>
              </a:rPr>
              <a:pPr lvl="1" algn="r">
                <a:spcBef>
                  <a:spcPct val="0"/>
                </a:spcBef>
                <a:spcAft>
                  <a:spcPct val="0"/>
                </a:spcAft>
              </a:pPr>
              <a:t>1995</a:t>
            </a:fld>
            <a:endParaRPr lang="de-DE" sz="1400" dirty="0">
              <a:sym typeface="+mn-lt"/>
            </a:endParaRPr>
          </a:p>
        </p:txBody>
      </p:sp>
      <p:sp>
        <p:nvSpPr>
          <p:cNvPr id="126" name="Textplatzhalter 2">
            <a:extLst>
              <a:ext uri="{FF2B5EF4-FFF2-40B4-BE49-F238E27FC236}">
                <a16:creationId xmlns:a16="http://schemas.microsoft.com/office/drawing/2014/main" xmlns="" id="{186EAEEA-713E-4E40-8722-DC93A3A2C08E}"/>
              </a:ext>
            </a:extLst>
          </p:cNvPr>
          <p:cNvSpPr>
            <a:spLocks noGrp="1"/>
          </p:cNvSpPr>
          <p:nvPr>
            <p:custDataLst>
              <p:tags r:id="rId42"/>
            </p:custDataLst>
          </p:nvPr>
        </p:nvSpPr>
        <p:spPr bwMode="auto">
          <a:xfrm>
            <a:off x="270668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F9A7C4FA-3F6E-467E-BD34-AFDBFBDFD51A}" type="datetime'''''20''''''01'''''''''''''''''''''''''''''''''''''">
              <a:rPr lang="de-DE" altLang="en-US" sz="1400" smtClean="0">
                <a:sym typeface="+mn-lt"/>
              </a:rPr>
              <a:pPr lvl="1" algn="r">
                <a:spcBef>
                  <a:spcPct val="0"/>
                </a:spcBef>
                <a:spcAft>
                  <a:spcPct val="0"/>
                </a:spcAft>
              </a:pPr>
              <a:t>2001</a:t>
            </a:fld>
            <a:endParaRPr lang="de-DE" sz="1400" dirty="0">
              <a:sym typeface="+mn-lt"/>
            </a:endParaRPr>
          </a:p>
        </p:txBody>
      </p:sp>
      <p:sp>
        <p:nvSpPr>
          <p:cNvPr id="147" name="Textplatzhalter 2">
            <a:extLst>
              <a:ext uri="{FF2B5EF4-FFF2-40B4-BE49-F238E27FC236}">
                <a16:creationId xmlns:a16="http://schemas.microsoft.com/office/drawing/2014/main" xmlns="" id="{9C037FB8-E3C3-4EC8-9983-30EA5C2FC875}"/>
              </a:ext>
            </a:extLst>
          </p:cNvPr>
          <p:cNvSpPr>
            <a:spLocks noGrp="1"/>
          </p:cNvSpPr>
          <p:nvPr>
            <p:custDataLst>
              <p:tags r:id="rId43"/>
            </p:custDataLst>
          </p:nvPr>
        </p:nvSpPr>
        <p:spPr bwMode="auto">
          <a:xfrm>
            <a:off x="3213100" y="3581400"/>
            <a:ext cx="579438" cy="301625"/>
          </a:xfrm>
          <a:prstGeom prst="ellipse">
            <a:avLst/>
          </a:prstGeom>
          <a:solidFill>
            <a:schemeClr val="bg1"/>
          </a:solidFill>
          <a:ln w="9525" algn="ctr">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105FCFE7-769B-4996-9A40-31F5A1E4B573}" type="datetime'''''+''''''''''''''''''''''''''''''''''''6 %'''''''">
              <a:rPr lang="de-DE" altLang="en-US" sz="1400" b="1" smtClean="0"/>
              <a:pPr lvl="1" algn="ctr">
                <a:spcBef>
                  <a:spcPct val="0"/>
                </a:spcBef>
                <a:spcAft>
                  <a:spcPct val="0"/>
                </a:spcAft>
              </a:pPr>
              <a:t>+6 %</a:t>
            </a:fld>
            <a:endParaRPr lang="de-DE" sz="1400" b="1" dirty="0">
              <a:sym typeface="+mn-lt"/>
            </a:endParaRPr>
          </a:p>
        </p:txBody>
      </p:sp>
      <p:sp>
        <p:nvSpPr>
          <p:cNvPr id="58" name="Textplatzhalter 2">
            <a:extLst>
              <a:ext uri="{FF2B5EF4-FFF2-40B4-BE49-F238E27FC236}">
                <a16:creationId xmlns:a16="http://schemas.microsoft.com/office/drawing/2014/main" xmlns="" id="{5ECFF3C7-FEB3-4010-9713-ABB6D6FA4A45}"/>
              </a:ext>
            </a:extLst>
          </p:cNvPr>
          <p:cNvSpPr>
            <a:spLocks noGrp="1"/>
          </p:cNvSpPr>
          <p:nvPr>
            <p:custDataLst>
              <p:tags r:id="rId44"/>
            </p:custDataLst>
          </p:nvPr>
        </p:nvSpPr>
        <p:spPr bwMode="auto">
          <a:xfrm>
            <a:off x="4746625" y="2152650"/>
            <a:ext cx="858838" cy="301625"/>
          </a:xfrm>
          <a:prstGeom prst="ellipse">
            <a:avLst/>
          </a:prstGeom>
          <a:solidFill>
            <a:schemeClr val="bg1"/>
          </a:solidFill>
          <a:ln w="9525">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9A9E291F-D12C-425C-8A6B-6E65BF696DC1}" type="datetime'''+''''''''''1''''''4''''''''''''9'''''''' ''%'''''''''''">
              <a:rPr lang="de-DE" altLang="en-US" sz="1400" b="1" smtClean="0"/>
              <a:pPr lvl="1" algn="ctr">
                <a:spcBef>
                  <a:spcPct val="0"/>
                </a:spcBef>
                <a:spcAft>
                  <a:spcPct val="0"/>
                </a:spcAft>
              </a:pPr>
              <a:t>+149 %</a:t>
            </a:fld>
            <a:endParaRPr lang="de-DE" sz="1400" b="1" dirty="0">
              <a:sym typeface="+mn-lt"/>
            </a:endParaRPr>
          </a:p>
        </p:txBody>
      </p:sp>
      <p:cxnSp>
        <p:nvCxnSpPr>
          <p:cNvPr id="40" name="Gerader Verbinder 49">
            <a:extLst>
              <a:ext uri="{FF2B5EF4-FFF2-40B4-BE49-F238E27FC236}">
                <a16:creationId xmlns:a16="http://schemas.microsoft.com/office/drawing/2014/main" xmlns="" id="{27B19CDD-A174-42DF-AE27-1B9AE07D998F}"/>
              </a:ext>
            </a:extLst>
          </p:cNvPr>
          <p:cNvCxnSpPr>
            <a:cxnSpLocks/>
          </p:cNvCxnSpPr>
          <p:nvPr/>
        </p:nvCxnSpPr>
        <p:spPr>
          <a:xfrm>
            <a:off x="4725848" y="2492375"/>
            <a:ext cx="0" cy="2449513"/>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xmlns="" id="{D0E28AD6-CC4B-4965-8C9F-438E173A4B82}"/>
              </a:ext>
            </a:extLst>
          </p:cNvPr>
          <p:cNvSpPr txBox="1"/>
          <p:nvPr/>
        </p:nvSpPr>
        <p:spPr>
          <a:xfrm>
            <a:off x="451758" y="5847075"/>
            <a:ext cx="8164800" cy="246221"/>
          </a:xfrm>
          <a:prstGeom prst="rect">
            <a:avLst/>
          </a:prstGeom>
          <a:noFill/>
        </p:spPr>
        <p:txBody>
          <a:bodyPr wrap="square" rtlCol="0">
            <a:spAutoFit/>
          </a:bodyPr>
          <a:lstStyle/>
          <a:p>
            <a:pPr marL="0" lvl="1">
              <a:tabLst>
                <a:tab pos="180975" algn="l"/>
              </a:tabLst>
            </a:pPr>
            <a:r>
              <a:rPr lang="de-DE" sz="1000" dirty="0"/>
              <a:t>Quelle: Vortrag Winkler Agora Tagung</a:t>
            </a:r>
          </a:p>
        </p:txBody>
      </p:sp>
      <p:cxnSp>
        <p:nvCxnSpPr>
          <p:cNvPr id="63" name="Gerade Verbindung 6">
            <a:extLst>
              <a:ext uri="{FF2B5EF4-FFF2-40B4-BE49-F238E27FC236}">
                <a16:creationId xmlns:a16="http://schemas.microsoft.com/office/drawing/2014/main" xmlns="" id="{562092E3-F294-4EA1-AE6F-B88DFE35F838}"/>
              </a:ext>
            </a:extLst>
          </p:cNvPr>
          <p:cNvCxnSpPr/>
          <p:nvPr>
            <p:custDataLst>
              <p:tags r:id="rId45"/>
            </p:custDataLst>
          </p:nvPr>
        </p:nvCxnSpPr>
        <p:spPr>
          <a:xfrm>
            <a:off x="539552" y="5661248"/>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Gerader Verbinder 49">
            <a:extLst>
              <a:ext uri="{FF2B5EF4-FFF2-40B4-BE49-F238E27FC236}">
                <a16:creationId xmlns:a16="http://schemas.microsoft.com/office/drawing/2014/main" xmlns="" id="{F8596D8C-1F15-42DE-97F0-3EA276AA6291}"/>
              </a:ext>
            </a:extLst>
          </p:cNvPr>
          <p:cNvCxnSpPr>
            <a:cxnSpLocks/>
          </p:cNvCxnSpPr>
          <p:nvPr/>
        </p:nvCxnSpPr>
        <p:spPr>
          <a:xfrm flipH="1">
            <a:off x="547218" y="5784279"/>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65" name="Rechteck 64">
            <a:extLst>
              <a:ext uri="{FF2B5EF4-FFF2-40B4-BE49-F238E27FC236}">
                <a16:creationId xmlns:a16="http://schemas.microsoft.com/office/drawing/2014/main" xmlns="" id="{6130780A-EC0B-4820-8691-57D3DFB6F300}"/>
              </a:ext>
            </a:extLst>
          </p:cNvPr>
          <p:cNvSpPr/>
          <p:nvPr/>
        </p:nvSpPr>
        <p:spPr>
          <a:xfrm>
            <a:off x="887781" y="5661248"/>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Jahreskarte Juni 2012</a:t>
            </a:r>
          </a:p>
        </p:txBody>
      </p:sp>
      <p:grpSp>
        <p:nvGrpSpPr>
          <p:cNvPr id="67" name="Gruppieren 66">
            <a:extLst>
              <a:ext uri="{FF2B5EF4-FFF2-40B4-BE49-F238E27FC236}">
                <a16:creationId xmlns:a16="http://schemas.microsoft.com/office/drawing/2014/main" xmlns="" id="{E2BD6B0B-16ED-45A2-A817-78D5D81BAE46}"/>
              </a:ext>
            </a:extLst>
          </p:cNvPr>
          <p:cNvGrpSpPr/>
          <p:nvPr/>
        </p:nvGrpSpPr>
        <p:grpSpPr>
          <a:xfrm>
            <a:off x="5477644" y="1628800"/>
            <a:ext cx="390500" cy="390500"/>
            <a:chOff x="5508104" y="1628800"/>
            <a:chExt cx="360040" cy="360040"/>
          </a:xfrm>
        </p:grpSpPr>
        <p:sp>
          <p:nvSpPr>
            <p:cNvPr id="68" name="Ellipse 67">
              <a:extLst>
                <a:ext uri="{FF2B5EF4-FFF2-40B4-BE49-F238E27FC236}">
                  <a16:creationId xmlns:a16="http://schemas.microsoft.com/office/drawing/2014/main" xmlns="" id="{A15DC3DF-D818-4786-8595-602DDE4B2F3C}"/>
                </a:ext>
              </a:extLst>
            </p:cNvPr>
            <p:cNvSpPr/>
            <p:nvPr/>
          </p:nvSpPr>
          <p:spPr>
            <a:xfrm>
              <a:off x="5508104" y="162880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9" name="Grafik 68">
              <a:extLst>
                <a:ext uri="{FF2B5EF4-FFF2-40B4-BE49-F238E27FC236}">
                  <a16:creationId xmlns:a16="http://schemas.microsoft.com/office/drawing/2014/main" xmlns="" id="{108EA089-70DF-438B-9823-58358E32DFCA}"/>
                </a:ext>
              </a:extLst>
            </p:cNvPr>
            <p:cNvPicPr>
              <a:picLocks noChangeAspect="1"/>
            </p:cNvPicPr>
            <p:nvPr/>
          </p:nvPicPr>
          <p:blipFill>
            <a:blip r:embed="rId51">
              <a:duotone>
                <a:schemeClr val="accent5">
                  <a:shade val="45000"/>
                  <a:satMod val="135000"/>
                </a:schemeClr>
                <a:prstClr val="white"/>
              </a:duotone>
              <a:extLst>
                <a:ext uri="{BEBA8EAE-BF5A-486C-A8C5-ECC9F3942E4B}">
                  <a14:imgProps xmlns:a14="http://schemas.microsoft.com/office/drawing/2010/main">
                    <a14:imgLayer r:embed="rId52">
                      <a14:imgEffect>
                        <a14:brightnessContrast contrast="-70000"/>
                      </a14:imgEffect>
                    </a14:imgLayer>
                  </a14:imgProps>
                </a:ext>
              </a:extLst>
            </a:blip>
            <a:stretch>
              <a:fillRect/>
            </a:stretch>
          </p:blipFill>
          <p:spPr>
            <a:xfrm>
              <a:off x="5582380" y="1689364"/>
              <a:ext cx="230527" cy="230527"/>
            </a:xfrm>
            <a:prstGeom prst="rect">
              <a:avLst/>
            </a:prstGeom>
          </p:spPr>
        </p:pic>
      </p:grpSp>
      <p:sp>
        <p:nvSpPr>
          <p:cNvPr id="72" name="Textfeld 71">
            <a:extLst>
              <a:ext uri="{FF2B5EF4-FFF2-40B4-BE49-F238E27FC236}">
                <a16:creationId xmlns:a16="http://schemas.microsoft.com/office/drawing/2014/main" xmlns="" id="{558DD5C0-5312-442D-9271-BB7289D675F2}"/>
              </a:ext>
            </a:extLst>
          </p:cNvPr>
          <p:cNvSpPr txBox="1"/>
          <p:nvPr/>
        </p:nvSpPr>
        <p:spPr>
          <a:xfrm>
            <a:off x="1331640" y="4756502"/>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Tree>
    <p:extLst>
      <p:ext uri="{BB962C8B-B14F-4D97-AF65-F5344CB8AC3E}">
        <p14:creationId xmlns:p14="http://schemas.microsoft.com/office/powerpoint/2010/main" val="1277074448"/>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3405" name="think-cell Folie" r:id="rId36" imgW="270" imgH="270" progId="TCLayout.ActiveDocument.1">
                  <p:embed/>
                </p:oleObj>
              </mc:Choice>
              <mc:Fallback>
                <p:oleObj name="think-cell Folie" r:id="rId36" imgW="270" imgH="270" progId="TCLayout.ActiveDocument.1">
                  <p:embed/>
                  <p:pic>
                    <p:nvPicPr>
                      <p:cNvPr id="6" name="Objekt 5"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1400" dirty="0">
              <a:solidFill>
                <a:schemeClr val="tx1"/>
              </a:solidFill>
              <a:sym typeface="+mn-lt"/>
            </a:endParaRPr>
          </a:p>
        </p:txBody>
      </p:sp>
      <p:sp>
        <p:nvSpPr>
          <p:cNvPr id="70" name="Inhaltsplatzhalter 2">
            <a:extLst>
              <a:ext uri="{FF2B5EF4-FFF2-40B4-BE49-F238E27FC236}">
                <a16:creationId xmlns:a16="http://schemas.microsoft.com/office/drawing/2014/main" xmlns="" id="{49AEB2EB-0AC5-4B74-A1D1-7DF718514E7B}"/>
              </a:ext>
            </a:extLst>
          </p:cNvPr>
          <p:cNvSpPr txBox="1">
            <a:spLocks/>
          </p:cNvSpPr>
          <p:nvPr/>
        </p:nvSpPr>
        <p:spPr>
          <a:xfrm>
            <a:off x="5916613" y="2061022"/>
            <a:ext cx="2735954"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Im Jahr 2018 erzielte Wien Einnahmen aus Parkgebühren in der Höhe von rund 120 Mio. €</a:t>
            </a:r>
          </a:p>
          <a:p>
            <a:pPr lvl="2"/>
            <a:r>
              <a:rPr lang="de-DE" sz="1400" dirty="0"/>
              <a:t>Die Einnahmen aus Strafgebühren beliefen sich auf rund 66 Mio. €</a:t>
            </a:r>
          </a:p>
          <a:p>
            <a:pPr lvl="2"/>
            <a:r>
              <a:rPr lang="de-DE" sz="1400" dirty="0"/>
              <a:t>Pro Einwohner werden rund 104 € pro Jahr mit der Parkraumbewirtschaftung eingenommen</a:t>
            </a:r>
          </a:p>
        </p:txBody>
      </p:sp>
      <p:sp>
        <p:nvSpPr>
          <p:cNvPr id="2" name="Titel 1">
            <a:extLst>
              <a:ext uri="{FF2B5EF4-FFF2-40B4-BE49-F238E27FC236}">
                <a16:creationId xmlns:a16="http://schemas.microsoft.com/office/drawing/2014/main" xmlns="" id="{FD18AB81-62FB-4C8D-8B5E-A4ED27A98461}"/>
              </a:ext>
            </a:extLst>
          </p:cNvPr>
          <p:cNvSpPr>
            <a:spLocks noGrp="1"/>
          </p:cNvSpPr>
          <p:nvPr>
            <p:ph type="title"/>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Die Ausweitung und Intensivierung der Parkraum-bewirtschaftung führt zu deutlich steigenden Einnahmen</a:t>
            </a:r>
            <a:endParaRPr lang="de-DE" dirty="0"/>
          </a:p>
        </p:txBody>
      </p:sp>
      <p:sp>
        <p:nvSpPr>
          <p:cNvPr id="3" name="Inhaltsplatzhalter 2">
            <a:extLst>
              <a:ext uri="{FF2B5EF4-FFF2-40B4-BE49-F238E27FC236}">
                <a16:creationId xmlns:a16="http://schemas.microsoft.com/office/drawing/2014/main" xmlns="" id="{A9C37537-2B9C-45AD-B573-E53FF097A288}"/>
              </a:ext>
            </a:extLst>
          </p:cNvPr>
          <p:cNvSpPr>
            <a:spLocks noGrp="1"/>
          </p:cNvSpPr>
          <p:nvPr>
            <p:ph idx="1"/>
          </p:nvPr>
        </p:nvSpPr>
        <p:spPr>
          <a:xfrm>
            <a:off x="451758" y="1083558"/>
            <a:ext cx="6635010" cy="292316"/>
          </a:xfrm>
        </p:spPr>
        <p:txBody>
          <a:bodyPr/>
          <a:lstStyle/>
          <a:p>
            <a:r>
              <a:rPr lang="de-DE" dirty="0"/>
              <a:t>Parkraumbewirtschaftung Wien</a:t>
            </a:r>
          </a:p>
        </p:txBody>
      </p:sp>
      <p:sp>
        <p:nvSpPr>
          <p:cNvPr id="4" name="Foliennummernplatzhalter 3">
            <a:extLst>
              <a:ext uri="{FF2B5EF4-FFF2-40B4-BE49-F238E27FC236}">
                <a16:creationId xmlns:a16="http://schemas.microsoft.com/office/drawing/2014/main" xmlns="" id="{B7EF17C9-3399-4461-A2FC-C726A1BD7D85}"/>
              </a:ext>
            </a:extLst>
          </p:cNvPr>
          <p:cNvSpPr>
            <a:spLocks noGrp="1"/>
          </p:cNvSpPr>
          <p:nvPr>
            <p:ph type="sldNum" sz="quarter" idx="11"/>
          </p:nvPr>
        </p:nvSpPr>
        <p:spPr/>
        <p:txBody>
          <a:bodyPr/>
          <a:lstStyle/>
          <a:p>
            <a:fld id="{CD21EFEB-933F-4F46-A5AD-B6372944D9E5}" type="slidenum">
              <a:rPr lang="de-DE" smtClean="0"/>
              <a:pPr/>
              <a:t>19</a:t>
            </a:fld>
            <a:endParaRPr lang="de-DE" dirty="0"/>
          </a:p>
        </p:txBody>
      </p:sp>
      <p:sp>
        <p:nvSpPr>
          <p:cNvPr id="9" name="Rechteck 8">
            <a:extLst>
              <a:ext uri="{FF2B5EF4-FFF2-40B4-BE49-F238E27FC236}">
                <a16:creationId xmlns:a16="http://schemas.microsoft.com/office/drawing/2014/main" xmlns="" id="{5DEC85F3-3AD0-41A3-927F-ADF5B3361CD7}"/>
              </a:ext>
            </a:extLst>
          </p:cNvPr>
          <p:cNvSpPr/>
          <p:nvPr/>
        </p:nvSpPr>
        <p:spPr>
          <a:xfrm>
            <a:off x="444500" y="1772665"/>
            <a:ext cx="4847580"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de-DE" sz="1400" b="1" dirty="0">
                <a:solidFill>
                  <a:schemeClr val="tx1"/>
                </a:solidFill>
              </a:rPr>
              <a:t>Einnahmen aus der Parkraumbewirtschaftung</a:t>
            </a:r>
          </a:p>
          <a:p>
            <a:pPr algn="l">
              <a:spcBef>
                <a:spcPts val="600"/>
              </a:spcBef>
            </a:pPr>
            <a:r>
              <a:rPr lang="de-DE" sz="1400" dirty="0">
                <a:solidFill>
                  <a:schemeClr val="tx1"/>
                </a:solidFill>
              </a:rPr>
              <a:t>in Mio. €</a:t>
            </a:r>
          </a:p>
        </p:txBody>
      </p:sp>
      <p:sp>
        <p:nvSpPr>
          <p:cNvPr id="10" name="Rechteck 9">
            <a:extLst>
              <a:ext uri="{FF2B5EF4-FFF2-40B4-BE49-F238E27FC236}">
                <a16:creationId xmlns:a16="http://schemas.microsoft.com/office/drawing/2014/main" xmlns="" id="{85C25577-4ED1-43B1-BD5C-5A524B11B83D}"/>
              </a:ext>
            </a:extLst>
          </p:cNvPr>
          <p:cNvSpPr/>
          <p:nvPr/>
        </p:nvSpPr>
        <p:spPr>
          <a:xfrm>
            <a:off x="5916613" y="1734565"/>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Erläuterung</a:t>
            </a:r>
          </a:p>
        </p:txBody>
      </p:sp>
      <p:cxnSp>
        <p:nvCxnSpPr>
          <p:cNvPr id="12" name="Gerade Verbindung 19">
            <a:extLst>
              <a:ext uri="{FF2B5EF4-FFF2-40B4-BE49-F238E27FC236}">
                <a16:creationId xmlns:a16="http://schemas.microsoft.com/office/drawing/2014/main" xmlns="" id="{1E0FBAFA-97B2-4146-9B65-3525ED330557}"/>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51" name="Chart 3">
            <a:extLst>
              <a:ext uri="{FF2B5EF4-FFF2-40B4-BE49-F238E27FC236}">
                <a16:creationId xmlns:a16="http://schemas.microsoft.com/office/drawing/2014/main" xmlns="" id="{65E16423-E730-4E34-8CD2-8BB17EFEC4F5}"/>
              </a:ext>
            </a:extLst>
          </p:cNvPr>
          <p:cNvGraphicFramePr/>
          <p:nvPr>
            <p:custDataLst>
              <p:tags r:id="rId4"/>
            </p:custDataLst>
          </p:nvPr>
        </p:nvGraphicFramePr>
        <p:xfrm>
          <a:off x="1249363" y="2409825"/>
          <a:ext cx="4700587" cy="2617788"/>
        </p:xfrm>
        <a:graphic>
          <a:graphicData uri="http://schemas.openxmlformats.org/drawingml/2006/chart">
            <c:chart xmlns:c="http://schemas.openxmlformats.org/drawingml/2006/chart" xmlns:r="http://schemas.openxmlformats.org/officeDocument/2006/relationships" r:id="rId38"/>
          </a:graphicData>
        </a:graphic>
      </p:graphicFrame>
      <p:sp>
        <p:nvSpPr>
          <p:cNvPr id="77" name="Textplatzhalter 2">
            <a:extLst>
              <a:ext uri="{FF2B5EF4-FFF2-40B4-BE49-F238E27FC236}">
                <a16:creationId xmlns:a16="http://schemas.microsoft.com/office/drawing/2014/main" xmlns="" id="{C7FDCC3E-67FF-4C75-B16D-958941ECCEEB}"/>
              </a:ext>
            </a:extLst>
          </p:cNvPr>
          <p:cNvSpPr>
            <a:spLocks noGrp="1"/>
          </p:cNvSpPr>
          <p:nvPr>
            <p:custDataLst>
              <p:tags r:id="rId5"/>
            </p:custDataLst>
          </p:nvPr>
        </p:nvSpPr>
        <p:spPr bwMode="gray">
          <a:xfrm>
            <a:off x="860425" y="2998788"/>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BA9721A-2C55-4E8B-A968-EC946D658ECD}" type="datetime'''''''''''''1''''''''''''''''''5''''''''''''''''''''0'">
              <a:rPr lang="de-DE" altLang="en-US" sz="1400" smtClean="0">
                <a:sym typeface="+mn-lt"/>
              </a:rPr>
              <a:pPr lvl="1" algn="r">
                <a:spcBef>
                  <a:spcPct val="0"/>
                </a:spcBef>
                <a:spcAft>
                  <a:spcPct val="0"/>
                </a:spcAft>
              </a:pPr>
              <a:t>150</a:t>
            </a:fld>
            <a:endParaRPr lang="de-DE" sz="1400" dirty="0">
              <a:sym typeface="+mn-lt"/>
            </a:endParaRPr>
          </a:p>
        </p:txBody>
      </p:sp>
      <p:sp>
        <p:nvSpPr>
          <p:cNvPr id="74" name="Textplatzhalter 2">
            <a:extLst>
              <a:ext uri="{FF2B5EF4-FFF2-40B4-BE49-F238E27FC236}">
                <a16:creationId xmlns:a16="http://schemas.microsoft.com/office/drawing/2014/main" xmlns="" id="{4C9A2C51-B232-4BBD-BA73-DCBC4493A350}"/>
              </a:ext>
            </a:extLst>
          </p:cNvPr>
          <p:cNvSpPr>
            <a:spLocks noGrp="1"/>
          </p:cNvSpPr>
          <p:nvPr>
            <p:custDataLst>
              <p:tags r:id="rId6"/>
            </p:custDataLst>
          </p:nvPr>
        </p:nvSpPr>
        <p:spPr bwMode="gray">
          <a:xfrm>
            <a:off x="1057275" y="4838700"/>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8A01911E-1A0A-45C2-BDAA-740539B48CAA}" type="datetime'''0'''">
              <a:rPr lang="de-DE" altLang="en-US" sz="1400" smtClean="0">
                <a:sym typeface="+mn-lt"/>
              </a:rPr>
              <a:pPr lvl="1" algn="r">
                <a:spcBef>
                  <a:spcPct val="0"/>
                </a:spcBef>
                <a:spcAft>
                  <a:spcPct val="0"/>
                </a:spcAft>
              </a:pPr>
              <a:t>0</a:t>
            </a:fld>
            <a:endParaRPr lang="de-DE" sz="1400" dirty="0">
              <a:sym typeface="+mn-lt"/>
            </a:endParaRPr>
          </a:p>
        </p:txBody>
      </p:sp>
      <p:sp>
        <p:nvSpPr>
          <p:cNvPr id="76" name="Textplatzhalter 2">
            <a:extLst>
              <a:ext uri="{FF2B5EF4-FFF2-40B4-BE49-F238E27FC236}">
                <a16:creationId xmlns:a16="http://schemas.microsoft.com/office/drawing/2014/main" xmlns="" id="{323A0D1E-CC85-4075-81F0-9D35DD414053}"/>
              </a:ext>
            </a:extLst>
          </p:cNvPr>
          <p:cNvSpPr>
            <a:spLocks noGrp="1"/>
          </p:cNvSpPr>
          <p:nvPr>
            <p:custDataLst>
              <p:tags r:id="rId7"/>
            </p:custDataLst>
          </p:nvPr>
        </p:nvSpPr>
        <p:spPr bwMode="gray">
          <a:xfrm>
            <a:off x="860425" y="3613150"/>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62E6E79-0338-478F-BDF1-4CA48705C1CB}" type="datetime'''''''''''''''''''''''''''''''1''''''''''''''00'''''''''''''''">
              <a:rPr lang="de-DE" altLang="en-US" sz="1400" smtClean="0">
                <a:sym typeface="+mn-lt"/>
              </a:rPr>
              <a:pPr lvl="1" algn="r">
                <a:spcBef>
                  <a:spcPct val="0"/>
                </a:spcBef>
                <a:spcAft>
                  <a:spcPct val="0"/>
                </a:spcAft>
              </a:pPr>
              <a:t>100</a:t>
            </a:fld>
            <a:endParaRPr lang="de-DE" sz="1400" dirty="0">
              <a:sym typeface="+mn-lt"/>
            </a:endParaRPr>
          </a:p>
        </p:txBody>
      </p:sp>
      <p:sp>
        <p:nvSpPr>
          <p:cNvPr id="75" name="Textplatzhalter 2">
            <a:extLst>
              <a:ext uri="{FF2B5EF4-FFF2-40B4-BE49-F238E27FC236}">
                <a16:creationId xmlns:a16="http://schemas.microsoft.com/office/drawing/2014/main" xmlns="" id="{6424A2F5-5DA9-4BC4-A332-126ACD6121B3}"/>
              </a:ext>
            </a:extLst>
          </p:cNvPr>
          <p:cNvSpPr>
            <a:spLocks noGrp="1"/>
          </p:cNvSpPr>
          <p:nvPr>
            <p:custDataLst>
              <p:tags r:id="rId8"/>
            </p:custDataLst>
          </p:nvPr>
        </p:nvSpPr>
        <p:spPr bwMode="gray">
          <a:xfrm>
            <a:off x="958849" y="4225925"/>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F4681A47-3263-4BDD-8768-13DCEDB2CFA5}" type="datetime'''''''''''''''''''''''''''''''5''''''''''''0'''''''''''''''">
              <a:rPr lang="de-DE" altLang="en-US" sz="1400" smtClean="0">
                <a:sym typeface="+mn-lt"/>
              </a:rPr>
              <a:pPr lvl="1" algn="r">
                <a:spcBef>
                  <a:spcPct val="0"/>
                </a:spcBef>
                <a:spcAft>
                  <a:spcPct val="0"/>
                </a:spcAft>
              </a:pPr>
              <a:t>50</a:t>
            </a:fld>
            <a:endParaRPr lang="de-DE" sz="1400" dirty="0">
              <a:sym typeface="+mn-lt"/>
            </a:endParaRPr>
          </a:p>
        </p:txBody>
      </p:sp>
      <p:sp>
        <p:nvSpPr>
          <p:cNvPr id="78" name="Textplatzhalter 2">
            <a:extLst>
              <a:ext uri="{FF2B5EF4-FFF2-40B4-BE49-F238E27FC236}">
                <a16:creationId xmlns:a16="http://schemas.microsoft.com/office/drawing/2014/main" xmlns="" id="{49CB8F67-4E7D-44CF-8912-3612F38D786B}"/>
              </a:ext>
            </a:extLst>
          </p:cNvPr>
          <p:cNvSpPr>
            <a:spLocks noGrp="1"/>
          </p:cNvSpPr>
          <p:nvPr>
            <p:custDataLst>
              <p:tags r:id="rId9"/>
            </p:custDataLst>
          </p:nvPr>
        </p:nvSpPr>
        <p:spPr bwMode="gray">
          <a:xfrm>
            <a:off x="860425" y="2386013"/>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2AC0F7A-7567-491F-B994-94E8B6AF4550}" type="datetime'''2''0''0'''">
              <a:rPr lang="de-DE" altLang="en-US" sz="1400" smtClean="0">
                <a:sym typeface="+mn-lt"/>
              </a:rPr>
              <a:pPr lvl="1" algn="r">
                <a:spcBef>
                  <a:spcPct val="0"/>
                </a:spcBef>
                <a:spcAft>
                  <a:spcPct val="0"/>
                </a:spcAft>
              </a:pPr>
              <a:t>200</a:t>
            </a:fld>
            <a:endParaRPr lang="de-DE" sz="1400" dirty="0">
              <a:sym typeface="+mn-lt"/>
            </a:endParaRPr>
          </a:p>
        </p:txBody>
      </p:sp>
      <p:cxnSp>
        <p:nvCxnSpPr>
          <p:cNvPr id="14" name="Gerader Verbinder 13">
            <a:extLst>
              <a:ext uri="{FF2B5EF4-FFF2-40B4-BE49-F238E27FC236}">
                <a16:creationId xmlns:a16="http://schemas.microsoft.com/office/drawing/2014/main" xmlns="" id="{46BFB6A0-486F-4F26-B56F-BFACE6563A09}"/>
              </a:ext>
            </a:extLst>
          </p:cNvPr>
          <p:cNvCxnSpPr/>
          <p:nvPr>
            <p:custDataLst>
              <p:tags r:id="rId10"/>
            </p:custDataLst>
          </p:nvPr>
        </p:nvCxnSpPr>
        <p:spPr bwMode="gray">
          <a:xfrm>
            <a:off x="1538288" y="3286125"/>
            <a:ext cx="1200150"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xmlns="" id="{6731CA71-B4CB-4C4C-847B-82EB3F678624}"/>
              </a:ext>
            </a:extLst>
          </p:cNvPr>
          <p:cNvCxnSpPr/>
          <p:nvPr>
            <p:custDataLst>
              <p:tags r:id="rId11"/>
            </p:custDataLst>
          </p:nvPr>
        </p:nvCxnSpPr>
        <p:spPr bwMode="gray">
          <a:xfrm flipV="1">
            <a:off x="1538288" y="3286125"/>
            <a:ext cx="0" cy="282575"/>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1D1B3946-9ED1-4127-BBB3-02042B21EDEC}"/>
              </a:ext>
            </a:extLst>
          </p:cNvPr>
          <p:cNvCxnSpPr/>
          <p:nvPr>
            <p:custDataLst>
              <p:tags r:id="rId12"/>
            </p:custDataLst>
          </p:nvPr>
        </p:nvCxnSpPr>
        <p:spPr bwMode="gray">
          <a:xfrm>
            <a:off x="2738438" y="3286125"/>
            <a:ext cx="0" cy="152400"/>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xmlns="" id="{32AE7E4A-4CCB-471F-A6C2-37E16BE552AA}"/>
              </a:ext>
            </a:extLst>
          </p:cNvPr>
          <p:cNvCxnSpPr/>
          <p:nvPr>
            <p:custDataLst>
              <p:tags r:id="rId13"/>
            </p:custDataLst>
          </p:nvPr>
        </p:nvCxnSpPr>
        <p:spPr bwMode="gray">
          <a:xfrm>
            <a:off x="2811463" y="2332038"/>
            <a:ext cx="2849563"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xmlns="" id="{9AD80326-9133-455E-94F5-D1A6B2791BE7}"/>
              </a:ext>
            </a:extLst>
          </p:cNvPr>
          <p:cNvCxnSpPr/>
          <p:nvPr>
            <p:custDataLst>
              <p:tags r:id="rId14"/>
            </p:custDataLst>
          </p:nvPr>
        </p:nvCxnSpPr>
        <p:spPr bwMode="gray">
          <a:xfrm flipV="1">
            <a:off x="2811463" y="2332038"/>
            <a:ext cx="0" cy="1106488"/>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xmlns="" id="{5B1EA185-2609-48CA-8ADD-FD46063464AC}"/>
              </a:ext>
            </a:extLst>
          </p:cNvPr>
          <p:cNvCxnSpPr/>
          <p:nvPr>
            <p:custDataLst>
              <p:tags r:id="rId15"/>
            </p:custDataLst>
          </p:nvPr>
        </p:nvCxnSpPr>
        <p:spPr bwMode="gray">
          <a:xfrm>
            <a:off x="5661025" y="2332037"/>
            <a:ext cx="0" cy="287338"/>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Textplatzhalter 2">
            <a:extLst>
              <a:ext uri="{FF2B5EF4-FFF2-40B4-BE49-F238E27FC236}">
                <a16:creationId xmlns:a16="http://schemas.microsoft.com/office/drawing/2014/main" xmlns="" id="{682F5612-0BAE-4E75-9BD6-3E878B223B9C}"/>
              </a:ext>
            </a:extLst>
          </p:cNvPr>
          <p:cNvSpPr>
            <a:spLocks noGrp="1"/>
          </p:cNvSpPr>
          <p:nvPr>
            <p:custDataLst>
              <p:tags r:id="rId16"/>
            </p:custDataLst>
          </p:nvPr>
        </p:nvSpPr>
        <p:spPr bwMode="auto">
          <a:xfrm>
            <a:off x="143192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E8A79B0-4A69-4539-BE5F-C50A07EA799A}" type="datetime'2''''''''''''0''''''''''''''''''''''''''''''''08'''''''''">
              <a:rPr lang="de-DE" altLang="en-US" sz="1400" smtClean="0">
                <a:sym typeface="+mn-lt"/>
              </a:rPr>
              <a:pPr lvl="1" algn="r">
                <a:spcBef>
                  <a:spcPct val="0"/>
                </a:spcBef>
                <a:spcAft>
                  <a:spcPct val="0"/>
                </a:spcAft>
              </a:pPr>
              <a:t>2008</a:t>
            </a:fld>
            <a:endParaRPr lang="de-DE" sz="1400" dirty="0">
              <a:sym typeface="+mn-lt"/>
            </a:endParaRPr>
          </a:p>
        </p:txBody>
      </p:sp>
      <p:sp>
        <p:nvSpPr>
          <p:cNvPr id="87" name="Textplatzhalter 2">
            <a:extLst>
              <a:ext uri="{FF2B5EF4-FFF2-40B4-BE49-F238E27FC236}">
                <a16:creationId xmlns:a16="http://schemas.microsoft.com/office/drawing/2014/main" xmlns="" id="{E9C099D5-9C6F-4CF2-AD7F-23F7F5F09823}"/>
              </a:ext>
            </a:extLst>
          </p:cNvPr>
          <p:cNvSpPr>
            <a:spLocks noGrp="1"/>
          </p:cNvSpPr>
          <p:nvPr>
            <p:custDataLst>
              <p:tags r:id="rId17"/>
            </p:custDataLst>
          </p:nvPr>
        </p:nvSpPr>
        <p:spPr bwMode="auto">
          <a:xfrm>
            <a:off x="431800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r>
              <a:rPr lang="de-DE" altLang="en-US" sz="1400" dirty="0">
                <a:sym typeface="+mn-lt"/>
              </a:rPr>
              <a:t>2015</a:t>
            </a:r>
            <a:endParaRPr lang="de-DE" sz="1400" dirty="0">
              <a:sym typeface="+mn-lt"/>
            </a:endParaRPr>
          </a:p>
        </p:txBody>
      </p:sp>
      <p:sp>
        <p:nvSpPr>
          <p:cNvPr id="80" name="Textplatzhalter 2">
            <a:extLst>
              <a:ext uri="{FF2B5EF4-FFF2-40B4-BE49-F238E27FC236}">
                <a16:creationId xmlns:a16="http://schemas.microsoft.com/office/drawing/2014/main" xmlns="" id="{79DEC439-5F70-47DB-96B9-0B51682F6487}"/>
              </a:ext>
            </a:extLst>
          </p:cNvPr>
          <p:cNvSpPr>
            <a:spLocks noGrp="1"/>
          </p:cNvSpPr>
          <p:nvPr>
            <p:custDataLst>
              <p:tags r:id="rId18"/>
            </p:custDataLst>
          </p:nvPr>
        </p:nvSpPr>
        <p:spPr bwMode="auto">
          <a:xfrm>
            <a:off x="184308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r>
              <a:rPr lang="de-DE" altLang="en-US" sz="1400" dirty="0">
                <a:sym typeface="+mn-lt"/>
              </a:rPr>
              <a:t>2009</a:t>
            </a:r>
            <a:endParaRPr lang="de-DE" sz="1400" dirty="0">
              <a:sym typeface="+mn-lt"/>
            </a:endParaRPr>
          </a:p>
        </p:txBody>
      </p:sp>
      <p:sp>
        <p:nvSpPr>
          <p:cNvPr id="82" name="Textplatzhalter 2">
            <a:extLst>
              <a:ext uri="{FF2B5EF4-FFF2-40B4-BE49-F238E27FC236}">
                <a16:creationId xmlns:a16="http://schemas.microsoft.com/office/drawing/2014/main" xmlns="" id="{EB590B2B-EF02-493F-BA22-741994DB9CA9}"/>
              </a:ext>
            </a:extLst>
          </p:cNvPr>
          <p:cNvSpPr>
            <a:spLocks noGrp="1"/>
          </p:cNvSpPr>
          <p:nvPr>
            <p:custDataLst>
              <p:tags r:id="rId19"/>
            </p:custDataLst>
          </p:nvPr>
        </p:nvSpPr>
        <p:spPr bwMode="auto">
          <a:xfrm>
            <a:off x="22558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r>
              <a:rPr lang="de-DE" altLang="en-US" sz="1400" dirty="0">
                <a:sym typeface="+mn-lt"/>
              </a:rPr>
              <a:t>2010</a:t>
            </a:r>
            <a:endParaRPr lang="de-DE" sz="1400" dirty="0">
              <a:sym typeface="+mn-lt"/>
            </a:endParaRPr>
          </a:p>
        </p:txBody>
      </p:sp>
      <p:sp>
        <p:nvSpPr>
          <p:cNvPr id="83" name="Textplatzhalter 2">
            <a:extLst>
              <a:ext uri="{FF2B5EF4-FFF2-40B4-BE49-F238E27FC236}">
                <a16:creationId xmlns:a16="http://schemas.microsoft.com/office/drawing/2014/main" xmlns="" id="{B4F0F649-D046-4F7F-8A3F-086655D9B7B5}"/>
              </a:ext>
            </a:extLst>
          </p:cNvPr>
          <p:cNvSpPr>
            <a:spLocks noGrp="1"/>
          </p:cNvSpPr>
          <p:nvPr>
            <p:custDataLst>
              <p:tags r:id="rId20"/>
            </p:custDataLst>
          </p:nvPr>
        </p:nvSpPr>
        <p:spPr bwMode="auto">
          <a:xfrm>
            <a:off x="2668588" y="5003800"/>
            <a:ext cx="212725"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r>
              <a:rPr lang="de-DE" altLang="en-US" sz="1400" dirty="0">
                <a:sym typeface="+mn-lt"/>
              </a:rPr>
              <a:t>2011</a:t>
            </a:r>
            <a:endParaRPr lang="de-DE" sz="1400" dirty="0">
              <a:sym typeface="+mn-lt"/>
            </a:endParaRPr>
          </a:p>
        </p:txBody>
      </p:sp>
      <p:sp>
        <p:nvSpPr>
          <p:cNvPr id="84" name="Textplatzhalter 2">
            <a:extLst>
              <a:ext uri="{FF2B5EF4-FFF2-40B4-BE49-F238E27FC236}">
                <a16:creationId xmlns:a16="http://schemas.microsoft.com/office/drawing/2014/main" xmlns="" id="{A980E7AB-C03A-43B0-A545-712E9F3B453F}"/>
              </a:ext>
            </a:extLst>
          </p:cNvPr>
          <p:cNvSpPr>
            <a:spLocks noGrp="1"/>
          </p:cNvSpPr>
          <p:nvPr>
            <p:custDataLst>
              <p:tags r:id="rId21"/>
            </p:custDataLst>
          </p:nvPr>
        </p:nvSpPr>
        <p:spPr bwMode="auto">
          <a:xfrm>
            <a:off x="30813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E46E87F6-267C-4D55-A687-96494EABDA57}" type="datetime'''''''''''''''''2''''''0''''1''''''''''''''''''''''''2'''">
              <a:rPr lang="de-DE" altLang="en-US" sz="1400" smtClean="0">
                <a:sym typeface="+mn-lt"/>
              </a:rPr>
              <a:pPr lvl="1" algn="r">
                <a:spcBef>
                  <a:spcPct val="0"/>
                </a:spcBef>
                <a:spcAft>
                  <a:spcPct val="0"/>
                </a:spcAft>
              </a:pPr>
              <a:t>2012</a:t>
            </a:fld>
            <a:endParaRPr lang="de-DE" sz="1400" dirty="0">
              <a:sym typeface="+mn-lt"/>
            </a:endParaRPr>
          </a:p>
        </p:txBody>
      </p:sp>
      <p:sp>
        <p:nvSpPr>
          <p:cNvPr id="85" name="Textplatzhalter 2">
            <a:extLst>
              <a:ext uri="{FF2B5EF4-FFF2-40B4-BE49-F238E27FC236}">
                <a16:creationId xmlns:a16="http://schemas.microsoft.com/office/drawing/2014/main" xmlns="" id="{B03B5D19-3AFA-438C-A0C0-2E2FA3F89C04}"/>
              </a:ext>
            </a:extLst>
          </p:cNvPr>
          <p:cNvSpPr>
            <a:spLocks noGrp="1"/>
          </p:cNvSpPr>
          <p:nvPr>
            <p:custDataLst>
              <p:tags r:id="rId22"/>
            </p:custDataLst>
          </p:nvPr>
        </p:nvSpPr>
        <p:spPr bwMode="auto">
          <a:xfrm>
            <a:off x="349250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r>
              <a:rPr lang="de-DE" altLang="en-US" sz="1400" dirty="0">
                <a:sym typeface="+mn-lt"/>
              </a:rPr>
              <a:t>2013</a:t>
            </a:r>
            <a:endParaRPr lang="de-DE" sz="1400" dirty="0">
              <a:sym typeface="+mn-lt"/>
            </a:endParaRPr>
          </a:p>
        </p:txBody>
      </p:sp>
      <p:sp>
        <p:nvSpPr>
          <p:cNvPr id="86" name="Textplatzhalter 2">
            <a:extLst>
              <a:ext uri="{FF2B5EF4-FFF2-40B4-BE49-F238E27FC236}">
                <a16:creationId xmlns:a16="http://schemas.microsoft.com/office/drawing/2014/main" xmlns="" id="{D21D729E-A4DB-4472-B8D4-DB12A502D20A}"/>
              </a:ext>
            </a:extLst>
          </p:cNvPr>
          <p:cNvSpPr>
            <a:spLocks noGrp="1"/>
          </p:cNvSpPr>
          <p:nvPr>
            <p:custDataLst>
              <p:tags r:id="rId23"/>
            </p:custDataLst>
          </p:nvPr>
        </p:nvSpPr>
        <p:spPr bwMode="auto">
          <a:xfrm>
            <a:off x="39052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r>
              <a:rPr lang="de-DE" altLang="en-US" sz="1400" dirty="0">
                <a:sym typeface="+mn-lt"/>
              </a:rPr>
              <a:t>2014</a:t>
            </a:r>
            <a:endParaRPr lang="de-DE" sz="1400" dirty="0">
              <a:sym typeface="+mn-lt"/>
            </a:endParaRPr>
          </a:p>
        </p:txBody>
      </p:sp>
      <p:sp>
        <p:nvSpPr>
          <p:cNvPr id="88" name="Textplatzhalter 2">
            <a:extLst>
              <a:ext uri="{FF2B5EF4-FFF2-40B4-BE49-F238E27FC236}">
                <a16:creationId xmlns:a16="http://schemas.microsoft.com/office/drawing/2014/main" xmlns="" id="{DB0ED4C6-3680-4D0A-A133-E461F918958A}"/>
              </a:ext>
            </a:extLst>
          </p:cNvPr>
          <p:cNvSpPr>
            <a:spLocks noGrp="1"/>
          </p:cNvSpPr>
          <p:nvPr>
            <p:custDataLst>
              <p:tags r:id="rId24"/>
            </p:custDataLst>
          </p:nvPr>
        </p:nvSpPr>
        <p:spPr bwMode="auto">
          <a:xfrm>
            <a:off x="47307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2161D434-E17A-49E8-B1B0-A5B8A3CD9529}" type="datetime'''''''''''''''''''''''''''''2''01''''''''''''''''''''''6'''">
              <a:rPr lang="de-DE" altLang="en-US" sz="1400" smtClean="0">
                <a:sym typeface="+mn-lt"/>
              </a:rPr>
              <a:pPr lvl="1" algn="r">
                <a:spcBef>
                  <a:spcPct val="0"/>
                </a:spcBef>
                <a:spcAft>
                  <a:spcPct val="0"/>
                </a:spcAft>
              </a:pPr>
              <a:t>2016</a:t>
            </a:fld>
            <a:endParaRPr lang="de-DE" sz="1400" dirty="0">
              <a:sym typeface="+mn-lt"/>
            </a:endParaRPr>
          </a:p>
        </p:txBody>
      </p:sp>
      <p:sp>
        <p:nvSpPr>
          <p:cNvPr id="53" name="Textplatzhalter 2">
            <a:extLst>
              <a:ext uri="{FF2B5EF4-FFF2-40B4-BE49-F238E27FC236}">
                <a16:creationId xmlns:a16="http://schemas.microsoft.com/office/drawing/2014/main" xmlns="" id="{8740983E-69BB-476A-BFE9-6B72F2FFFD96}"/>
              </a:ext>
            </a:extLst>
          </p:cNvPr>
          <p:cNvSpPr>
            <a:spLocks noGrp="1"/>
          </p:cNvSpPr>
          <p:nvPr>
            <p:custDataLst>
              <p:tags r:id="rId25"/>
            </p:custDataLst>
          </p:nvPr>
        </p:nvSpPr>
        <p:spPr bwMode="auto">
          <a:xfrm>
            <a:off x="514191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4C53AE8A-7FF3-4F27-9B8D-F305532B3855}" type="datetime'''''''2''''''''''''''''''''''''''''''''''0''''''''''''1''7'''">
              <a:rPr lang="de-DE" altLang="en-US" sz="1400" smtClean="0">
                <a:sym typeface="+mn-lt"/>
              </a:rPr>
              <a:pPr/>
              <a:t>2017</a:t>
            </a:fld>
            <a:endParaRPr lang="de-DE" sz="1400" dirty="0">
              <a:sym typeface="+mn-lt"/>
            </a:endParaRPr>
          </a:p>
        </p:txBody>
      </p:sp>
      <p:sp>
        <p:nvSpPr>
          <p:cNvPr id="56" name="Textplatzhalter 2">
            <a:extLst>
              <a:ext uri="{FF2B5EF4-FFF2-40B4-BE49-F238E27FC236}">
                <a16:creationId xmlns:a16="http://schemas.microsoft.com/office/drawing/2014/main" xmlns="" id="{712555A2-453A-482C-A505-A1F5111667D3}"/>
              </a:ext>
            </a:extLst>
          </p:cNvPr>
          <p:cNvSpPr>
            <a:spLocks noGrp="1"/>
          </p:cNvSpPr>
          <p:nvPr>
            <p:custDataLst>
              <p:tags r:id="rId26"/>
            </p:custDataLst>
          </p:nvPr>
        </p:nvSpPr>
        <p:spPr bwMode="auto">
          <a:xfrm>
            <a:off x="555466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4517D75-60A4-418B-8D1A-EED93BE698EC}" type="datetime'''''''2''0''''''''''1''''''''''''''''''8'">
              <a:rPr lang="de-DE" altLang="en-US" sz="1400" smtClean="0">
                <a:sym typeface="+mn-lt"/>
              </a:rPr>
              <a:pPr/>
              <a:t>2018</a:t>
            </a:fld>
            <a:endParaRPr lang="de-DE" sz="1400" dirty="0">
              <a:sym typeface="+mn-lt"/>
            </a:endParaRPr>
          </a:p>
        </p:txBody>
      </p:sp>
      <p:sp>
        <p:nvSpPr>
          <p:cNvPr id="115" name="Textplatzhalter 2">
            <a:extLst>
              <a:ext uri="{FF2B5EF4-FFF2-40B4-BE49-F238E27FC236}">
                <a16:creationId xmlns:a16="http://schemas.microsoft.com/office/drawing/2014/main" xmlns="" id="{E9F1FE55-0D30-41A3-8765-C66CAFB1B29E}"/>
              </a:ext>
            </a:extLst>
          </p:cNvPr>
          <p:cNvSpPr>
            <a:spLocks noGrp="1"/>
          </p:cNvSpPr>
          <p:nvPr>
            <p:custDataLst>
              <p:tags r:id="rId27"/>
            </p:custDataLst>
          </p:nvPr>
        </p:nvSpPr>
        <p:spPr bwMode="auto">
          <a:xfrm>
            <a:off x="1830388" y="3157538"/>
            <a:ext cx="615950" cy="258763"/>
          </a:xfrm>
          <a:prstGeom prst="ellipse">
            <a:avLst/>
          </a:prstGeom>
          <a:solidFill>
            <a:schemeClr val="bg1"/>
          </a:solidFill>
          <a:ln w="9525" algn="ctr">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13C9E116-0277-419D-8EBB-ACADF3719F11}" type="datetime'+1''''''''''0'''''' ''''''''''''''''''''''''''''''%'''''''''''">
              <a:rPr lang="de-DE" altLang="en-US" sz="1200" b="1" smtClean="0"/>
              <a:pPr/>
              <a:t>+10 %</a:t>
            </a:fld>
            <a:endParaRPr lang="de-DE" sz="1200" b="1" dirty="0">
              <a:sym typeface="+mn-lt"/>
            </a:endParaRPr>
          </a:p>
        </p:txBody>
      </p:sp>
      <p:sp>
        <p:nvSpPr>
          <p:cNvPr id="119" name="Textplatzhalter 2">
            <a:extLst>
              <a:ext uri="{FF2B5EF4-FFF2-40B4-BE49-F238E27FC236}">
                <a16:creationId xmlns:a16="http://schemas.microsoft.com/office/drawing/2014/main" xmlns="" id="{A9299B70-DFFD-45DF-916E-95AC756F673A}"/>
              </a:ext>
            </a:extLst>
          </p:cNvPr>
          <p:cNvSpPr>
            <a:spLocks noGrp="1"/>
          </p:cNvSpPr>
          <p:nvPr>
            <p:custDataLst>
              <p:tags r:id="rId28"/>
            </p:custDataLst>
          </p:nvPr>
        </p:nvSpPr>
        <p:spPr bwMode="auto">
          <a:xfrm>
            <a:off x="3927475" y="2203450"/>
            <a:ext cx="615950" cy="258763"/>
          </a:xfrm>
          <a:prstGeom prst="ellipse">
            <a:avLst/>
          </a:prstGeom>
          <a:solidFill>
            <a:schemeClr val="bg1"/>
          </a:solidFill>
          <a:ln w="9525" algn="ctr">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DFD9970B-A93F-4EB3-86B2-489A2042B2BC}" type="datetime'''''+''''''''''''5''''''''''''''''''''''6 ''''''''''''''%'''">
              <a:rPr lang="de-DE" altLang="en-US" sz="1200" b="1" smtClean="0"/>
              <a:pPr/>
              <a:t>+56 %</a:t>
            </a:fld>
            <a:endParaRPr lang="de-DE" sz="1200" b="1" dirty="0">
              <a:sym typeface="+mn-lt"/>
            </a:endParaRPr>
          </a:p>
        </p:txBody>
      </p:sp>
      <p:cxnSp>
        <p:nvCxnSpPr>
          <p:cNvPr id="40" name="Gerader Verbinder 49">
            <a:extLst>
              <a:ext uri="{FF2B5EF4-FFF2-40B4-BE49-F238E27FC236}">
                <a16:creationId xmlns:a16="http://schemas.microsoft.com/office/drawing/2014/main" xmlns="" id="{27B19CDD-A174-42DF-AE27-1B9AE07D998F}"/>
              </a:ext>
            </a:extLst>
          </p:cNvPr>
          <p:cNvCxnSpPr>
            <a:cxnSpLocks/>
          </p:cNvCxnSpPr>
          <p:nvPr/>
        </p:nvCxnSpPr>
        <p:spPr>
          <a:xfrm>
            <a:off x="3191972" y="2652941"/>
            <a:ext cx="0" cy="2288947"/>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xmlns="" id="{D0E28AD6-CC4B-4965-8C9F-438E173A4B82}"/>
              </a:ext>
            </a:extLst>
          </p:cNvPr>
          <p:cNvSpPr txBox="1"/>
          <p:nvPr/>
        </p:nvSpPr>
        <p:spPr>
          <a:xfrm>
            <a:off x="451758" y="5835368"/>
            <a:ext cx="8164800" cy="246221"/>
          </a:xfrm>
          <a:prstGeom prst="rect">
            <a:avLst/>
          </a:prstGeom>
          <a:noFill/>
        </p:spPr>
        <p:txBody>
          <a:bodyPr wrap="square" rtlCol="0">
            <a:spAutoFit/>
          </a:bodyPr>
          <a:lstStyle/>
          <a:p>
            <a:pPr marL="0" lvl="1">
              <a:tabLst>
                <a:tab pos="180975" algn="l"/>
              </a:tabLst>
            </a:pPr>
            <a:r>
              <a:rPr lang="de-DE" sz="1000" dirty="0"/>
              <a:t>Quelle: Quelle: Rechnungshof, Presse</a:t>
            </a:r>
          </a:p>
        </p:txBody>
      </p:sp>
      <p:sp>
        <p:nvSpPr>
          <p:cNvPr id="13" name="Rechteck 12">
            <a:extLst>
              <a:ext uri="{FF2B5EF4-FFF2-40B4-BE49-F238E27FC236}">
                <a16:creationId xmlns:a16="http://schemas.microsoft.com/office/drawing/2014/main" xmlns="" id="{0298CACE-CDF2-4AD7-AB65-F999CD042843}"/>
              </a:ext>
            </a:extLst>
          </p:cNvPr>
          <p:cNvSpPr/>
          <p:nvPr>
            <p:custDataLst>
              <p:tags r:id="rId29"/>
            </p:custDataLst>
          </p:nvPr>
        </p:nvSpPr>
        <p:spPr bwMode="auto">
          <a:xfrm>
            <a:off x="547687" y="5719762"/>
            <a:ext cx="179388" cy="13335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8" name="Rechteck 17">
            <a:extLst>
              <a:ext uri="{FF2B5EF4-FFF2-40B4-BE49-F238E27FC236}">
                <a16:creationId xmlns:a16="http://schemas.microsoft.com/office/drawing/2014/main" xmlns="" id="{DAFF4B77-14D4-4B71-B682-84E2DB0FFC32}"/>
              </a:ext>
            </a:extLst>
          </p:cNvPr>
          <p:cNvSpPr/>
          <p:nvPr>
            <p:custDataLst>
              <p:tags r:id="rId30"/>
            </p:custDataLst>
          </p:nvPr>
        </p:nvSpPr>
        <p:spPr bwMode="auto">
          <a:xfrm>
            <a:off x="2351088" y="5719763"/>
            <a:ext cx="179388"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2" name="Textplatzhalter 2">
            <a:extLst>
              <a:ext uri="{FF2B5EF4-FFF2-40B4-BE49-F238E27FC236}">
                <a16:creationId xmlns:a16="http://schemas.microsoft.com/office/drawing/2014/main" xmlns="" id="{EC8BE2CE-B80F-4A13-802E-2CB5E378493B}"/>
              </a:ext>
            </a:extLst>
          </p:cNvPr>
          <p:cNvSpPr>
            <a:spLocks noGrp="1"/>
          </p:cNvSpPr>
          <p:nvPr>
            <p:custDataLst>
              <p:tags r:id="rId31"/>
            </p:custDataLst>
          </p:nvPr>
        </p:nvSpPr>
        <p:spPr bwMode="auto">
          <a:xfrm>
            <a:off x="777875" y="5715000"/>
            <a:ext cx="14716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r>
              <a:rPr lang="de-DE" altLang="en-US" sz="1000" dirty="0">
                <a:sym typeface="+mn-lt"/>
              </a:rPr>
              <a:t>Einnahmen Strafgebühren</a:t>
            </a:r>
            <a:endParaRPr lang="de-DE" sz="1000" dirty="0">
              <a:sym typeface="+mn-lt"/>
            </a:endParaRPr>
          </a:p>
        </p:txBody>
      </p:sp>
      <p:sp>
        <p:nvSpPr>
          <p:cNvPr id="44" name="Textplatzhalter 2">
            <a:extLst>
              <a:ext uri="{FF2B5EF4-FFF2-40B4-BE49-F238E27FC236}">
                <a16:creationId xmlns:a16="http://schemas.microsoft.com/office/drawing/2014/main" xmlns="" id="{43C479C2-ED44-44A9-B0E3-5FE1AA2B8D3B}"/>
              </a:ext>
            </a:extLst>
          </p:cNvPr>
          <p:cNvSpPr>
            <a:spLocks noGrp="1"/>
          </p:cNvSpPr>
          <p:nvPr>
            <p:custDataLst>
              <p:tags r:id="rId32"/>
            </p:custDataLst>
          </p:nvPr>
        </p:nvSpPr>
        <p:spPr bwMode="auto">
          <a:xfrm>
            <a:off x="2581275" y="5715000"/>
            <a:ext cx="1465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65EAA66E-1438-4BAC-8900-462B9F7FA452}" type="datetime'''''E''inna''h''''m''e''''n'' Par''kge''büh''''''ren'''''">
              <a:rPr lang="de-DE" altLang="en-US" sz="1000" smtClean="0">
                <a:sym typeface="+mn-lt"/>
              </a:rPr>
              <a:pPr lvl="1">
                <a:spcBef>
                  <a:spcPct val="0"/>
                </a:spcBef>
                <a:spcAft>
                  <a:spcPct val="0"/>
                </a:spcAft>
              </a:pPr>
              <a:t>Einnahmen Parkgebühren</a:t>
            </a:fld>
            <a:endParaRPr lang="de-DE" sz="1000" dirty="0">
              <a:sym typeface="+mn-lt"/>
            </a:endParaRPr>
          </a:p>
        </p:txBody>
      </p:sp>
      <p:cxnSp>
        <p:nvCxnSpPr>
          <p:cNvPr id="63" name="Gerade Verbindung 6">
            <a:extLst>
              <a:ext uri="{FF2B5EF4-FFF2-40B4-BE49-F238E27FC236}">
                <a16:creationId xmlns:a16="http://schemas.microsoft.com/office/drawing/2014/main" xmlns="" id="{562092E3-F294-4EA1-AE6F-B88DFE35F838}"/>
              </a:ext>
            </a:extLst>
          </p:cNvPr>
          <p:cNvCxnSpPr/>
          <p:nvPr>
            <p:custDataLst>
              <p:tags r:id="rId33"/>
            </p:custDataLst>
          </p:nvPr>
        </p:nvCxnSpPr>
        <p:spPr>
          <a:xfrm>
            <a:off x="539552" y="5661025"/>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Gerader Verbinder 49">
            <a:extLst>
              <a:ext uri="{FF2B5EF4-FFF2-40B4-BE49-F238E27FC236}">
                <a16:creationId xmlns:a16="http://schemas.microsoft.com/office/drawing/2014/main" xmlns="" id="{F8596D8C-1F15-42DE-97F0-3EA276AA6291}"/>
              </a:ext>
            </a:extLst>
          </p:cNvPr>
          <p:cNvCxnSpPr>
            <a:cxnSpLocks/>
          </p:cNvCxnSpPr>
          <p:nvPr/>
        </p:nvCxnSpPr>
        <p:spPr>
          <a:xfrm flipH="1">
            <a:off x="4152104" y="5799571"/>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65" name="Rechteck 64">
            <a:extLst>
              <a:ext uri="{FF2B5EF4-FFF2-40B4-BE49-F238E27FC236}">
                <a16:creationId xmlns:a16="http://schemas.microsoft.com/office/drawing/2014/main" xmlns="" id="{6130780A-EC0B-4820-8691-57D3DFB6F300}"/>
              </a:ext>
            </a:extLst>
          </p:cNvPr>
          <p:cNvSpPr/>
          <p:nvPr/>
        </p:nvSpPr>
        <p:spPr>
          <a:xfrm>
            <a:off x="4492667" y="5675746"/>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Jahreskarte Juni 2012</a:t>
            </a:r>
          </a:p>
        </p:txBody>
      </p:sp>
      <p:sp>
        <p:nvSpPr>
          <p:cNvPr id="72" name="Textfeld 71">
            <a:extLst>
              <a:ext uri="{FF2B5EF4-FFF2-40B4-BE49-F238E27FC236}">
                <a16:creationId xmlns:a16="http://schemas.microsoft.com/office/drawing/2014/main" xmlns="" id="{558DD5C0-5312-442D-9271-BB7289D675F2}"/>
              </a:ext>
            </a:extLst>
          </p:cNvPr>
          <p:cNvSpPr txBox="1"/>
          <p:nvPr/>
        </p:nvSpPr>
        <p:spPr>
          <a:xfrm>
            <a:off x="1331640" y="4756502"/>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cxnSp>
        <p:nvCxnSpPr>
          <p:cNvPr id="125" name="Gerade Verbindung 6">
            <a:extLst>
              <a:ext uri="{FF2B5EF4-FFF2-40B4-BE49-F238E27FC236}">
                <a16:creationId xmlns:a16="http://schemas.microsoft.com/office/drawing/2014/main" xmlns="" id="{BD1B8169-1480-4A9D-A841-CC5D5AB08930}"/>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32" name="Gruppieren 131">
            <a:extLst>
              <a:ext uri="{FF2B5EF4-FFF2-40B4-BE49-F238E27FC236}">
                <a16:creationId xmlns:a16="http://schemas.microsoft.com/office/drawing/2014/main" xmlns="" id="{B0E2B5DD-2C15-4267-A439-732CCA9A7847}"/>
              </a:ext>
            </a:extLst>
          </p:cNvPr>
          <p:cNvGrpSpPr/>
          <p:nvPr/>
        </p:nvGrpSpPr>
        <p:grpSpPr>
          <a:xfrm>
            <a:off x="5477644" y="1628800"/>
            <a:ext cx="390500" cy="390500"/>
            <a:chOff x="5508104" y="1628800"/>
            <a:chExt cx="360040" cy="360040"/>
          </a:xfrm>
        </p:grpSpPr>
        <p:sp>
          <p:nvSpPr>
            <p:cNvPr id="133" name="Ellipse 132">
              <a:extLst>
                <a:ext uri="{FF2B5EF4-FFF2-40B4-BE49-F238E27FC236}">
                  <a16:creationId xmlns:a16="http://schemas.microsoft.com/office/drawing/2014/main" xmlns="" id="{D8BFA329-4105-492E-836E-85438045AA45}"/>
                </a:ext>
              </a:extLst>
            </p:cNvPr>
            <p:cNvSpPr/>
            <p:nvPr/>
          </p:nvSpPr>
          <p:spPr>
            <a:xfrm>
              <a:off x="5508104" y="162880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134" name="Grafik 133">
              <a:extLst>
                <a:ext uri="{FF2B5EF4-FFF2-40B4-BE49-F238E27FC236}">
                  <a16:creationId xmlns:a16="http://schemas.microsoft.com/office/drawing/2014/main" xmlns="" id="{2AAF2C21-626B-488A-89BD-CE50FE81D4FA}"/>
                </a:ext>
              </a:extLst>
            </p:cNvPr>
            <p:cNvPicPr>
              <a:picLocks noChangeAspect="1"/>
            </p:cNvPicPr>
            <p:nvPr/>
          </p:nvPicPr>
          <p:blipFill>
            <a:blip r:embed="rId39" cstate="hqprint">
              <a:duotone>
                <a:schemeClr val="accent5">
                  <a:shade val="45000"/>
                  <a:satMod val="135000"/>
                </a:schemeClr>
                <a:prstClr val="white"/>
              </a:duotone>
              <a:extLst>
                <a:ext uri="{BEBA8EAE-BF5A-486C-A8C5-ECC9F3942E4B}">
                  <a14:imgProps xmlns:a14="http://schemas.microsoft.com/office/drawing/2010/main">
                    <a14:imgLayer r:embed="rId40">
                      <a14:imgEffect>
                        <a14:brightnessContrast contrast="-70000"/>
                      </a14:imgEffect>
                    </a14:imgLayer>
                  </a14:imgProps>
                </a:ext>
                <a:ext uri="{28A0092B-C50C-407E-A947-70E740481C1C}">
                  <a14:useLocalDpi xmlns:a14="http://schemas.microsoft.com/office/drawing/2010/main"/>
                </a:ext>
              </a:extLst>
            </a:blip>
            <a:stretch>
              <a:fillRect/>
            </a:stretch>
          </p:blipFill>
          <p:spPr>
            <a:xfrm>
              <a:off x="5582380" y="1689364"/>
              <a:ext cx="230527" cy="230527"/>
            </a:xfrm>
            <a:prstGeom prst="rect">
              <a:avLst/>
            </a:prstGeom>
          </p:spPr>
        </p:pic>
      </p:grpSp>
    </p:spTree>
    <p:extLst>
      <p:ext uri="{BB962C8B-B14F-4D97-AF65-F5344CB8AC3E}">
        <p14:creationId xmlns:p14="http://schemas.microsoft.com/office/powerpoint/2010/main" val="311495423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9" name="Rectangle 2"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46890" name="think-cell Folie" r:id="rId6" imgW="0" imgH="0" progId="TCLayout.ActiveDocument.1">
                  <p:embed/>
                </p:oleObj>
              </mc:Choice>
              <mc:Fallback>
                <p:oleObj name="think-cell Folie" r:id="rId6" imgW="0" imgH="0" progId="TCLayout.ActiveDocument.1">
                  <p:embed/>
                  <p:pic>
                    <p:nvPicPr>
                      <p:cNvPr id="4099"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hteck 2" hidden="1">
            <a:extLst>
              <a:ext uri="{FF2B5EF4-FFF2-40B4-BE49-F238E27FC236}">
                <a16:creationId xmlns:a16="http://schemas.microsoft.com/office/drawing/2014/main" xmlns="" id="{31590FED-2BCD-4F6A-964C-DF999D1FF3A0}"/>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4101" name="Rectangle 4"/>
          <p:cNvSpPr>
            <a:spLocks noGrp="1" noChangeArrowheads="1"/>
          </p:cNvSpPr>
          <p:nvPr>
            <p:ph type="title"/>
          </p:nvPr>
        </p:nvSpPr>
        <p:spPr bwMode="gray"/>
        <p:txBody>
          <a:bodyPr/>
          <a:lstStyle/>
          <a:p>
            <a:r>
              <a:rPr lang="de-DE" dirty="0"/>
              <a:t>Wir wollen gemeinsam mit unseren Kunden die Lebensqualität im öffentlichen Raum verbessern</a:t>
            </a:r>
            <a:endParaRPr lang="en-GB" altLang="de-DE" dirty="0"/>
          </a:p>
        </p:txBody>
      </p:sp>
      <p:sp>
        <p:nvSpPr>
          <p:cNvPr id="4100" name="Rectangle 3"/>
          <p:cNvSpPr>
            <a:spLocks noGrp="1" noChangeArrowheads="1"/>
          </p:cNvSpPr>
          <p:nvPr>
            <p:ph idx="1"/>
          </p:nvPr>
        </p:nvSpPr>
        <p:spPr bwMode="gray">
          <a:extLst>
            <a:ext uri="{909E8E84-426E-40dd-AFC4-6F175D3DCCD1}">
              <a14:hiddenFill xmlns:a14="http://schemas.microsoft.com/office/drawing/2010/main">
                <a:solidFill>
                  <a:schemeClr val="bg1"/>
                </a:solidFill>
              </a14:hiddenFill>
            </a:ext>
          </a:extLst>
        </p:spPr>
        <p:txBody>
          <a:bodyPr/>
          <a:lstStyle/>
          <a:p>
            <a:pPr>
              <a:lnSpc>
                <a:spcPct val="95000"/>
              </a:lnSpc>
              <a:spcBef>
                <a:spcPct val="45000"/>
              </a:spcBef>
            </a:pPr>
            <a:r>
              <a:rPr lang="en-GB" altLang="de-DE" dirty="0" err="1"/>
              <a:t>Unternehmensprofil</a:t>
            </a:r>
            <a:endParaRPr lang="en-GB" altLang="de-DE" dirty="0"/>
          </a:p>
        </p:txBody>
      </p:sp>
      <p:sp>
        <p:nvSpPr>
          <p:cNvPr id="4106" name="AutoShape 14"/>
          <p:cNvSpPr>
            <a:spLocks noChangeAspect="1" noChangeArrowheads="1" noTextEdit="1"/>
          </p:cNvSpPr>
          <p:nvPr/>
        </p:nvSpPr>
        <p:spPr bwMode="gray">
          <a:xfrm>
            <a:off x="2724596" y="1336229"/>
            <a:ext cx="3487545" cy="1669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sp>
        <p:nvSpPr>
          <p:cNvPr id="4" name="Rechteck 3"/>
          <p:cNvSpPr/>
          <p:nvPr/>
        </p:nvSpPr>
        <p:spPr bwMode="gray">
          <a:xfrm>
            <a:off x="539750" y="2364552"/>
            <a:ext cx="7461250" cy="115212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600" dirty="0">
              <a:solidFill>
                <a:schemeClr val="tx1"/>
              </a:solidFill>
            </a:endParaRPr>
          </a:p>
        </p:txBody>
      </p:sp>
      <p:pic>
        <p:nvPicPr>
          <p:cNvPr id="20" name="Picture 16"/>
          <p:cNvPicPr>
            <a:picLocks noChangeArrowheads="1"/>
          </p:cNvPicPr>
          <p:nvPr/>
        </p:nvPicPr>
        <p:blipFill rotWithShape="1">
          <a:blip r:embed="rId7" cstate="print">
            <a:extLst>
              <a:ext uri="{28A0092B-C50C-407E-A947-70E740481C1C}">
                <a14:useLocalDpi xmlns:a14="http://schemas.microsoft.com/office/drawing/2010/main"/>
              </a:ext>
            </a:extLst>
          </a:blip>
          <a:srcRect l="5216" t="549" r="5271" b="493"/>
          <a:stretch/>
        </p:blipFill>
        <p:spPr bwMode="gray">
          <a:xfrm>
            <a:off x="2247015"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21" name="Picture 22"/>
          <p:cNvPicPr>
            <a:picLocks noChangeArrowheads="1"/>
          </p:cNvPicPr>
          <p:nvPr/>
        </p:nvPicPr>
        <p:blipFill rotWithShape="1">
          <a:blip r:embed="rId8" cstate="print">
            <a:extLst>
              <a:ext uri="{28A0092B-C50C-407E-A947-70E740481C1C}">
                <a14:useLocalDpi xmlns:a14="http://schemas.microsoft.com/office/drawing/2010/main"/>
              </a:ext>
            </a:extLst>
          </a:blip>
          <a:srcRect/>
          <a:stretch/>
        </p:blipFill>
        <p:spPr bwMode="gray">
          <a:xfrm>
            <a:off x="7157993"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4"/>
          <p:cNvPicPr>
            <a:picLocks noChangeArrowheads="1"/>
          </p:cNvPicPr>
          <p:nvPr/>
        </p:nvPicPr>
        <p:blipFill rotWithShape="1">
          <a:blip r:embed="rId9" cstate="print">
            <a:extLst>
              <a:ext uri="{28A0092B-C50C-407E-A947-70E740481C1C}">
                <a14:useLocalDpi xmlns:a14="http://schemas.microsoft.com/office/drawing/2010/main"/>
              </a:ext>
            </a:extLst>
          </a:blip>
          <a:srcRect t="948" r="10284" b="-1"/>
          <a:stretch/>
        </p:blipFill>
        <p:spPr bwMode="gray">
          <a:xfrm>
            <a:off x="5521001"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16"/>
          <p:cNvPicPr>
            <a:picLocks noChangeArrowheads="1"/>
          </p:cNvPicPr>
          <p:nvPr/>
        </p:nvPicPr>
        <p:blipFill rotWithShape="1">
          <a:blip r:embed="rId10" cstate="print">
            <a:extLst>
              <a:ext uri="{28A0092B-C50C-407E-A947-70E740481C1C}">
                <a14:useLocalDpi xmlns:a14="http://schemas.microsoft.com/office/drawing/2010/main"/>
              </a:ext>
            </a:extLst>
          </a:blip>
          <a:srcRect l="4561" t="528" r="4952" b="137"/>
          <a:stretch/>
        </p:blipFill>
        <p:spPr bwMode="gray">
          <a:xfrm>
            <a:off x="3884008"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32" name="Rectangle 3"/>
          <p:cNvSpPr txBox="1">
            <a:spLocks noChangeArrowheads="1"/>
          </p:cNvSpPr>
          <p:nvPr/>
        </p:nvSpPr>
        <p:spPr bwMode="gray">
          <a:xfrm>
            <a:off x="619128" y="3861048"/>
            <a:ext cx="7984219" cy="1769478"/>
          </a:xfrm>
          <a:prstGeom prst="rect">
            <a:avLst/>
          </a:prstGeom>
          <a:extLst>
            <a:ext uri="{909E8E84-426E-40dd-AFC4-6F175D3DCCD1}">
              <a14:hiddenFill xmlns:a14="http://schemas.microsoft.com/office/drawing/2010/main">
                <a:solidFill>
                  <a:schemeClr val="bg1"/>
                </a:solidFill>
              </a14:hiddenFill>
            </a:ext>
          </a:extLst>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lnSpc>
                <a:spcPct val="95000"/>
              </a:lnSpc>
            </a:pPr>
            <a:r>
              <a:rPr lang="de-DE" sz="1400" dirty="0"/>
              <a:t>Gegründet 2010 mit etabliertem Team  /  Inhabergeführt und unabhängig </a:t>
            </a:r>
          </a:p>
          <a:p>
            <a:pPr lvl="2"/>
            <a:r>
              <a:rPr lang="de-DE" sz="1400" dirty="0"/>
              <a:t>Klarer Branchenfokus: Mobilität und Verkehr  /   Ver- und Entsorgungswirtschaft</a:t>
            </a:r>
          </a:p>
          <a:p>
            <a:pPr lvl="2">
              <a:lnSpc>
                <a:spcPct val="95000"/>
              </a:lnSpc>
            </a:pPr>
            <a:r>
              <a:rPr lang="de-DE" sz="1400" dirty="0"/>
              <a:t>Kernmärkte: D/A/CH, Nord- u. Westeuropa  /  Kunden: Unternehmen, Institutionen und Industrie</a:t>
            </a:r>
          </a:p>
          <a:p>
            <a:pPr lvl="2">
              <a:lnSpc>
                <a:spcPct val="95000"/>
              </a:lnSpc>
            </a:pPr>
            <a:r>
              <a:rPr lang="de-DE" sz="1400" dirty="0"/>
              <a:t>Beratung von der Strategie bis zur Umsetzung  /  Abdeckung der gesamten Wertschöpfungskette</a:t>
            </a:r>
          </a:p>
          <a:p>
            <a:pPr lvl="2">
              <a:lnSpc>
                <a:spcPct val="95000"/>
              </a:lnSpc>
            </a:pPr>
            <a:r>
              <a:rPr lang="de-DE" sz="1400" dirty="0"/>
              <a:t>Einzigartiger Kompetenzmix: Strategieberatung, Data-Analytics und Change Management</a:t>
            </a:r>
          </a:p>
          <a:p>
            <a:pPr lvl="2">
              <a:lnSpc>
                <a:spcPct val="95000"/>
              </a:lnSpc>
            </a:pPr>
            <a:r>
              <a:rPr lang="de-DE" sz="1400" dirty="0"/>
              <a:t>Interdisziplinäres Team und wertschätzende Firmenkultur mit aktuell rund 50 Mitarbeiter</a:t>
            </a:r>
            <a:endParaRPr lang="en-GB" sz="1400" dirty="0"/>
          </a:p>
          <a:p>
            <a:pPr lvl="2">
              <a:lnSpc>
                <a:spcPct val="95000"/>
              </a:lnSpc>
            </a:pPr>
            <a:r>
              <a:rPr lang="en-GB" sz="1400" dirty="0" err="1">
                <a:solidFill>
                  <a:prstClr val="black"/>
                </a:solidFill>
              </a:rPr>
              <a:t>Standorte</a:t>
            </a:r>
            <a:r>
              <a:rPr lang="en-GB" sz="1400" dirty="0">
                <a:solidFill>
                  <a:prstClr val="black"/>
                </a:solidFill>
              </a:rPr>
              <a:t> in Hamburg und Berlin</a:t>
            </a:r>
          </a:p>
        </p:txBody>
      </p:sp>
      <p:pic>
        <p:nvPicPr>
          <p:cNvPr id="22" name="Picture 23" descr="Oberleitungsbus"/>
          <p:cNvPicPr>
            <a:picLocks noChangeArrowheads="1"/>
          </p:cNvPicPr>
          <p:nvPr/>
        </p:nvPicPr>
        <p:blipFill rotWithShape="1">
          <a:blip r:embed="rId11">
            <a:extLst>
              <a:ext uri="{28A0092B-C50C-407E-A947-70E740481C1C}">
                <a14:useLocalDpi xmlns:a14="http://schemas.microsoft.com/office/drawing/2010/main"/>
              </a:ext>
            </a:extLst>
          </a:blip>
          <a:srcRect t="537" r="16091" b="-1"/>
          <a:stretch/>
        </p:blipFill>
        <p:spPr bwMode="gray">
          <a:xfrm>
            <a:off x="610022"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27" name="Rectangle 17">
            <a:extLst>
              <a:ext uri="{FF2B5EF4-FFF2-40B4-BE49-F238E27FC236}">
                <a16:creationId xmlns:a16="http://schemas.microsoft.com/office/drawing/2014/main" xmlns="" id="{A468BB01-456F-4FD4-A380-3A443009FD8F}"/>
              </a:ext>
            </a:extLst>
          </p:cNvPr>
          <p:cNvSpPr>
            <a:spLocks noChangeArrowheads="1"/>
          </p:cNvSpPr>
          <p:nvPr/>
        </p:nvSpPr>
        <p:spPr bwMode="gray">
          <a:xfrm>
            <a:off x="3849821" y="1830346"/>
            <a:ext cx="1444360" cy="215444"/>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100000"/>
              </a:lnSpc>
              <a:spcBef>
                <a:spcPct val="20000"/>
              </a:spcBef>
              <a:spcAft>
                <a:spcPct val="20000"/>
              </a:spcAft>
              <a:buClr>
                <a:srgbClr val="6696B5"/>
              </a:buClr>
              <a:buSzPct val="120000"/>
            </a:pPr>
            <a:r>
              <a:rPr lang="de-DE" altLang="de-DE" sz="1400" b="1" dirty="0">
                <a:solidFill>
                  <a:schemeClr val="tx1"/>
                </a:solidFill>
                <a:latin typeface="Arial" panose="020B0604020202020204" pitchFamily="34" charset="0"/>
                <a:cs typeface="Arial" panose="020B0604020202020204" pitchFamily="34" charset="0"/>
                <a:sym typeface="Arial" panose="020B0604020202020204" pitchFamily="34" charset="0"/>
              </a:rPr>
              <a:t>Mobilität</a:t>
            </a:r>
          </a:p>
        </p:txBody>
      </p:sp>
      <p:sp>
        <p:nvSpPr>
          <p:cNvPr id="29" name="Rectangle 18">
            <a:extLst>
              <a:ext uri="{FF2B5EF4-FFF2-40B4-BE49-F238E27FC236}">
                <a16:creationId xmlns:a16="http://schemas.microsoft.com/office/drawing/2014/main" xmlns="" id="{FF86D052-6392-464F-87A1-CF4B9F7893B8}"/>
              </a:ext>
            </a:extLst>
          </p:cNvPr>
          <p:cNvSpPr>
            <a:spLocks noChangeArrowheads="1"/>
          </p:cNvSpPr>
          <p:nvPr/>
        </p:nvSpPr>
        <p:spPr bwMode="gray">
          <a:xfrm>
            <a:off x="5502957" y="1830346"/>
            <a:ext cx="1446257" cy="215444"/>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100000"/>
              </a:lnSpc>
            </a:pPr>
            <a:r>
              <a:rPr lang="de-DE" altLang="de-DE" sz="1400" b="1">
                <a:solidFill>
                  <a:srgbClr val="000000"/>
                </a:solidFill>
                <a:latin typeface="Arial" panose="020B0604020202020204" pitchFamily="34" charset="0"/>
                <a:cs typeface="Arial" panose="020B0604020202020204" pitchFamily="34" charset="0"/>
                <a:sym typeface="Arial" panose="020B0604020202020204" pitchFamily="34" charset="0"/>
              </a:rPr>
              <a:t>Versorgung</a:t>
            </a:r>
          </a:p>
        </p:txBody>
      </p:sp>
      <p:sp>
        <p:nvSpPr>
          <p:cNvPr id="33" name="Rectangle 19">
            <a:extLst>
              <a:ext uri="{FF2B5EF4-FFF2-40B4-BE49-F238E27FC236}">
                <a16:creationId xmlns:a16="http://schemas.microsoft.com/office/drawing/2014/main" xmlns="" id="{332F85C4-74DA-40C5-9715-465971E34820}"/>
              </a:ext>
            </a:extLst>
          </p:cNvPr>
          <p:cNvSpPr>
            <a:spLocks noChangeArrowheads="1"/>
          </p:cNvSpPr>
          <p:nvPr/>
        </p:nvSpPr>
        <p:spPr bwMode="gray">
          <a:xfrm>
            <a:off x="539750" y="1614903"/>
            <a:ext cx="1446257" cy="430887"/>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100000"/>
              </a:lnSpc>
            </a:pPr>
            <a:r>
              <a:rPr lang="de-DE" altLang="de-DE" sz="1400" b="1">
                <a:solidFill>
                  <a:srgbClr val="000000"/>
                </a:solidFill>
                <a:latin typeface="Arial" panose="020B0604020202020204" pitchFamily="34" charset="0"/>
                <a:cs typeface="Arial" panose="020B0604020202020204" pitchFamily="34" charset="0"/>
                <a:sym typeface="Arial" panose="020B0604020202020204" pitchFamily="34" charset="0"/>
              </a:rPr>
              <a:t>Öffentlicher Verkehr</a:t>
            </a:r>
          </a:p>
        </p:txBody>
      </p:sp>
      <p:sp>
        <p:nvSpPr>
          <p:cNvPr id="34" name="Rectangle 20">
            <a:extLst>
              <a:ext uri="{FF2B5EF4-FFF2-40B4-BE49-F238E27FC236}">
                <a16:creationId xmlns:a16="http://schemas.microsoft.com/office/drawing/2014/main" xmlns="" id="{B0B3AB9B-7EF4-4468-BD50-1504BD7A1D3C}"/>
              </a:ext>
            </a:extLst>
          </p:cNvPr>
          <p:cNvSpPr>
            <a:spLocks noChangeArrowheads="1"/>
          </p:cNvSpPr>
          <p:nvPr/>
        </p:nvSpPr>
        <p:spPr bwMode="gray">
          <a:xfrm>
            <a:off x="7157993" y="1830346"/>
            <a:ext cx="1446257" cy="215444"/>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100000"/>
              </a:lnSpc>
            </a:pPr>
            <a:r>
              <a:rPr lang="de-DE" altLang="de-DE" sz="1400" b="1" dirty="0">
                <a:solidFill>
                  <a:srgbClr val="000000"/>
                </a:solidFill>
                <a:latin typeface="Arial" panose="020B0604020202020204" pitchFamily="34" charset="0"/>
                <a:cs typeface="Arial" panose="020B0604020202020204" pitchFamily="34" charset="0"/>
                <a:sym typeface="Arial" panose="020B0604020202020204" pitchFamily="34" charset="0"/>
              </a:rPr>
              <a:t>Entsorgung</a:t>
            </a:r>
          </a:p>
        </p:txBody>
      </p:sp>
      <p:sp>
        <p:nvSpPr>
          <p:cNvPr id="35" name="Rectangle 21">
            <a:extLst>
              <a:ext uri="{FF2B5EF4-FFF2-40B4-BE49-F238E27FC236}">
                <a16:creationId xmlns:a16="http://schemas.microsoft.com/office/drawing/2014/main" xmlns="" id="{DC07D8A2-1FD3-4F7C-ADE6-FFE5A68D1D5E}"/>
              </a:ext>
            </a:extLst>
          </p:cNvPr>
          <p:cNvSpPr>
            <a:spLocks noChangeArrowheads="1"/>
          </p:cNvSpPr>
          <p:nvPr/>
        </p:nvSpPr>
        <p:spPr bwMode="gray">
          <a:xfrm>
            <a:off x="2192887" y="1851891"/>
            <a:ext cx="1446257" cy="193899"/>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90000"/>
              </a:lnSpc>
              <a:spcBef>
                <a:spcPct val="20000"/>
              </a:spcBef>
              <a:spcAft>
                <a:spcPct val="20000"/>
              </a:spcAft>
              <a:buClr>
                <a:srgbClr val="6696B5"/>
              </a:buClr>
              <a:buSzPct val="120000"/>
            </a:pPr>
            <a:r>
              <a:rPr lang="de-DE" altLang="de-DE" sz="1400" b="1">
                <a:solidFill>
                  <a:schemeClr val="tx1"/>
                </a:solidFill>
                <a:latin typeface="Arial" panose="020B0604020202020204" pitchFamily="34" charset="0"/>
                <a:cs typeface="Arial" panose="020B0604020202020204" pitchFamily="34" charset="0"/>
                <a:sym typeface="Arial" panose="020B0604020202020204" pitchFamily="34" charset="0"/>
              </a:rPr>
              <a:t>Eisenbahn</a:t>
            </a:r>
          </a:p>
        </p:txBody>
      </p:sp>
      <p:sp>
        <p:nvSpPr>
          <p:cNvPr id="36" name="Freihandform 4">
            <a:extLst>
              <a:ext uri="{FF2B5EF4-FFF2-40B4-BE49-F238E27FC236}">
                <a16:creationId xmlns:a16="http://schemas.microsoft.com/office/drawing/2014/main" xmlns="" id="{309E5FEE-D057-4F67-BD59-16454DEE101E}"/>
              </a:ext>
            </a:extLst>
          </p:cNvPr>
          <p:cNvSpPr/>
          <p:nvPr/>
        </p:nvSpPr>
        <p:spPr bwMode="gray">
          <a:xfrm>
            <a:off x="540653" y="2114551"/>
            <a:ext cx="8058150" cy="3906838"/>
          </a:xfrm>
          <a:custGeom>
            <a:avLst/>
            <a:gdLst>
              <a:gd name="connsiteX0" fmla="*/ 0 w 8058150"/>
              <a:gd name="connsiteY0" fmla="*/ 3933825 h 3933825"/>
              <a:gd name="connsiteX1" fmla="*/ 0 w 8058150"/>
              <a:gd name="connsiteY1" fmla="*/ 0 h 3933825"/>
              <a:gd name="connsiteX2" fmla="*/ 8058150 w 8058150"/>
              <a:gd name="connsiteY2" fmla="*/ 0 h 3933825"/>
            </a:gdLst>
            <a:ahLst/>
            <a:cxnLst>
              <a:cxn ang="0">
                <a:pos x="connsiteX0" y="connsiteY0"/>
              </a:cxn>
              <a:cxn ang="0">
                <a:pos x="connsiteX1" y="connsiteY1"/>
              </a:cxn>
              <a:cxn ang="0">
                <a:pos x="connsiteX2" y="connsiteY2"/>
              </a:cxn>
            </a:cxnLst>
            <a:rect l="l" t="t" r="r" b="b"/>
            <a:pathLst>
              <a:path w="8058150" h="3933825">
                <a:moveTo>
                  <a:pt x="0" y="3933825"/>
                </a:moveTo>
                <a:lnTo>
                  <a:pt x="0" y="0"/>
                </a:lnTo>
                <a:lnTo>
                  <a:pt x="8058150" y="0"/>
                </a:lnTo>
              </a:path>
            </a:pathLst>
          </a:custGeom>
          <a:noFill/>
          <a:ln w="19050">
            <a:solidFill>
              <a:schemeClr val="accent6"/>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sp>
        <p:nvSpPr>
          <p:cNvPr id="25" name="Foliennummernplatzhalter 3">
            <a:extLst>
              <a:ext uri="{FF2B5EF4-FFF2-40B4-BE49-F238E27FC236}">
                <a16:creationId xmlns:a16="http://schemas.microsoft.com/office/drawing/2014/main" xmlns="" id="{B8ACD527-F9FA-4E82-B4E0-52CCD2E0FA09}"/>
              </a:ext>
            </a:extLst>
          </p:cNvPr>
          <p:cNvSpPr txBox="1">
            <a:spLocks/>
          </p:cNvSpPr>
          <p:nvPr/>
        </p:nvSpPr>
        <p:spPr>
          <a:xfrm>
            <a:off x="519428" y="6295779"/>
            <a:ext cx="113814" cy="246221"/>
          </a:xfrm>
          <a:prstGeom prst="rect">
            <a:avLst/>
          </a:prstGeom>
        </p:spPr>
        <p:txBody>
          <a:bodyPr vert="horz" wrap="none" lIns="0" tIns="0" rIns="0" bIns="0" rtlCol="0" anchor="ctr">
            <a:spAutoFit/>
          </a:bodyPr>
          <a:lstStyle>
            <a:defPPr>
              <a:defRPr lang="de-DE"/>
            </a:defPPr>
            <a:lvl1pPr>
              <a:defRPr sz="1600">
                <a:solidFill>
                  <a:schemeClr val="accent1"/>
                </a:solidFill>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D21EFEB-933F-4F46-A5AD-B6372944D9E5}" type="slidenum">
              <a:rPr lang="de-DE">
                <a:sym typeface="Arial" panose="020B0604020202020204" pitchFamily="34" charset="0"/>
              </a:rPr>
              <a:pPr/>
              <a:t>2</a:t>
            </a:fld>
            <a:endParaRPr lang="de-DE" dirty="0">
              <a:sym typeface="Arial" panose="020B0604020202020204" pitchFamily="34" charset="0"/>
            </a:endParaRPr>
          </a:p>
        </p:txBody>
      </p:sp>
    </p:spTree>
    <p:extLst>
      <p:ext uri="{BB962C8B-B14F-4D97-AF65-F5344CB8AC3E}">
        <p14:creationId xmlns:p14="http://schemas.microsoft.com/office/powerpoint/2010/main" val="193464696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076B1DC3-23ED-4910-9CD6-A6F7165DEF97}"/>
              </a:ext>
            </a:extLst>
          </p:cNvPr>
          <p:cNvGraphicFramePr>
            <a:graphicFrameLocks noChangeAspect="1"/>
          </p:cNvGraphicFramePr>
          <p:nvPr>
            <p:custDataLst>
              <p:tags r:id="rId2"/>
            </p:custDataLst>
            <p:extLst>
              <p:ext uri="{D42A27DB-BD31-4B8C-83A1-F6EECF244321}">
                <p14:modId xmlns:p14="http://schemas.microsoft.com/office/powerpoint/2010/main" val="331689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1924" name="think-cell Folie" r:id="rId12" imgW="321" imgH="318" progId="TCLayout.ActiveDocument.1">
                  <p:embed/>
                </p:oleObj>
              </mc:Choice>
              <mc:Fallback>
                <p:oleObj name="think-cell Folie" r:id="rId12" imgW="321" imgH="318" progId="TCLayout.ActiveDocument.1">
                  <p:embed/>
                  <p:pic>
                    <p:nvPicPr>
                      <p:cNvPr id="5" name="Objekt 4" hidden="1">
                        <a:extLst>
                          <a:ext uri="{FF2B5EF4-FFF2-40B4-BE49-F238E27FC236}">
                            <a16:creationId xmlns:a16="http://schemas.microsoft.com/office/drawing/2014/main" xmlns="" id="{076B1DC3-23ED-4910-9CD6-A6F7165DEF9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 id="{7BE1DB50-E6AB-4193-866B-7B26B6A4AE5D}"/>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1400" dirty="0">
              <a:solidFill>
                <a:schemeClr val="tx1"/>
              </a:solidFill>
              <a:latin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xmlns="" id="{3F2647A3-3327-429B-BA83-56FFBC30EB00}"/>
              </a:ext>
            </a:extLst>
          </p:cNvPr>
          <p:cNvSpPr>
            <a:spLocks noGrp="1"/>
          </p:cNvSpPr>
          <p:nvPr>
            <p:ph type="title"/>
          </p:nvPr>
        </p:nvSpPr>
        <p:spPr/>
        <p:txBody>
          <a:bodyPr/>
          <a:lstStyle/>
          <a:p>
            <a:r>
              <a:rPr lang="de-DE" dirty="0"/>
              <a:t>Die Einnahmen aus der Parkraumbewirtschaftung in Wien, übertreffen die Einnahmen deutscher Städte deutlich</a:t>
            </a:r>
          </a:p>
        </p:txBody>
      </p:sp>
      <p:sp>
        <p:nvSpPr>
          <p:cNvPr id="4" name="Foliennummernplatzhalter 3">
            <a:extLst>
              <a:ext uri="{FF2B5EF4-FFF2-40B4-BE49-F238E27FC236}">
                <a16:creationId xmlns:a16="http://schemas.microsoft.com/office/drawing/2014/main" xmlns="" id="{C3CD2858-DC16-4283-936F-F82A3E7F7319}"/>
              </a:ext>
            </a:extLst>
          </p:cNvPr>
          <p:cNvSpPr>
            <a:spLocks noGrp="1"/>
          </p:cNvSpPr>
          <p:nvPr>
            <p:ph type="sldNum" sz="quarter" idx="11"/>
          </p:nvPr>
        </p:nvSpPr>
        <p:spPr/>
        <p:txBody>
          <a:bodyPr/>
          <a:lstStyle/>
          <a:p>
            <a:fld id="{CD21EFEB-933F-4F46-A5AD-B6372944D9E5}" type="slidenum">
              <a:rPr lang="de-DE" smtClean="0"/>
              <a:pPr/>
              <a:t>20</a:t>
            </a:fld>
            <a:endParaRPr lang="de-DE" dirty="0"/>
          </a:p>
        </p:txBody>
      </p:sp>
      <p:sp>
        <p:nvSpPr>
          <p:cNvPr id="9" name="Inhaltsplatzhalter 8">
            <a:extLst>
              <a:ext uri="{FF2B5EF4-FFF2-40B4-BE49-F238E27FC236}">
                <a16:creationId xmlns:a16="http://schemas.microsoft.com/office/drawing/2014/main" xmlns="" id="{141395D0-1E83-4412-ABE2-A8BBD71422A9}"/>
              </a:ext>
            </a:extLst>
          </p:cNvPr>
          <p:cNvSpPr>
            <a:spLocks noGrp="1"/>
          </p:cNvSpPr>
          <p:nvPr>
            <p:ph idx="1"/>
          </p:nvPr>
        </p:nvSpPr>
        <p:spPr/>
        <p:txBody>
          <a:bodyPr/>
          <a:lstStyle/>
          <a:p>
            <a:r>
              <a:rPr lang="de-DE" dirty="0"/>
              <a:t>Parkraumbewirtschaftung</a:t>
            </a:r>
          </a:p>
        </p:txBody>
      </p:sp>
      <p:graphicFrame>
        <p:nvGraphicFramePr>
          <p:cNvPr id="54" name="Chart 3">
            <a:extLst>
              <a:ext uri="{FF2B5EF4-FFF2-40B4-BE49-F238E27FC236}">
                <a16:creationId xmlns:a16="http://schemas.microsoft.com/office/drawing/2014/main" xmlns="" id="{9CAC0A56-A00D-45BD-A335-6414D70813D7}"/>
              </a:ext>
            </a:extLst>
          </p:cNvPr>
          <p:cNvGraphicFramePr/>
          <p:nvPr>
            <p:custDataLst>
              <p:tags r:id="rId4"/>
            </p:custDataLst>
            <p:extLst>
              <p:ext uri="{D42A27DB-BD31-4B8C-83A1-F6EECF244321}">
                <p14:modId xmlns:p14="http://schemas.microsoft.com/office/powerpoint/2010/main" val="2775319453"/>
              </p:ext>
            </p:extLst>
          </p:nvPr>
        </p:nvGraphicFramePr>
        <p:xfrm>
          <a:off x="457200" y="2543175"/>
          <a:ext cx="5492750" cy="2508250"/>
        </p:xfrm>
        <a:graphic>
          <a:graphicData uri="http://schemas.openxmlformats.org/drawingml/2006/chart">
            <c:chart xmlns:c="http://schemas.openxmlformats.org/drawingml/2006/chart" xmlns:r="http://schemas.openxmlformats.org/officeDocument/2006/relationships" r:id="rId14"/>
          </a:graphicData>
        </a:graphic>
      </p:graphicFrame>
      <p:sp>
        <p:nvSpPr>
          <p:cNvPr id="39" name="Textplatzhalter 2">
            <a:extLst>
              <a:ext uri="{FF2B5EF4-FFF2-40B4-BE49-F238E27FC236}">
                <a16:creationId xmlns:a16="http://schemas.microsoft.com/office/drawing/2014/main" xmlns="" id="{DDD5490E-1E48-4580-B016-639FF5AA4875}"/>
              </a:ext>
            </a:extLst>
          </p:cNvPr>
          <p:cNvSpPr>
            <a:spLocks noGrp="1"/>
          </p:cNvSpPr>
          <p:nvPr>
            <p:custDataLst>
              <p:tags r:id="rId5"/>
            </p:custDataLst>
          </p:nvPr>
        </p:nvSpPr>
        <p:spPr bwMode="auto">
          <a:xfrm>
            <a:off x="5149850" y="5027613"/>
            <a:ext cx="3683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C7543FB0-ECF7-4297-8C18-C2CB5F6677E3}" type="datetime'''''''''''''K''''''''''''''''''ö''''''''ln'''">
              <a:rPr lang="de-DE" altLang="en-US" sz="1400" smtClean="0"/>
              <a:pPr/>
              <a:t>Köln</a:t>
            </a:fld>
            <a:endParaRPr lang="de-DE" sz="1400" dirty="0">
              <a:sym typeface="+mn-lt"/>
            </a:endParaRPr>
          </a:p>
        </p:txBody>
      </p:sp>
      <p:sp>
        <p:nvSpPr>
          <p:cNvPr id="35" name="Textplatzhalter 2">
            <a:extLst>
              <a:ext uri="{FF2B5EF4-FFF2-40B4-BE49-F238E27FC236}">
                <a16:creationId xmlns:a16="http://schemas.microsoft.com/office/drawing/2014/main" xmlns="" id="{72DB6F49-E067-436D-AFD6-1845ED66FF71}"/>
              </a:ext>
            </a:extLst>
          </p:cNvPr>
          <p:cNvSpPr>
            <a:spLocks noGrp="1"/>
          </p:cNvSpPr>
          <p:nvPr>
            <p:custDataLst>
              <p:tags r:id="rId6"/>
            </p:custDataLst>
          </p:nvPr>
        </p:nvSpPr>
        <p:spPr bwMode="auto">
          <a:xfrm>
            <a:off x="2833688" y="5027613"/>
            <a:ext cx="7413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F4E0AFF9-F8D7-476C-86B3-1AAED66A98D5}" type="datetime'''Ha''''mb''''u''''''''r''''''''''''''''''g'''''''''''''">
              <a:rPr lang="de-DE" altLang="en-US" sz="1400" smtClean="0"/>
              <a:pPr/>
              <a:t>Hamburg</a:t>
            </a:fld>
            <a:endParaRPr lang="de-DE" sz="1400" dirty="0">
              <a:sym typeface="+mn-lt"/>
            </a:endParaRPr>
          </a:p>
        </p:txBody>
      </p:sp>
      <p:sp>
        <p:nvSpPr>
          <p:cNvPr id="19" name="Textplatzhalter 2">
            <a:extLst>
              <a:ext uri="{FF2B5EF4-FFF2-40B4-BE49-F238E27FC236}">
                <a16:creationId xmlns:a16="http://schemas.microsoft.com/office/drawing/2014/main" xmlns="" id="{4C18EA3C-C9B9-4B81-BF24-32531532CC46}"/>
              </a:ext>
            </a:extLst>
          </p:cNvPr>
          <p:cNvSpPr>
            <a:spLocks noGrp="1"/>
          </p:cNvSpPr>
          <p:nvPr>
            <p:custDataLst>
              <p:tags r:id="rId7"/>
            </p:custDataLst>
          </p:nvPr>
        </p:nvSpPr>
        <p:spPr bwMode="auto">
          <a:xfrm>
            <a:off x="863600" y="5027613"/>
            <a:ext cx="4175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74F5606D-495C-4AA0-A96A-4824F1646FAF}" type="datetime'''''''''''''''''''W''''''''''''''''''''''''''''''''i''''''en'">
              <a:rPr lang="de-DE" altLang="en-US" sz="1400" smtClean="0"/>
              <a:pPr/>
              <a:t>Wien</a:t>
            </a:fld>
            <a:endParaRPr lang="de-DE" sz="1400" dirty="0">
              <a:sym typeface="+mn-lt"/>
            </a:endParaRPr>
          </a:p>
        </p:txBody>
      </p:sp>
      <p:sp>
        <p:nvSpPr>
          <p:cNvPr id="33" name="Textplatzhalter 2">
            <a:extLst>
              <a:ext uri="{FF2B5EF4-FFF2-40B4-BE49-F238E27FC236}">
                <a16:creationId xmlns:a16="http://schemas.microsoft.com/office/drawing/2014/main" xmlns="" id="{4B982783-885C-4FE0-8F43-7296F781FFB1}"/>
              </a:ext>
            </a:extLst>
          </p:cNvPr>
          <p:cNvSpPr>
            <a:spLocks noGrp="1"/>
          </p:cNvSpPr>
          <p:nvPr>
            <p:custDataLst>
              <p:tags r:id="rId8"/>
            </p:custDataLst>
          </p:nvPr>
        </p:nvSpPr>
        <p:spPr bwMode="auto">
          <a:xfrm>
            <a:off x="1903413" y="5027613"/>
            <a:ext cx="4667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2127886B-6093-46A0-8CA8-BDCBE412C7AD}" type="datetime'''''B''''''''e''''''''r''l''''''''i''''''''n'">
              <a:rPr lang="de-DE" altLang="en-US" sz="1400" smtClean="0"/>
              <a:pPr/>
              <a:t>Berlin</a:t>
            </a:fld>
            <a:endParaRPr lang="de-DE" sz="1400" dirty="0">
              <a:sym typeface="+mn-lt"/>
            </a:endParaRPr>
          </a:p>
        </p:txBody>
      </p:sp>
      <p:sp>
        <p:nvSpPr>
          <p:cNvPr id="37" name="Textplatzhalter 2">
            <a:extLst>
              <a:ext uri="{FF2B5EF4-FFF2-40B4-BE49-F238E27FC236}">
                <a16:creationId xmlns:a16="http://schemas.microsoft.com/office/drawing/2014/main" xmlns="" id="{504135EC-2177-4E1E-836C-C504D94FB87F}"/>
              </a:ext>
            </a:extLst>
          </p:cNvPr>
          <p:cNvSpPr>
            <a:spLocks noGrp="1"/>
          </p:cNvSpPr>
          <p:nvPr>
            <p:custDataLst>
              <p:tags r:id="rId9"/>
            </p:custDataLst>
          </p:nvPr>
        </p:nvSpPr>
        <p:spPr bwMode="auto">
          <a:xfrm>
            <a:off x="3898900" y="5027613"/>
            <a:ext cx="7413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F3AEFC3C-0BBC-4CA9-80B1-C7FDF90CF609}" type="datetime'''''''''''M''''''''''''''''ü''''n''''c''h''''''''''e''''n'">
              <a:rPr lang="de-DE" altLang="en-US" sz="1400" smtClean="0"/>
              <a:pPr/>
              <a:t>München</a:t>
            </a:fld>
            <a:endParaRPr lang="de-DE" sz="1400" dirty="0">
              <a:sym typeface="+mn-lt"/>
            </a:endParaRPr>
          </a:p>
        </p:txBody>
      </p:sp>
      <p:pic>
        <p:nvPicPr>
          <p:cNvPr id="40" name="Grafik 39">
            <a:extLst>
              <a:ext uri="{FF2B5EF4-FFF2-40B4-BE49-F238E27FC236}">
                <a16:creationId xmlns:a16="http://schemas.microsoft.com/office/drawing/2014/main" xmlns="" id="{884DD064-072F-45AB-9A6D-56962E290998}"/>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3054423" y="5279371"/>
            <a:ext cx="257143" cy="360000"/>
          </a:xfrm>
          <a:prstGeom prst="rect">
            <a:avLst/>
          </a:prstGeom>
        </p:spPr>
      </p:pic>
      <p:pic>
        <p:nvPicPr>
          <p:cNvPr id="41" name="Grafik 40">
            <a:extLst>
              <a:ext uri="{FF2B5EF4-FFF2-40B4-BE49-F238E27FC236}">
                <a16:creationId xmlns:a16="http://schemas.microsoft.com/office/drawing/2014/main" xmlns="" id="{28045EA8-9E3A-4379-BBF7-8A0002C30D97}"/>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2018116" y="5238634"/>
            <a:ext cx="246933" cy="405519"/>
          </a:xfrm>
          <a:prstGeom prst="rect">
            <a:avLst/>
          </a:prstGeom>
        </p:spPr>
      </p:pic>
      <p:pic>
        <p:nvPicPr>
          <p:cNvPr id="42" name="Grafik 41">
            <a:extLst>
              <a:ext uri="{FF2B5EF4-FFF2-40B4-BE49-F238E27FC236}">
                <a16:creationId xmlns:a16="http://schemas.microsoft.com/office/drawing/2014/main" xmlns="" id="{C475B8F2-53D8-4E86-9E14-5D0D33182D83}"/>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4100940" y="5241923"/>
            <a:ext cx="288925" cy="361493"/>
          </a:xfrm>
          <a:prstGeom prst="rect">
            <a:avLst/>
          </a:prstGeom>
        </p:spPr>
      </p:pic>
      <p:pic>
        <p:nvPicPr>
          <p:cNvPr id="43" name="Grafik 42">
            <a:extLst>
              <a:ext uri="{FF2B5EF4-FFF2-40B4-BE49-F238E27FC236}">
                <a16:creationId xmlns:a16="http://schemas.microsoft.com/office/drawing/2014/main" xmlns="" id="{57A95974-E0D2-4EB5-9931-847FBE69A470}"/>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971600" y="5272421"/>
            <a:ext cx="257142" cy="334284"/>
          </a:xfrm>
          <a:prstGeom prst="rect">
            <a:avLst/>
          </a:prstGeom>
        </p:spPr>
      </p:pic>
      <p:pic>
        <p:nvPicPr>
          <p:cNvPr id="44" name="Grafik 43">
            <a:extLst>
              <a:ext uri="{FF2B5EF4-FFF2-40B4-BE49-F238E27FC236}">
                <a16:creationId xmlns:a16="http://schemas.microsoft.com/office/drawing/2014/main" xmlns="" id="{F3600AA6-3E2E-4592-AD77-2604E6D79424}"/>
              </a:ext>
            </a:extLst>
          </p:cNvPr>
          <p:cNvPicPr>
            <a:picLocks noChangeAspect="1"/>
          </p:cNvPicPr>
          <p:nvPr/>
        </p:nvPicPr>
        <p:blipFill>
          <a:blip r:embed="rId19"/>
          <a:stretch>
            <a:fillRect/>
          </a:stretch>
        </p:blipFill>
        <p:spPr>
          <a:xfrm flipH="1">
            <a:off x="5179240" y="5274589"/>
            <a:ext cx="299047" cy="359155"/>
          </a:xfrm>
          <a:prstGeom prst="rect">
            <a:avLst/>
          </a:prstGeom>
        </p:spPr>
      </p:pic>
      <p:sp>
        <p:nvSpPr>
          <p:cNvPr id="24" name="Textfeld 23">
            <a:extLst>
              <a:ext uri="{FF2B5EF4-FFF2-40B4-BE49-F238E27FC236}">
                <a16:creationId xmlns:a16="http://schemas.microsoft.com/office/drawing/2014/main" xmlns="" id="{49B2DE3A-F9E5-440C-AF38-EDE9F5BE0A5F}"/>
              </a:ext>
            </a:extLst>
          </p:cNvPr>
          <p:cNvSpPr txBox="1"/>
          <p:nvPr/>
        </p:nvSpPr>
        <p:spPr>
          <a:xfrm>
            <a:off x="488521" y="4756502"/>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
        <p:nvSpPr>
          <p:cNvPr id="31" name="Inhaltsplatzhalter 2">
            <a:extLst>
              <a:ext uri="{FF2B5EF4-FFF2-40B4-BE49-F238E27FC236}">
                <a16:creationId xmlns:a16="http://schemas.microsoft.com/office/drawing/2014/main" xmlns="" id="{D2547237-2D2F-454C-8EC2-030683726C72}"/>
              </a:ext>
            </a:extLst>
          </p:cNvPr>
          <p:cNvSpPr txBox="1">
            <a:spLocks/>
          </p:cNvSpPr>
          <p:nvPr/>
        </p:nvSpPr>
        <p:spPr>
          <a:xfrm>
            <a:off x="5916613" y="2061022"/>
            <a:ext cx="2735954"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Nahezu alle deutschen Großstädte könnten mit einer Intensivierung der Parkraumbewirtschaftung signifikant höhere Einnahmen generieren</a:t>
            </a:r>
          </a:p>
          <a:p>
            <a:pPr lvl="2"/>
            <a:r>
              <a:rPr lang="de-DE" sz="1400" dirty="0"/>
              <a:t>Bundesweit liegt das Potenzial im Milliardenbereich</a:t>
            </a:r>
          </a:p>
          <a:p>
            <a:pPr marL="0" lvl="2" indent="0">
              <a:buNone/>
            </a:pPr>
            <a:endParaRPr lang="de-DE" sz="1400" dirty="0"/>
          </a:p>
        </p:txBody>
      </p:sp>
      <p:sp>
        <p:nvSpPr>
          <p:cNvPr id="32" name="Rechteck 31">
            <a:extLst>
              <a:ext uri="{FF2B5EF4-FFF2-40B4-BE49-F238E27FC236}">
                <a16:creationId xmlns:a16="http://schemas.microsoft.com/office/drawing/2014/main" xmlns="" id="{27B33D26-B82C-4B6E-82E9-10B68EAAC0A7}"/>
              </a:ext>
            </a:extLst>
          </p:cNvPr>
          <p:cNvSpPr/>
          <p:nvPr/>
        </p:nvSpPr>
        <p:spPr>
          <a:xfrm>
            <a:off x="444500" y="1772665"/>
            <a:ext cx="4973234"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de-DE" sz="1400" b="1" dirty="0">
                <a:solidFill>
                  <a:schemeClr val="tx1"/>
                </a:solidFill>
              </a:rPr>
              <a:t>Einnahmen aus der Parkraumbewirtschaftung</a:t>
            </a:r>
          </a:p>
          <a:p>
            <a:pPr>
              <a:spcBef>
                <a:spcPts val="600"/>
              </a:spcBef>
            </a:pPr>
            <a:r>
              <a:rPr lang="de-DE" sz="1400" dirty="0">
                <a:solidFill>
                  <a:schemeClr val="tx1"/>
                </a:solidFill>
              </a:rPr>
              <a:t>in € pro Einwohner und Jahr (Gebühren, Strafen, Anwohner)</a:t>
            </a:r>
          </a:p>
        </p:txBody>
      </p:sp>
      <p:sp>
        <p:nvSpPr>
          <p:cNvPr id="34" name="Rechteck 33">
            <a:extLst>
              <a:ext uri="{FF2B5EF4-FFF2-40B4-BE49-F238E27FC236}">
                <a16:creationId xmlns:a16="http://schemas.microsoft.com/office/drawing/2014/main" xmlns="" id="{52204B50-65C7-4058-A1DF-3F0F1F118A90}"/>
              </a:ext>
            </a:extLst>
          </p:cNvPr>
          <p:cNvSpPr/>
          <p:nvPr/>
        </p:nvSpPr>
        <p:spPr>
          <a:xfrm>
            <a:off x="5916613" y="1734565"/>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Erläuterung</a:t>
            </a:r>
          </a:p>
        </p:txBody>
      </p:sp>
      <p:cxnSp>
        <p:nvCxnSpPr>
          <p:cNvPr id="36" name="Gerade Verbindung 6">
            <a:extLst>
              <a:ext uri="{FF2B5EF4-FFF2-40B4-BE49-F238E27FC236}">
                <a16:creationId xmlns:a16="http://schemas.microsoft.com/office/drawing/2014/main" xmlns="" id="{211DD076-D840-49CD-A8B0-6F93F8C73719}"/>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Gerade Verbindung 19">
            <a:extLst>
              <a:ext uri="{FF2B5EF4-FFF2-40B4-BE49-F238E27FC236}">
                <a16:creationId xmlns:a16="http://schemas.microsoft.com/office/drawing/2014/main" xmlns="" id="{8FE697C4-488A-410E-ACCE-4FBD01D62A8F}"/>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5" name="Gruppieren 44">
            <a:extLst>
              <a:ext uri="{FF2B5EF4-FFF2-40B4-BE49-F238E27FC236}">
                <a16:creationId xmlns:a16="http://schemas.microsoft.com/office/drawing/2014/main" xmlns="" id="{368DAD58-5CED-4374-8B7C-4A24FCE5A8E7}"/>
              </a:ext>
            </a:extLst>
          </p:cNvPr>
          <p:cNvGrpSpPr/>
          <p:nvPr/>
        </p:nvGrpSpPr>
        <p:grpSpPr>
          <a:xfrm>
            <a:off x="5477644" y="1628800"/>
            <a:ext cx="390500" cy="390500"/>
            <a:chOff x="5508104" y="1628800"/>
            <a:chExt cx="360040" cy="360040"/>
          </a:xfrm>
        </p:grpSpPr>
        <p:sp>
          <p:nvSpPr>
            <p:cNvPr id="46" name="Ellipse 45">
              <a:extLst>
                <a:ext uri="{FF2B5EF4-FFF2-40B4-BE49-F238E27FC236}">
                  <a16:creationId xmlns:a16="http://schemas.microsoft.com/office/drawing/2014/main" xmlns="" id="{EF9E8449-53E7-492B-AC1E-E7DDAF1BC120}"/>
                </a:ext>
              </a:extLst>
            </p:cNvPr>
            <p:cNvSpPr/>
            <p:nvPr/>
          </p:nvSpPr>
          <p:spPr>
            <a:xfrm>
              <a:off x="5508104" y="162880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47" name="Grafik 46">
              <a:extLst>
                <a:ext uri="{FF2B5EF4-FFF2-40B4-BE49-F238E27FC236}">
                  <a16:creationId xmlns:a16="http://schemas.microsoft.com/office/drawing/2014/main" xmlns="" id="{575303C0-6924-4EF3-A6ED-BE1F32184818}"/>
                </a:ext>
              </a:extLst>
            </p:cNvPr>
            <p:cNvPicPr>
              <a:picLocks noChangeAspect="1"/>
            </p:cNvPicPr>
            <p:nvPr/>
          </p:nvPicPr>
          <p:blipFill>
            <a:blip r:embed="rId20" cstate="hqprint">
              <a:duotone>
                <a:schemeClr val="accent5">
                  <a:shade val="45000"/>
                  <a:satMod val="135000"/>
                </a:schemeClr>
                <a:prstClr val="white"/>
              </a:duotone>
              <a:extLst>
                <a:ext uri="{BEBA8EAE-BF5A-486C-A8C5-ECC9F3942E4B}">
                  <a14:imgProps xmlns:a14="http://schemas.microsoft.com/office/drawing/2010/main">
                    <a14:imgLayer r:embed="rId21">
                      <a14:imgEffect>
                        <a14:brightnessContrast contrast="-70000"/>
                      </a14:imgEffect>
                    </a14:imgLayer>
                  </a14:imgProps>
                </a:ext>
                <a:ext uri="{28A0092B-C50C-407E-A947-70E740481C1C}">
                  <a14:useLocalDpi xmlns:a14="http://schemas.microsoft.com/office/drawing/2010/main"/>
                </a:ext>
              </a:extLst>
            </a:blip>
            <a:stretch>
              <a:fillRect/>
            </a:stretch>
          </p:blipFill>
          <p:spPr>
            <a:xfrm>
              <a:off x="5582380" y="1689364"/>
              <a:ext cx="230527" cy="230527"/>
            </a:xfrm>
            <a:prstGeom prst="rect">
              <a:avLst/>
            </a:prstGeom>
          </p:spPr>
        </p:pic>
      </p:grpSp>
      <p:sp>
        <p:nvSpPr>
          <p:cNvPr id="6" name="Textfeld 5">
            <a:extLst>
              <a:ext uri="{FF2B5EF4-FFF2-40B4-BE49-F238E27FC236}">
                <a16:creationId xmlns:a16="http://schemas.microsoft.com/office/drawing/2014/main" xmlns="" id="{3F69E950-3053-4F3E-B138-AA1B77CA9673}"/>
              </a:ext>
            </a:extLst>
          </p:cNvPr>
          <p:cNvSpPr txBox="1"/>
          <p:nvPr/>
        </p:nvSpPr>
        <p:spPr>
          <a:xfrm>
            <a:off x="-2556791" y="1196752"/>
            <a:ext cx="1786540" cy="6986528"/>
          </a:xfrm>
          <a:prstGeom prst="rect">
            <a:avLst/>
          </a:prstGeom>
          <a:solidFill>
            <a:schemeClr val="tx2"/>
          </a:solidFill>
        </p:spPr>
        <p:txBody>
          <a:bodyPr wrap="square" rtlCol="0">
            <a:spAutoFit/>
          </a:bodyPr>
          <a:lstStyle/>
          <a:p>
            <a:r>
              <a:rPr lang="de-DE" sz="1600" dirty="0"/>
              <a:t>„Geringer Steuerungseffekt aber hoher Finanzierungseffekt„</a:t>
            </a:r>
          </a:p>
          <a:p>
            <a:endParaRPr lang="de-DE" sz="1600" dirty="0"/>
          </a:p>
          <a:p>
            <a:r>
              <a:rPr lang="de-DE" sz="1600" dirty="0"/>
              <a:t>Vereinfachtes Rechenbeispiel: </a:t>
            </a:r>
            <a:r>
              <a:rPr lang="de-DE" sz="1600" b="1" dirty="0"/>
              <a:t>Würde Berlin nur halb so viel € pro Einwohner und Jahr einnehmen, dann hätte Berlin 112 </a:t>
            </a:r>
            <a:r>
              <a:rPr lang="de-DE" sz="1600" b="1" dirty="0" err="1"/>
              <a:t>Mio</a:t>
            </a:r>
            <a:r>
              <a:rPr lang="de-DE" sz="1600" b="1" dirty="0"/>
              <a:t> </a:t>
            </a:r>
            <a:r>
              <a:rPr lang="de-DE" sz="1600" b="1" dirty="0" err="1"/>
              <a:t>Eur</a:t>
            </a:r>
            <a:r>
              <a:rPr lang="de-DE" sz="1600" b="1" dirty="0"/>
              <a:t> mehr pro Jahr zur Verfügung</a:t>
            </a:r>
          </a:p>
          <a:p>
            <a:endParaRPr lang="de-DE" sz="1600" dirty="0"/>
          </a:p>
          <a:p>
            <a:r>
              <a:rPr lang="de-DE" sz="1600" b="1" dirty="0"/>
              <a:t>Hinweis auf parken Projekte bei </a:t>
            </a:r>
            <a:r>
              <a:rPr lang="de-DE" sz="1600" b="1" dirty="0" err="1"/>
              <a:t>civity</a:t>
            </a:r>
            <a:endParaRPr lang="de-DE" sz="1600" b="1" dirty="0"/>
          </a:p>
          <a:p>
            <a:endParaRPr lang="de-DE" sz="1600" b="1" dirty="0"/>
          </a:p>
          <a:p>
            <a:endParaRPr lang="de-DE" sz="1600" b="1" dirty="0"/>
          </a:p>
          <a:p>
            <a:r>
              <a:rPr lang="de-DE" sz="1600" dirty="0"/>
              <a:t>Folie 38 als Back-up mit genauer Aufschlüsselung </a:t>
            </a:r>
          </a:p>
        </p:txBody>
      </p:sp>
    </p:spTree>
    <p:extLst>
      <p:ext uri="{BB962C8B-B14F-4D97-AF65-F5344CB8AC3E}">
        <p14:creationId xmlns:p14="http://schemas.microsoft.com/office/powerpoint/2010/main" val="2181582866"/>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xmlns="" id="{FD0C66BB-B5AB-4CDC-BFD9-4922E15C5E3A}"/>
              </a:ext>
            </a:extLst>
          </p:cNvPr>
          <p:cNvGraphicFramePr>
            <a:graphicFrameLocks noChangeAspect="1"/>
          </p:cNvGraphicFramePr>
          <p:nvPr>
            <p:custDataLst>
              <p:tags r:id="rId2"/>
            </p:custDataLst>
            <p:extLst>
              <p:ext uri="{D42A27DB-BD31-4B8C-83A1-F6EECF244321}">
                <p14:modId xmlns:p14="http://schemas.microsoft.com/office/powerpoint/2010/main" val="426572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4820" name="think-cell Folie" r:id="rId25" imgW="530" imgH="531" progId="TCLayout.ActiveDocument.1">
                  <p:embed/>
                </p:oleObj>
              </mc:Choice>
              <mc:Fallback>
                <p:oleObj name="think-cell Folie" r:id="rId25" imgW="530" imgH="531" progId="TCLayout.ActiveDocument.1">
                  <p:embed/>
                  <p:pic>
                    <p:nvPicPr>
                      <p:cNvPr id="18" name="Objekt 17" hidden="1">
                        <a:extLst>
                          <a:ext uri="{FF2B5EF4-FFF2-40B4-BE49-F238E27FC236}">
                            <a16:creationId xmlns:a16="http://schemas.microsoft.com/office/drawing/2014/main" xmlns="" id="{FD0C66BB-B5AB-4CDC-BFD9-4922E15C5E3A}"/>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3" name="Rechteck 62" hidden="1">
            <a:extLst>
              <a:ext uri="{FF2B5EF4-FFF2-40B4-BE49-F238E27FC236}">
                <a16:creationId xmlns:a16="http://schemas.microsoft.com/office/drawing/2014/main" xmlns="" id="{16760A1F-408A-4475-8F48-8C53A38A0508}"/>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1400" dirty="0">
              <a:solidFill>
                <a:schemeClr val="tx1"/>
              </a:solidFill>
              <a:sym typeface="+mn-lt"/>
            </a:endParaRPr>
          </a:p>
        </p:txBody>
      </p:sp>
      <p:graphicFrame>
        <p:nvGraphicFramePr>
          <p:cNvPr id="42" name="Chart 3">
            <a:extLst>
              <a:ext uri="{FF2B5EF4-FFF2-40B4-BE49-F238E27FC236}">
                <a16:creationId xmlns:a16="http://schemas.microsoft.com/office/drawing/2014/main" xmlns="" id="{F177431D-4DC1-4162-8CE5-77DC3D2554FA}"/>
              </a:ext>
            </a:extLst>
          </p:cNvPr>
          <p:cNvGraphicFramePr/>
          <p:nvPr>
            <p:custDataLst>
              <p:tags r:id="rId4"/>
            </p:custDataLst>
            <p:extLst>
              <p:ext uri="{D42A27DB-BD31-4B8C-83A1-F6EECF244321}">
                <p14:modId xmlns:p14="http://schemas.microsoft.com/office/powerpoint/2010/main" val="2575233982"/>
              </p:ext>
            </p:extLst>
          </p:nvPr>
        </p:nvGraphicFramePr>
        <p:xfrm>
          <a:off x="868363" y="2363788"/>
          <a:ext cx="5081587" cy="2717800"/>
        </p:xfrm>
        <a:graphic>
          <a:graphicData uri="http://schemas.openxmlformats.org/drawingml/2006/chart">
            <c:chart xmlns:c="http://schemas.openxmlformats.org/drawingml/2006/chart" xmlns:r="http://schemas.openxmlformats.org/officeDocument/2006/relationships" r:id="rId27"/>
          </a:graphicData>
        </a:graphic>
      </p:graphicFrame>
      <p:cxnSp>
        <p:nvCxnSpPr>
          <p:cNvPr id="11" name="Gerader Verbinder 10">
            <a:extLst>
              <a:ext uri="{FF2B5EF4-FFF2-40B4-BE49-F238E27FC236}">
                <a16:creationId xmlns:a16="http://schemas.microsoft.com/office/drawing/2014/main" xmlns="" id="{4BEB50CF-0951-4CA2-8F42-6DDDE0A2544E}"/>
              </a:ext>
            </a:extLst>
          </p:cNvPr>
          <p:cNvCxnSpPr/>
          <p:nvPr>
            <p:custDataLst>
              <p:tags r:id="rId5"/>
            </p:custDataLst>
          </p:nvPr>
        </p:nvCxnSpPr>
        <p:spPr bwMode="gray">
          <a:xfrm flipV="1">
            <a:off x="3251200" y="2397124"/>
            <a:ext cx="0" cy="174625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xmlns="" id="{C713BF8F-BBEB-469B-801F-1AAFAAFAE0F5}"/>
              </a:ext>
            </a:extLst>
          </p:cNvPr>
          <p:cNvCxnSpPr/>
          <p:nvPr>
            <p:custDataLst>
              <p:tags r:id="rId6"/>
            </p:custDataLst>
          </p:nvPr>
        </p:nvCxnSpPr>
        <p:spPr bwMode="gray">
          <a:xfrm>
            <a:off x="3251200" y="2397125"/>
            <a:ext cx="2441575"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B3289D58-1BB4-4BDF-8A44-D5EFD267D507}"/>
              </a:ext>
            </a:extLst>
          </p:cNvPr>
          <p:cNvCxnSpPr/>
          <p:nvPr>
            <p:custDataLst>
              <p:tags r:id="rId7"/>
            </p:custDataLst>
          </p:nvPr>
        </p:nvCxnSpPr>
        <p:spPr bwMode="gray">
          <a:xfrm>
            <a:off x="5692775" y="2397125"/>
            <a:ext cx="0" cy="198438"/>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platzhalter 2">
            <a:extLst>
              <a:ext uri="{FF2B5EF4-FFF2-40B4-BE49-F238E27FC236}">
                <a16:creationId xmlns:a16="http://schemas.microsoft.com/office/drawing/2014/main" xmlns="" id="{C434B858-243D-43B7-9B8B-E336A0455E7E}"/>
              </a:ext>
            </a:extLst>
          </p:cNvPr>
          <p:cNvSpPr>
            <a:spLocks noGrp="1"/>
          </p:cNvSpPr>
          <p:nvPr>
            <p:custDataLst>
              <p:tags r:id="rId8"/>
            </p:custDataLst>
          </p:nvPr>
        </p:nvSpPr>
        <p:spPr bwMode="auto">
          <a:xfrm>
            <a:off x="3494088"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DFD8D9E4-52CA-4025-ABD0-E2F5E6E6780F}" type="datetime'''''2''''''''''''''''''''''''012'''''''''''''''''''''''">
              <a:rPr lang="de-DE" altLang="en-US" sz="1400" smtClean="0">
                <a:cs typeface="Arial" panose="020B0604020202020204" pitchFamily="34" charset="0"/>
              </a:rPr>
              <a:pPr/>
              <a:t>2012</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46" name="Textplatzhalter 2">
            <a:extLst>
              <a:ext uri="{FF2B5EF4-FFF2-40B4-BE49-F238E27FC236}">
                <a16:creationId xmlns:a16="http://schemas.microsoft.com/office/drawing/2014/main" xmlns="" id="{5C488F27-C8D0-4BBD-BF67-9FCE8B0836A1}"/>
              </a:ext>
            </a:extLst>
          </p:cNvPr>
          <p:cNvSpPr>
            <a:spLocks noGrp="1"/>
          </p:cNvSpPr>
          <p:nvPr>
            <p:custDataLst>
              <p:tags r:id="rId9"/>
            </p:custDataLst>
          </p:nvPr>
        </p:nvSpPr>
        <p:spPr bwMode="auto">
          <a:xfrm>
            <a:off x="1749425"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4FE99AE4-9A87-4455-A018-40EEC399A209}" type="datetime'''''''2''''''''''0''''''''07'''''">
              <a:rPr lang="de-DE" altLang="en-US" sz="1400" smtClean="0">
                <a:cs typeface="Arial" panose="020B0604020202020204" pitchFamily="34" charset="0"/>
              </a:rPr>
              <a:pPr/>
              <a:t>2007</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56" name="Textplatzhalter 2">
            <a:extLst>
              <a:ext uri="{FF2B5EF4-FFF2-40B4-BE49-F238E27FC236}">
                <a16:creationId xmlns:a16="http://schemas.microsoft.com/office/drawing/2014/main" xmlns="" id="{4D7829CE-0C4F-4D5E-9176-5DB6F6F04FF0}"/>
              </a:ext>
            </a:extLst>
          </p:cNvPr>
          <p:cNvSpPr>
            <a:spLocks noGrp="1"/>
          </p:cNvSpPr>
          <p:nvPr>
            <p:custDataLst>
              <p:tags r:id="rId10"/>
            </p:custDataLst>
          </p:nvPr>
        </p:nvSpPr>
        <p:spPr bwMode="auto">
          <a:xfrm>
            <a:off x="3843338"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DA7A6BCC-11E3-4E62-B8E3-508F999A554C}" type="datetime'20''''''1''''''''''''''3'">
              <a:rPr lang="de-DE" altLang="en-US" sz="1400" smtClean="0">
                <a:cs typeface="Arial" panose="020B0604020202020204" pitchFamily="34" charset="0"/>
              </a:rPr>
              <a:pPr/>
              <a:t>2013</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51" name="Textplatzhalter 2">
            <a:extLst>
              <a:ext uri="{FF2B5EF4-FFF2-40B4-BE49-F238E27FC236}">
                <a16:creationId xmlns:a16="http://schemas.microsoft.com/office/drawing/2014/main" xmlns="" id="{3EFF5BBE-3461-4F38-B221-840A1281FFB6}"/>
              </a:ext>
            </a:extLst>
          </p:cNvPr>
          <p:cNvSpPr>
            <a:spLocks noGrp="1"/>
          </p:cNvSpPr>
          <p:nvPr>
            <p:custDataLst>
              <p:tags r:id="rId11"/>
            </p:custDataLst>
          </p:nvPr>
        </p:nvSpPr>
        <p:spPr bwMode="auto">
          <a:xfrm>
            <a:off x="3144838" y="5011738"/>
            <a:ext cx="212725"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50CDA56-B6EB-418D-8CDB-D33DFED2F045}" type="datetime'2''''''''''''0''''''''''''''''''''''''1''1'''">
              <a:rPr lang="de-DE" altLang="en-US" sz="1400" smtClean="0">
                <a:cs typeface="Arial" panose="020B0604020202020204" pitchFamily="34" charset="0"/>
              </a:rPr>
              <a:pPr/>
              <a:t>2011</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50" name="Textplatzhalter 2">
            <a:extLst>
              <a:ext uri="{FF2B5EF4-FFF2-40B4-BE49-F238E27FC236}">
                <a16:creationId xmlns:a16="http://schemas.microsoft.com/office/drawing/2014/main" xmlns="" id="{F5394E52-71CF-44D3-AEBC-60A324B871DA}"/>
              </a:ext>
            </a:extLst>
          </p:cNvPr>
          <p:cNvSpPr>
            <a:spLocks noGrp="1"/>
          </p:cNvSpPr>
          <p:nvPr>
            <p:custDataLst>
              <p:tags r:id="rId12"/>
            </p:custDataLst>
          </p:nvPr>
        </p:nvSpPr>
        <p:spPr bwMode="auto">
          <a:xfrm>
            <a:off x="2795588"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D3E9EA6B-D13D-4CF4-A35A-EDA525EBE60A}" type="datetime'''''''''''20''''''10'''''">
              <a:rPr lang="de-DE" altLang="en-US" sz="1400" smtClean="0">
                <a:cs typeface="Arial" panose="020B0604020202020204" pitchFamily="34" charset="0"/>
              </a:rPr>
              <a:pPr/>
              <a:t>2010</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45" name="Textplatzhalter 2">
            <a:extLst>
              <a:ext uri="{FF2B5EF4-FFF2-40B4-BE49-F238E27FC236}">
                <a16:creationId xmlns:a16="http://schemas.microsoft.com/office/drawing/2014/main" xmlns="" id="{E2AEB635-A970-4CE5-AD8E-9B4E59A4F84C}"/>
              </a:ext>
            </a:extLst>
          </p:cNvPr>
          <p:cNvSpPr>
            <a:spLocks noGrp="1"/>
          </p:cNvSpPr>
          <p:nvPr>
            <p:custDataLst>
              <p:tags r:id="rId13"/>
            </p:custDataLst>
          </p:nvPr>
        </p:nvSpPr>
        <p:spPr bwMode="auto">
          <a:xfrm>
            <a:off x="1401763"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C410447-18AB-4AA2-9705-9D16DBC58291}" type="datetime'''2''''''''''''''''''''''0''''''''0''''''''6'''''">
              <a:rPr lang="de-DE" altLang="en-US" sz="1400" smtClean="0">
                <a:cs typeface="Arial" panose="020B0604020202020204" pitchFamily="34" charset="0"/>
              </a:rPr>
              <a:pPr/>
              <a:t>2006</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48" name="Textplatzhalter 2">
            <a:extLst>
              <a:ext uri="{FF2B5EF4-FFF2-40B4-BE49-F238E27FC236}">
                <a16:creationId xmlns:a16="http://schemas.microsoft.com/office/drawing/2014/main" xmlns="" id="{3EF55100-EA3F-40C2-A94A-84632CD315DE}"/>
              </a:ext>
            </a:extLst>
          </p:cNvPr>
          <p:cNvSpPr>
            <a:spLocks noGrp="1"/>
          </p:cNvSpPr>
          <p:nvPr>
            <p:custDataLst>
              <p:tags r:id="rId14"/>
            </p:custDataLst>
          </p:nvPr>
        </p:nvSpPr>
        <p:spPr bwMode="auto">
          <a:xfrm>
            <a:off x="2098675"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D3292A27-E3CB-44F0-ADF8-A737FACDA427}" type="datetime'''''2''''00''''''''''''''8'''''''''''''">
              <a:rPr lang="de-DE" altLang="en-US" sz="1400" smtClean="0">
                <a:cs typeface="Arial" panose="020B0604020202020204" pitchFamily="34" charset="0"/>
              </a:rPr>
              <a:pPr/>
              <a:t>2008</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49" name="Textplatzhalter 2">
            <a:extLst>
              <a:ext uri="{FF2B5EF4-FFF2-40B4-BE49-F238E27FC236}">
                <a16:creationId xmlns:a16="http://schemas.microsoft.com/office/drawing/2014/main" xmlns="" id="{A0530800-89BC-4321-B5BC-18D3B88E1CA1}"/>
              </a:ext>
            </a:extLst>
          </p:cNvPr>
          <p:cNvSpPr>
            <a:spLocks noGrp="1"/>
          </p:cNvSpPr>
          <p:nvPr>
            <p:custDataLst>
              <p:tags r:id="rId15"/>
            </p:custDataLst>
          </p:nvPr>
        </p:nvSpPr>
        <p:spPr bwMode="auto">
          <a:xfrm>
            <a:off x="2447925"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FBF939C-6BED-4BFD-B1EA-3D5688AEA074}" type="datetime'''''2''''0''''''''''''''''''''0''''9'">
              <a:rPr lang="de-DE" altLang="en-US" sz="1400" smtClean="0">
                <a:cs typeface="Arial" panose="020B0604020202020204" pitchFamily="34" charset="0"/>
              </a:rPr>
              <a:pPr/>
              <a:t>2009</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57" name="Textplatzhalter 2">
            <a:extLst>
              <a:ext uri="{FF2B5EF4-FFF2-40B4-BE49-F238E27FC236}">
                <a16:creationId xmlns:a16="http://schemas.microsoft.com/office/drawing/2014/main" xmlns="" id="{6DC4D97A-4149-46D9-9C5D-777AF1C61E5B}"/>
              </a:ext>
            </a:extLst>
          </p:cNvPr>
          <p:cNvSpPr>
            <a:spLocks noGrp="1"/>
          </p:cNvSpPr>
          <p:nvPr>
            <p:custDataLst>
              <p:tags r:id="rId16"/>
            </p:custDataLst>
          </p:nvPr>
        </p:nvSpPr>
        <p:spPr bwMode="auto">
          <a:xfrm>
            <a:off x="4191000"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445F73D-6819-4015-A974-707EC5813EFC}" type="datetime'20''''''''''1''''''4'''''''''''''">
              <a:rPr lang="de-DE" altLang="en-US" sz="1400" smtClean="0">
                <a:cs typeface="Arial" panose="020B0604020202020204" pitchFamily="34" charset="0"/>
              </a:rPr>
              <a:pPr/>
              <a:t>2014</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58" name="Textplatzhalter 2">
            <a:extLst>
              <a:ext uri="{FF2B5EF4-FFF2-40B4-BE49-F238E27FC236}">
                <a16:creationId xmlns:a16="http://schemas.microsoft.com/office/drawing/2014/main" xmlns="" id="{6089B91C-24D7-467E-948B-7B8E810C0BA4}"/>
              </a:ext>
            </a:extLst>
          </p:cNvPr>
          <p:cNvSpPr>
            <a:spLocks noGrp="1"/>
          </p:cNvSpPr>
          <p:nvPr>
            <p:custDataLst>
              <p:tags r:id="rId17"/>
            </p:custDataLst>
          </p:nvPr>
        </p:nvSpPr>
        <p:spPr bwMode="auto">
          <a:xfrm>
            <a:off x="4540250"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B1515B8E-2EEE-4566-A02A-EDE1528BB121}" type="datetime'''''''''''''2''''0''''''''''''''1''''''''''''''''''5'''">
              <a:rPr lang="de-DE" altLang="en-US" sz="1400" smtClean="0">
                <a:cs typeface="Arial" panose="020B0604020202020204" pitchFamily="34" charset="0"/>
              </a:rPr>
              <a:pPr/>
              <a:t>2015</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47" name="Textplatzhalter 2">
            <a:extLst>
              <a:ext uri="{FF2B5EF4-FFF2-40B4-BE49-F238E27FC236}">
                <a16:creationId xmlns:a16="http://schemas.microsoft.com/office/drawing/2014/main" xmlns="" id="{CB76ADAF-8BA8-48B1-9157-C3013B7A4498}"/>
              </a:ext>
            </a:extLst>
          </p:cNvPr>
          <p:cNvSpPr>
            <a:spLocks noGrp="1"/>
          </p:cNvSpPr>
          <p:nvPr>
            <p:custDataLst>
              <p:tags r:id="rId18"/>
            </p:custDataLst>
          </p:nvPr>
        </p:nvSpPr>
        <p:spPr bwMode="auto">
          <a:xfrm>
            <a:off x="4889500"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24D7D92-7ECE-42DD-8DCA-2A6642A3E7FE}" type="datetime'2''''''''0''''16'''''''''''">
              <a:rPr lang="de-DE" altLang="en-US" sz="1400" smtClean="0">
                <a:cs typeface="Arial" panose="020B0604020202020204" pitchFamily="34" charset="0"/>
              </a:rPr>
              <a:pPr/>
              <a:t>2016</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53" name="Textplatzhalter 2">
            <a:extLst>
              <a:ext uri="{FF2B5EF4-FFF2-40B4-BE49-F238E27FC236}">
                <a16:creationId xmlns:a16="http://schemas.microsoft.com/office/drawing/2014/main" xmlns="" id="{1624EBD6-F7DA-40F7-A25C-B0D2535B6B19}"/>
              </a:ext>
            </a:extLst>
          </p:cNvPr>
          <p:cNvSpPr>
            <a:spLocks noGrp="1"/>
          </p:cNvSpPr>
          <p:nvPr>
            <p:custDataLst>
              <p:tags r:id="rId19"/>
            </p:custDataLst>
          </p:nvPr>
        </p:nvSpPr>
        <p:spPr bwMode="auto">
          <a:xfrm>
            <a:off x="5237163"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5AA8A94-25C0-4A4E-B304-66CCD3A493DE}" type="datetime'2''''''''''''''''''''''0''''1''7'''''''''">
              <a:rPr lang="de-DE" altLang="en-US" sz="1400" smtClean="0">
                <a:cs typeface="Arial" panose="020B0604020202020204" pitchFamily="34" charset="0"/>
              </a:rPr>
              <a:pPr/>
              <a:t>2017</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54" name="Textplatzhalter 2">
            <a:extLst>
              <a:ext uri="{FF2B5EF4-FFF2-40B4-BE49-F238E27FC236}">
                <a16:creationId xmlns:a16="http://schemas.microsoft.com/office/drawing/2014/main" xmlns="" id="{EE878A9D-9F99-4B32-9010-CD49A9543818}"/>
              </a:ext>
            </a:extLst>
          </p:cNvPr>
          <p:cNvSpPr>
            <a:spLocks noGrp="1"/>
          </p:cNvSpPr>
          <p:nvPr>
            <p:custDataLst>
              <p:tags r:id="rId20"/>
            </p:custDataLst>
          </p:nvPr>
        </p:nvSpPr>
        <p:spPr bwMode="auto">
          <a:xfrm>
            <a:off x="5586413" y="5011738"/>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384490D-B05A-4DAF-A8B1-2ACF02E20006}" type="datetime'20''''''''1''''''''''''''''''8'">
              <a:rPr lang="de-DE" altLang="en-US" sz="1400" smtClean="0">
                <a:cs typeface="Arial" panose="020B0604020202020204" pitchFamily="34" charset="0"/>
              </a:rPr>
              <a:pPr/>
              <a:t>2018</a:t>
            </a:fld>
            <a:endParaRPr lang="de-DE" sz="1400" dirty="0">
              <a:latin typeface="Arial" panose="020B0604020202020204" pitchFamily="34" charset="0"/>
              <a:cs typeface="Arial" panose="020B0604020202020204" pitchFamily="34" charset="0"/>
              <a:sym typeface="Arial" panose="020B0604020202020204" pitchFamily="34" charset="0"/>
            </a:endParaRPr>
          </a:p>
        </p:txBody>
      </p:sp>
      <p:sp>
        <p:nvSpPr>
          <p:cNvPr id="35" name="Textplatzhalter 2">
            <a:extLst>
              <a:ext uri="{FF2B5EF4-FFF2-40B4-BE49-F238E27FC236}">
                <a16:creationId xmlns:a16="http://schemas.microsoft.com/office/drawing/2014/main" xmlns="" id="{1F193C7B-8226-44F7-BB8A-85750A947FE6}"/>
              </a:ext>
            </a:extLst>
          </p:cNvPr>
          <p:cNvSpPr>
            <a:spLocks noGrp="1"/>
          </p:cNvSpPr>
          <p:nvPr>
            <p:custDataLst>
              <p:tags r:id="rId21"/>
            </p:custDataLst>
          </p:nvPr>
        </p:nvSpPr>
        <p:spPr bwMode="auto">
          <a:xfrm>
            <a:off x="4259263" y="2246313"/>
            <a:ext cx="425450" cy="301625"/>
          </a:xfrm>
          <a:prstGeom prst="ellipse">
            <a:avLst/>
          </a:prstGeom>
          <a:solidFill>
            <a:schemeClr val="bg1"/>
          </a:solidFill>
          <a:ln w="9525">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ctr">
              <a:spcBef>
                <a:spcPct val="0"/>
              </a:spcBef>
              <a:spcAft>
                <a:spcPct val="0"/>
              </a:spcAft>
            </a:pPr>
            <a:fld id="{5E07C542-A30B-4178-9E86-1407617DF800}" type="datetime'+''''4''''''''''''4'''''''''''''">
              <a:rPr lang="de-DE" altLang="en-US" sz="1400" b="1" smtClean="0"/>
              <a:pPr lvl="1" algn="ctr">
                <a:spcBef>
                  <a:spcPct val="0"/>
                </a:spcBef>
                <a:spcAft>
                  <a:spcPct val="0"/>
                </a:spcAft>
              </a:pPr>
              <a:t>+44</a:t>
            </a:fld>
            <a:endParaRPr lang="de-DE" sz="1400" b="1" dirty="0"/>
          </a:p>
        </p:txBody>
      </p:sp>
      <p:sp>
        <p:nvSpPr>
          <p:cNvPr id="2" name="Titel 1">
            <a:extLst>
              <a:ext uri="{FF2B5EF4-FFF2-40B4-BE49-F238E27FC236}">
                <a16:creationId xmlns:a16="http://schemas.microsoft.com/office/drawing/2014/main" xmlns="" id="{BF88F53C-7F34-408E-B8F0-F565BAE5F500}"/>
              </a:ext>
            </a:extLst>
          </p:cNvPr>
          <p:cNvSpPr>
            <a:spLocks noGrp="1"/>
          </p:cNvSpPr>
          <p:nvPr>
            <p:ph type="title"/>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Durch die Erhöhung der Dienstgeberabgabe („U-Bahn-Steuer“) konnten erhebliche Mittel generiert werden</a:t>
            </a:r>
          </a:p>
        </p:txBody>
      </p:sp>
      <p:sp>
        <p:nvSpPr>
          <p:cNvPr id="3" name="Inhaltsplatzhalter 2">
            <a:extLst>
              <a:ext uri="{FF2B5EF4-FFF2-40B4-BE49-F238E27FC236}">
                <a16:creationId xmlns:a16="http://schemas.microsoft.com/office/drawing/2014/main" xmlns="" id="{92F91C9C-77AA-4392-9B07-071CE84E86B4}"/>
              </a:ext>
            </a:extLst>
          </p:cNvPr>
          <p:cNvSpPr>
            <a:spLocks noGrp="1"/>
          </p:cNvSpPr>
          <p:nvPr>
            <p:ph idx="1"/>
          </p:nvPr>
        </p:nvSpPr>
        <p:spPr>
          <a:xfrm>
            <a:off x="451758" y="1083558"/>
            <a:ext cx="6635010" cy="292316"/>
          </a:xfrm>
        </p:spPr>
        <p:txBody>
          <a:bodyPr/>
          <a:lstStyle/>
          <a:p>
            <a:r>
              <a:rPr lang="de-DE" dirty="0" err="1">
                <a:latin typeface="Arial" panose="020B0604020202020204" pitchFamily="34" charset="0"/>
                <a:cs typeface="Arial" panose="020B0604020202020204" pitchFamily="34" charset="0"/>
                <a:sym typeface="Arial" panose="020B0604020202020204" pitchFamily="34" charset="0"/>
              </a:rPr>
              <a:t>Nutznießerfinanzierung</a:t>
            </a:r>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4" name="Foliennummernplatzhalter 3">
            <a:extLst>
              <a:ext uri="{FF2B5EF4-FFF2-40B4-BE49-F238E27FC236}">
                <a16:creationId xmlns:a16="http://schemas.microsoft.com/office/drawing/2014/main" xmlns="" id="{4CA19CA0-5DCD-409A-A958-58A83628880B}"/>
              </a:ext>
            </a:extLst>
          </p:cNvPr>
          <p:cNvSpPr>
            <a:spLocks noGrp="1"/>
          </p:cNvSpPr>
          <p:nvPr>
            <p:ph type="sldNum" sz="quarter" idx="11"/>
          </p:nvPr>
        </p:nvSpPr>
        <p:spPr>
          <a:xfrm>
            <a:off x="519428" y="6295779"/>
            <a:ext cx="227626" cy="246221"/>
          </a:xfrm>
        </p:spPr>
        <p:txBody>
          <a:bodyPr/>
          <a:lstStyle/>
          <a:p>
            <a:fld id="{CD21EFEB-933F-4F46-A5AD-B6372944D9E5}" type="slidenum">
              <a:rPr lang="de-DE" smtClean="0">
                <a:latin typeface="Arial" panose="020B0604020202020204" pitchFamily="34" charset="0"/>
                <a:cs typeface="Arial" panose="020B0604020202020204" pitchFamily="34" charset="0"/>
                <a:sym typeface="Arial" panose="020B0604020202020204" pitchFamily="34" charset="0"/>
              </a:rPr>
              <a:pPr/>
              <a:t>21</a:t>
            </a:fld>
            <a:endParaRPr lang="de-DE">
              <a:latin typeface="Arial" panose="020B0604020202020204" pitchFamily="34" charset="0"/>
              <a:cs typeface="Arial" panose="020B0604020202020204" pitchFamily="34" charset="0"/>
              <a:sym typeface="Arial" panose="020B0604020202020204" pitchFamily="34" charset="0"/>
            </a:endParaRPr>
          </a:p>
        </p:txBody>
      </p:sp>
      <p:sp>
        <p:nvSpPr>
          <p:cNvPr id="6" name="Inhaltsplatzhalter 2">
            <a:extLst>
              <a:ext uri="{FF2B5EF4-FFF2-40B4-BE49-F238E27FC236}">
                <a16:creationId xmlns:a16="http://schemas.microsoft.com/office/drawing/2014/main" xmlns="" id="{994620FD-BA54-4BA3-A981-24C831CB8F7F}"/>
              </a:ext>
            </a:extLst>
          </p:cNvPr>
          <p:cNvSpPr txBox="1">
            <a:spLocks/>
          </p:cNvSpPr>
          <p:nvPr/>
        </p:nvSpPr>
        <p:spPr>
          <a:xfrm>
            <a:off x="5947019" y="2044396"/>
            <a:ext cx="2831845"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latin typeface="Arial" panose="020B0604020202020204" pitchFamily="34" charset="0"/>
                <a:cs typeface="Arial" panose="020B0604020202020204" pitchFamily="34" charset="0"/>
                <a:sym typeface="Arial" panose="020B0604020202020204" pitchFamily="34" charset="0"/>
              </a:rPr>
              <a:t>Einführung der Dienstgeber-abgabe im Jahr 1970 zur Co-Finanzierung des U-Bahn-Ausbaus, bis 2012 mit  unveränderten Konditionen</a:t>
            </a:r>
          </a:p>
          <a:p>
            <a:pPr lvl="2"/>
            <a:r>
              <a:rPr lang="de-DE" sz="1400" dirty="0">
                <a:latin typeface="Arial" panose="020B0604020202020204" pitchFamily="34" charset="0"/>
                <a:cs typeface="Arial" panose="020B0604020202020204" pitchFamily="34" charset="0"/>
                <a:sym typeface="Arial" panose="020B0604020202020204" pitchFamily="34" charset="0"/>
              </a:rPr>
              <a:t>Deutliche Anhebung im Jahr 2012 im Rahmen der Tarif-reform von 0,72 € auf 2,00 € pro Mitarbeiter je </a:t>
            </a:r>
            <a:r>
              <a:rPr lang="de-DE" sz="1400" dirty="0" err="1">
                <a:latin typeface="Arial" panose="020B0604020202020204" pitchFamily="34" charset="0"/>
                <a:cs typeface="Arial" panose="020B0604020202020204" pitchFamily="34" charset="0"/>
                <a:sym typeface="Arial" panose="020B0604020202020204" pitchFamily="34" charset="0"/>
              </a:rPr>
              <a:t>angefange-ner</a:t>
            </a:r>
            <a:r>
              <a:rPr lang="de-DE" sz="1400" dirty="0">
                <a:latin typeface="Arial" panose="020B0604020202020204" pitchFamily="34" charset="0"/>
                <a:cs typeface="Arial" panose="020B0604020202020204" pitchFamily="34" charset="0"/>
                <a:sym typeface="Arial" panose="020B0604020202020204" pitchFamily="34" charset="0"/>
              </a:rPr>
              <a:t> Kalenderwoche</a:t>
            </a:r>
          </a:p>
          <a:p>
            <a:pPr lvl="2"/>
            <a:r>
              <a:rPr lang="de-DE" sz="1400" dirty="0">
                <a:latin typeface="Arial" panose="020B0604020202020204" pitchFamily="34" charset="0"/>
                <a:cs typeface="Arial" panose="020B0604020202020204" pitchFamily="34" charset="0"/>
                <a:sym typeface="Arial" panose="020B0604020202020204" pitchFamily="34" charset="0"/>
              </a:rPr>
              <a:t>Nahezu alle Arbeitgeber sind verpflichtet die Abgabe zu entrichten </a:t>
            </a:r>
          </a:p>
        </p:txBody>
      </p:sp>
      <p:sp>
        <p:nvSpPr>
          <p:cNvPr id="7" name="Rechteck 6">
            <a:extLst>
              <a:ext uri="{FF2B5EF4-FFF2-40B4-BE49-F238E27FC236}">
                <a16:creationId xmlns:a16="http://schemas.microsoft.com/office/drawing/2014/main" xmlns="" id="{8277F229-093E-4B3D-9CDF-0485FC1558A1}"/>
              </a:ext>
            </a:extLst>
          </p:cNvPr>
          <p:cNvSpPr/>
          <p:nvPr/>
        </p:nvSpPr>
        <p:spPr>
          <a:xfrm>
            <a:off x="444500" y="1731289"/>
            <a:ext cx="484758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sz="1400" b="1" dirty="0">
                <a:solidFill>
                  <a:schemeClr val="tx1"/>
                </a:solidFill>
                <a:latin typeface="Arial" panose="020B0604020202020204" pitchFamily="34" charset="0"/>
                <a:cs typeface="Arial" panose="020B0604020202020204" pitchFamily="34" charset="0"/>
                <a:sym typeface="Arial" panose="020B0604020202020204" pitchFamily="34" charset="0"/>
              </a:rPr>
              <a:t>Dienstgeberabgabe Wien </a:t>
            </a:r>
          </a:p>
          <a:p>
            <a:pPr>
              <a:spcBef>
                <a:spcPts val="600"/>
              </a:spcBef>
            </a:pPr>
            <a:r>
              <a:rPr lang="de-DE" sz="1400" dirty="0">
                <a:solidFill>
                  <a:schemeClr val="tx1"/>
                </a:solidFill>
                <a:latin typeface="Arial" panose="020B0604020202020204" pitchFamily="34" charset="0"/>
                <a:cs typeface="Arial" panose="020B0604020202020204" pitchFamily="34" charset="0"/>
                <a:sym typeface="Arial" panose="020B0604020202020204" pitchFamily="34" charset="0"/>
              </a:rPr>
              <a:t>in Mio. €</a:t>
            </a:r>
          </a:p>
        </p:txBody>
      </p:sp>
      <p:sp>
        <p:nvSpPr>
          <p:cNvPr id="8" name="Rechteck 7">
            <a:extLst>
              <a:ext uri="{FF2B5EF4-FFF2-40B4-BE49-F238E27FC236}">
                <a16:creationId xmlns:a16="http://schemas.microsoft.com/office/drawing/2014/main" xmlns="" id="{C79CFDDB-1A2A-44DC-A40E-2609B8B317BC}"/>
              </a:ext>
            </a:extLst>
          </p:cNvPr>
          <p:cNvSpPr/>
          <p:nvPr/>
        </p:nvSpPr>
        <p:spPr>
          <a:xfrm>
            <a:off x="5916613"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latin typeface="Arial" panose="020B0604020202020204" pitchFamily="34" charset="0"/>
                <a:cs typeface="Arial" panose="020B0604020202020204" pitchFamily="34" charset="0"/>
                <a:sym typeface="Arial" panose="020B0604020202020204" pitchFamily="34" charset="0"/>
              </a:rPr>
              <a:t>Erläuterung</a:t>
            </a:r>
          </a:p>
        </p:txBody>
      </p:sp>
      <p:cxnSp>
        <p:nvCxnSpPr>
          <p:cNvPr id="9" name="Gerade Verbindung 6">
            <a:extLst>
              <a:ext uri="{FF2B5EF4-FFF2-40B4-BE49-F238E27FC236}">
                <a16:creationId xmlns:a16="http://schemas.microsoft.com/office/drawing/2014/main" xmlns="" id="{35AD7A6C-4FF8-49B5-87A6-E65708B604C9}"/>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19">
            <a:extLst>
              <a:ext uri="{FF2B5EF4-FFF2-40B4-BE49-F238E27FC236}">
                <a16:creationId xmlns:a16="http://schemas.microsoft.com/office/drawing/2014/main" xmlns="" id="{7A3F46F8-0D8A-449F-8ACE-26F52A0C19EA}"/>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xmlns="" id="{D8C2032D-9732-47D7-9FF5-097A122BA2FE}"/>
              </a:ext>
            </a:extLst>
          </p:cNvPr>
          <p:cNvSpPr txBox="1"/>
          <p:nvPr/>
        </p:nvSpPr>
        <p:spPr>
          <a:xfrm>
            <a:off x="451758" y="5847075"/>
            <a:ext cx="8164800" cy="246221"/>
          </a:xfrm>
          <a:prstGeom prst="rect">
            <a:avLst/>
          </a:prstGeom>
          <a:noFill/>
        </p:spPr>
        <p:txBody>
          <a:bodyPr wrap="square" rtlCol="0">
            <a:spAutoFit/>
          </a:bodyPr>
          <a:lstStyle/>
          <a:p>
            <a:pPr marL="0" lvl="1">
              <a:tabLst>
                <a:tab pos="180975" algn="l"/>
              </a:tabLst>
            </a:pPr>
            <a:r>
              <a:rPr lang="de-DE" sz="1000" dirty="0">
                <a:latin typeface="Arial" panose="020B0604020202020204" pitchFamily="34" charset="0"/>
                <a:cs typeface="Arial" panose="020B0604020202020204" pitchFamily="34" charset="0"/>
                <a:sym typeface="Arial" panose="020B0604020202020204" pitchFamily="34" charset="0"/>
              </a:rPr>
              <a:t>Quelle: Rechnungsabschlüsse der Stadt Wien, Voranschlag der Stadt Wien 2018</a:t>
            </a:r>
          </a:p>
        </p:txBody>
      </p:sp>
      <p:cxnSp>
        <p:nvCxnSpPr>
          <p:cNvPr id="14" name="Gerader Verbinder 49">
            <a:extLst>
              <a:ext uri="{FF2B5EF4-FFF2-40B4-BE49-F238E27FC236}">
                <a16:creationId xmlns:a16="http://schemas.microsoft.com/office/drawing/2014/main" xmlns="" id="{1FBFCF68-E52C-4596-AF92-56EB2C5251B3}"/>
              </a:ext>
            </a:extLst>
          </p:cNvPr>
          <p:cNvCxnSpPr>
            <a:cxnSpLocks/>
          </p:cNvCxnSpPr>
          <p:nvPr/>
        </p:nvCxnSpPr>
        <p:spPr>
          <a:xfrm>
            <a:off x="3608278" y="2492375"/>
            <a:ext cx="0" cy="2449513"/>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 Verbindung 6">
            <a:extLst>
              <a:ext uri="{FF2B5EF4-FFF2-40B4-BE49-F238E27FC236}">
                <a16:creationId xmlns:a16="http://schemas.microsoft.com/office/drawing/2014/main" xmlns="" id="{66F0B13A-91ED-4931-B7B4-A47F75600330}"/>
              </a:ext>
            </a:extLst>
          </p:cNvPr>
          <p:cNvCxnSpPr/>
          <p:nvPr>
            <p:custDataLst>
              <p:tags r:id="rId22"/>
            </p:custDataLst>
          </p:nvPr>
        </p:nvCxnSpPr>
        <p:spPr>
          <a:xfrm>
            <a:off x="539552" y="5661248"/>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7" name="Gruppieren 16">
            <a:extLst>
              <a:ext uri="{FF2B5EF4-FFF2-40B4-BE49-F238E27FC236}">
                <a16:creationId xmlns:a16="http://schemas.microsoft.com/office/drawing/2014/main" xmlns="" id="{8E8C51EA-51E1-4EEC-BFA5-A6A4F1B32D3D}"/>
              </a:ext>
            </a:extLst>
          </p:cNvPr>
          <p:cNvGrpSpPr/>
          <p:nvPr/>
        </p:nvGrpSpPr>
        <p:grpSpPr>
          <a:xfrm>
            <a:off x="5470024" y="1628800"/>
            <a:ext cx="398120" cy="398120"/>
            <a:chOff x="5508104" y="1628800"/>
            <a:chExt cx="360040" cy="360040"/>
          </a:xfrm>
        </p:grpSpPr>
        <p:pic>
          <p:nvPicPr>
            <p:cNvPr id="33" name="Grafik 32">
              <a:extLst>
                <a:ext uri="{FF2B5EF4-FFF2-40B4-BE49-F238E27FC236}">
                  <a16:creationId xmlns:a16="http://schemas.microsoft.com/office/drawing/2014/main" xmlns="" id="{D618B910-F568-4CFB-B9D0-8CC0808FAC24}"/>
                </a:ext>
              </a:extLst>
            </p:cNvPr>
            <p:cNvPicPr>
              <a:picLocks noChangeAspect="1"/>
            </p:cNvPicPr>
            <p:nvPr/>
          </p:nvPicPr>
          <p:blipFill>
            <a:blip r:embed="rId28">
              <a:duotone>
                <a:schemeClr val="accent5">
                  <a:shade val="45000"/>
                  <a:satMod val="135000"/>
                </a:schemeClr>
                <a:prstClr val="white"/>
              </a:duotone>
              <a:extLst>
                <a:ext uri="{BEBA8EAE-BF5A-486C-A8C5-ECC9F3942E4B}">
                  <a14:imgProps xmlns:a14="http://schemas.microsoft.com/office/drawing/2010/main">
                    <a14:imgLayer r:embed="rId29">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5565376" y="1690027"/>
              <a:ext cx="237586" cy="237586"/>
            </a:xfrm>
            <a:prstGeom prst="rect">
              <a:avLst/>
            </a:prstGeom>
          </p:spPr>
        </p:pic>
        <p:sp>
          <p:nvSpPr>
            <p:cNvPr id="34" name="Ellipse 33">
              <a:extLst>
                <a:ext uri="{FF2B5EF4-FFF2-40B4-BE49-F238E27FC236}">
                  <a16:creationId xmlns:a16="http://schemas.microsoft.com/office/drawing/2014/main" xmlns="" id="{1B353A82-0ABA-4BB1-BF1D-96CAEF61C968}"/>
                </a:ext>
              </a:extLst>
            </p:cNvPr>
            <p:cNvSpPr/>
            <p:nvPr/>
          </p:nvSpPr>
          <p:spPr>
            <a:xfrm>
              <a:off x="5508104" y="162880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cxnSp>
        <p:nvCxnSpPr>
          <p:cNvPr id="61" name="Gerader Verbinder 49">
            <a:extLst>
              <a:ext uri="{FF2B5EF4-FFF2-40B4-BE49-F238E27FC236}">
                <a16:creationId xmlns:a16="http://schemas.microsoft.com/office/drawing/2014/main" xmlns="" id="{BABD0AD1-3609-42B8-A7D6-BFB2790B4FEC}"/>
              </a:ext>
            </a:extLst>
          </p:cNvPr>
          <p:cNvCxnSpPr>
            <a:cxnSpLocks/>
          </p:cNvCxnSpPr>
          <p:nvPr/>
        </p:nvCxnSpPr>
        <p:spPr>
          <a:xfrm flipH="1">
            <a:off x="547218" y="5784279"/>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xmlns="" id="{0819DF6F-175D-4036-8E4B-31CE35C43FD7}"/>
              </a:ext>
            </a:extLst>
          </p:cNvPr>
          <p:cNvSpPr/>
          <p:nvPr/>
        </p:nvSpPr>
        <p:spPr>
          <a:xfrm>
            <a:off x="887781" y="5661248"/>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Jahreskarte Juni 2012</a:t>
            </a:r>
          </a:p>
        </p:txBody>
      </p:sp>
      <p:sp>
        <p:nvSpPr>
          <p:cNvPr id="68" name="Textfeld 67">
            <a:extLst>
              <a:ext uri="{FF2B5EF4-FFF2-40B4-BE49-F238E27FC236}">
                <a16:creationId xmlns:a16="http://schemas.microsoft.com/office/drawing/2014/main" xmlns="" id="{3282B627-BEDF-4041-BBD7-3AB4FCEFAE92}"/>
              </a:ext>
            </a:extLst>
          </p:cNvPr>
          <p:cNvSpPr txBox="1"/>
          <p:nvPr/>
        </p:nvSpPr>
        <p:spPr>
          <a:xfrm>
            <a:off x="1331640" y="4756502"/>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
        <p:nvSpPr>
          <p:cNvPr id="5" name="Rechteck 4">
            <a:extLst>
              <a:ext uri="{FF2B5EF4-FFF2-40B4-BE49-F238E27FC236}">
                <a16:creationId xmlns:a16="http://schemas.microsoft.com/office/drawing/2014/main" xmlns="" id="{69D90D95-79A6-40B0-AE63-BE2B09F31104}"/>
              </a:ext>
            </a:extLst>
          </p:cNvPr>
          <p:cNvSpPr/>
          <p:nvPr/>
        </p:nvSpPr>
        <p:spPr>
          <a:xfrm>
            <a:off x="9341125" y="1304242"/>
            <a:ext cx="1457567" cy="23762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600" dirty="0">
                <a:solidFill>
                  <a:schemeClr val="tx1"/>
                </a:solidFill>
              </a:rPr>
              <a:t>Hintergrund Methode 2018er Wert ist der Voranschlag (hier noch kein Rechnungsabschluss vorhanden)</a:t>
            </a:r>
          </a:p>
        </p:txBody>
      </p:sp>
    </p:spTree>
    <p:extLst>
      <p:ext uri="{BB962C8B-B14F-4D97-AF65-F5344CB8AC3E}">
        <p14:creationId xmlns:p14="http://schemas.microsoft.com/office/powerpoint/2010/main" val="2257668497"/>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049" name="think-cell Folie" r:id="rId5" imgW="270" imgH="270" progId="TCLayout.ActiveDocument.1">
                  <p:embed/>
                </p:oleObj>
              </mc:Choice>
              <mc:Fallback>
                <p:oleObj name="think-cell Folie" r:id="rId5" imgW="270" imgH="270" progId="TCLayout.ActiveDocument.1">
                  <p:embed/>
                  <p:pic>
                    <p:nvPicPr>
                      <p:cNvPr id="20" name="Objekt 1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Verkehrspolitisch ist das Maßnahmenbündel ein Erfolg – aber: das Defizit der Wiener Linien vergrößert sich deutlich</a:t>
            </a:r>
          </a:p>
        </p:txBody>
      </p:sp>
      <p:sp>
        <p:nvSpPr>
          <p:cNvPr id="3" name="Inhaltsplatzhalter 2"/>
          <p:cNvSpPr>
            <a:spLocks noGrp="1"/>
          </p:cNvSpPr>
          <p:nvPr>
            <p:ph idx="1"/>
          </p:nvPr>
        </p:nvSpPr>
        <p:spPr/>
        <p:txBody>
          <a:bodyPr/>
          <a:lstStyle/>
          <a:p>
            <a:r>
              <a:rPr lang="de-DE" dirty="0"/>
              <a:t>Abschließende Bewertung des „365-Euro-Modells“ der Stadt Wien</a:t>
            </a:r>
          </a:p>
        </p:txBody>
      </p:sp>
      <p:sp>
        <p:nvSpPr>
          <p:cNvPr id="4" name="Foliennummernplatzhalter 3"/>
          <p:cNvSpPr>
            <a:spLocks noGrp="1"/>
          </p:cNvSpPr>
          <p:nvPr>
            <p:ph type="sldNum" sz="quarter" idx="11"/>
          </p:nvPr>
        </p:nvSpPr>
        <p:spPr/>
        <p:txBody>
          <a:bodyPr/>
          <a:lstStyle/>
          <a:p>
            <a:fld id="{CD21EFEB-933F-4F46-A5AD-B6372944D9E5}" type="slidenum">
              <a:rPr lang="de-DE" smtClean="0"/>
              <a:pPr/>
              <a:t>22</a:t>
            </a:fld>
            <a:endParaRPr lang="de-DE"/>
          </a:p>
        </p:txBody>
      </p:sp>
      <p:sp>
        <p:nvSpPr>
          <p:cNvPr id="5" name="Rechteck 4"/>
          <p:cNvSpPr/>
          <p:nvPr/>
        </p:nvSpPr>
        <p:spPr>
          <a:xfrm>
            <a:off x="539552" y="1628800"/>
            <a:ext cx="288032" cy="546683"/>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dirty="0">
                <a:solidFill>
                  <a:schemeClr val="tx1"/>
                </a:solidFill>
              </a:rPr>
              <a:t>1</a:t>
            </a:r>
          </a:p>
        </p:txBody>
      </p:sp>
      <p:sp>
        <p:nvSpPr>
          <p:cNvPr id="6" name="Rechteck 5"/>
          <p:cNvSpPr/>
          <p:nvPr/>
        </p:nvSpPr>
        <p:spPr>
          <a:xfrm>
            <a:off x="539552" y="2252869"/>
            <a:ext cx="288032" cy="546683"/>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dirty="0">
                <a:solidFill>
                  <a:schemeClr val="tx1"/>
                </a:solidFill>
              </a:rPr>
              <a:t>2</a:t>
            </a:r>
          </a:p>
        </p:txBody>
      </p:sp>
      <p:sp>
        <p:nvSpPr>
          <p:cNvPr id="8" name="Rechteck 7"/>
          <p:cNvSpPr/>
          <p:nvPr/>
        </p:nvSpPr>
        <p:spPr>
          <a:xfrm>
            <a:off x="539552" y="2876938"/>
            <a:ext cx="288032" cy="546683"/>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dirty="0">
                <a:solidFill>
                  <a:schemeClr val="tx1"/>
                </a:solidFill>
              </a:rPr>
              <a:t>3</a:t>
            </a:r>
          </a:p>
        </p:txBody>
      </p:sp>
      <p:sp>
        <p:nvSpPr>
          <p:cNvPr id="9" name="Rechteck 8"/>
          <p:cNvSpPr/>
          <p:nvPr/>
        </p:nvSpPr>
        <p:spPr>
          <a:xfrm>
            <a:off x="539552" y="3501007"/>
            <a:ext cx="288032" cy="546683"/>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dirty="0">
                <a:solidFill>
                  <a:schemeClr val="tx1"/>
                </a:solidFill>
              </a:rPr>
              <a:t>4</a:t>
            </a:r>
          </a:p>
        </p:txBody>
      </p:sp>
      <p:sp>
        <p:nvSpPr>
          <p:cNvPr id="10" name="Inhaltsplatzhalter 2"/>
          <p:cNvSpPr txBox="1">
            <a:spLocks/>
          </p:cNvSpPr>
          <p:nvPr/>
        </p:nvSpPr>
        <p:spPr>
          <a:xfrm>
            <a:off x="899593" y="1628800"/>
            <a:ext cx="7704657" cy="546683"/>
          </a:xfrm>
          <a:prstGeom prst="rect">
            <a:avLst/>
          </a:prstGeom>
          <a:solidFill>
            <a:schemeClr val="bg1"/>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r>
              <a:rPr lang="de-DE" sz="1400" dirty="0"/>
              <a:t>Im Rahmen der Reform wurde der Preis der allgemeinen Jahreskarte für Wien um 19 % auf 365 € p. a. abgesenkt. Der Gelegenheitstarif wurde drastisch angehoben.</a:t>
            </a:r>
          </a:p>
        </p:txBody>
      </p:sp>
      <p:sp>
        <p:nvSpPr>
          <p:cNvPr id="11" name="Inhaltsplatzhalter 2"/>
          <p:cNvSpPr txBox="1">
            <a:spLocks/>
          </p:cNvSpPr>
          <p:nvPr/>
        </p:nvSpPr>
        <p:spPr>
          <a:xfrm>
            <a:off x="899593" y="2252869"/>
            <a:ext cx="7848871" cy="546683"/>
          </a:xfrm>
          <a:prstGeom prst="rect">
            <a:avLst/>
          </a:prstGeom>
          <a:solidFill>
            <a:schemeClr val="bg1"/>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r>
              <a:rPr lang="de-DE" sz="1400" dirty="0"/>
              <a:t>Die Preisabsenkung führte zu mehr als einer Verdoppelung der Verkaufszahlen der Jahreskarte. Nahezu jeder zweite Wiener ist heute im Besitz einer Jahreskarte.</a:t>
            </a:r>
          </a:p>
        </p:txBody>
      </p:sp>
      <p:sp>
        <p:nvSpPr>
          <p:cNvPr id="13" name="Inhaltsplatzhalter 2"/>
          <p:cNvSpPr txBox="1">
            <a:spLocks/>
          </p:cNvSpPr>
          <p:nvPr/>
        </p:nvSpPr>
        <p:spPr>
          <a:xfrm>
            <a:off x="899593" y="2876938"/>
            <a:ext cx="7704657" cy="546683"/>
          </a:xfrm>
          <a:prstGeom prst="rect">
            <a:avLst/>
          </a:prstGeom>
          <a:solidFill>
            <a:schemeClr val="bg1"/>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r>
              <a:rPr lang="de-DE" sz="1400" dirty="0"/>
              <a:t>Es ist jedoch </a:t>
            </a:r>
            <a:r>
              <a:rPr lang="de-DE" sz="1400" i="1" dirty="0"/>
              <a:t>kein</a:t>
            </a:r>
            <a:r>
              <a:rPr lang="de-DE" sz="1400" dirty="0"/>
              <a:t> signifikanter Zusammenhang zwischen der Preisabsenkung und der Entwicklung der Fahrgastzahlen erkennbar.</a:t>
            </a:r>
          </a:p>
        </p:txBody>
      </p:sp>
      <p:sp>
        <p:nvSpPr>
          <p:cNvPr id="14" name="Inhaltsplatzhalter 2"/>
          <p:cNvSpPr txBox="1">
            <a:spLocks/>
          </p:cNvSpPr>
          <p:nvPr/>
        </p:nvSpPr>
        <p:spPr>
          <a:xfrm>
            <a:off x="899593" y="3501007"/>
            <a:ext cx="7704657" cy="546683"/>
          </a:xfrm>
          <a:prstGeom prst="rect">
            <a:avLst/>
          </a:prstGeom>
          <a:solidFill>
            <a:schemeClr val="bg1"/>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r>
              <a:rPr lang="de-DE" sz="1400" dirty="0"/>
              <a:t>Es ist auch </a:t>
            </a:r>
            <a:r>
              <a:rPr lang="de-DE" sz="1400" i="1" dirty="0"/>
              <a:t>kein</a:t>
            </a:r>
            <a:r>
              <a:rPr lang="de-DE" sz="1400" dirty="0"/>
              <a:t> signifikanter Zusammenhang zwischen der Preisabsenkung und der Modal-Split-Entwicklung erkennbar.</a:t>
            </a:r>
          </a:p>
        </p:txBody>
      </p:sp>
      <p:sp>
        <p:nvSpPr>
          <p:cNvPr id="21" name="Rechteck 20">
            <a:extLst>
              <a:ext uri="{FF2B5EF4-FFF2-40B4-BE49-F238E27FC236}">
                <a16:creationId xmlns:a16="http://schemas.microsoft.com/office/drawing/2014/main" xmlns="" id="{D1750FF8-F14A-48D6-803F-E3F4730F433D}"/>
              </a:ext>
            </a:extLst>
          </p:cNvPr>
          <p:cNvSpPr/>
          <p:nvPr/>
        </p:nvSpPr>
        <p:spPr>
          <a:xfrm>
            <a:off x="539552" y="4125076"/>
            <a:ext cx="288032" cy="546683"/>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dirty="0">
                <a:solidFill>
                  <a:schemeClr val="tx1"/>
                </a:solidFill>
              </a:rPr>
              <a:t>5</a:t>
            </a:r>
          </a:p>
        </p:txBody>
      </p:sp>
      <p:sp>
        <p:nvSpPr>
          <p:cNvPr id="22" name="Inhaltsplatzhalter 2">
            <a:extLst>
              <a:ext uri="{FF2B5EF4-FFF2-40B4-BE49-F238E27FC236}">
                <a16:creationId xmlns:a16="http://schemas.microsoft.com/office/drawing/2014/main" xmlns="" id="{7FBF2B1F-FEE8-423B-9753-A5D28762840E}"/>
              </a:ext>
            </a:extLst>
          </p:cNvPr>
          <p:cNvSpPr txBox="1">
            <a:spLocks/>
          </p:cNvSpPr>
          <p:nvPr/>
        </p:nvSpPr>
        <p:spPr>
          <a:xfrm>
            <a:off x="899593" y="4125076"/>
            <a:ext cx="7704657" cy="546683"/>
          </a:xfrm>
          <a:prstGeom prst="rect">
            <a:avLst/>
          </a:prstGeom>
          <a:solidFill>
            <a:schemeClr val="bg1"/>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r>
              <a:rPr lang="de-DE" sz="1400" dirty="0"/>
              <a:t>Allein im ersten Jahr der Reform erhöhte sich der Zuschussbedarf um 52 Mio. Euro. </a:t>
            </a:r>
            <a:br>
              <a:rPr lang="de-DE" sz="1400" dirty="0"/>
            </a:br>
            <a:r>
              <a:rPr lang="de-DE" sz="1400" dirty="0"/>
              <a:t>Die Einnahmen pro Fahrt erreichen einen historischen Tiefstand.</a:t>
            </a:r>
          </a:p>
        </p:txBody>
      </p:sp>
      <p:sp>
        <p:nvSpPr>
          <p:cNvPr id="24" name="Rechteck 23">
            <a:extLst>
              <a:ext uri="{FF2B5EF4-FFF2-40B4-BE49-F238E27FC236}">
                <a16:creationId xmlns:a16="http://schemas.microsoft.com/office/drawing/2014/main" xmlns="" id="{895DEF7A-A9C3-4614-8FE0-5DA6016F75B3}"/>
              </a:ext>
            </a:extLst>
          </p:cNvPr>
          <p:cNvSpPr/>
          <p:nvPr/>
        </p:nvSpPr>
        <p:spPr>
          <a:xfrm>
            <a:off x="539552" y="4749145"/>
            <a:ext cx="288032" cy="546683"/>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dirty="0">
                <a:solidFill>
                  <a:schemeClr val="tx1"/>
                </a:solidFill>
              </a:rPr>
              <a:t>6</a:t>
            </a:r>
          </a:p>
        </p:txBody>
      </p:sp>
      <p:sp>
        <p:nvSpPr>
          <p:cNvPr id="25" name="Inhaltsplatzhalter 2">
            <a:extLst>
              <a:ext uri="{FF2B5EF4-FFF2-40B4-BE49-F238E27FC236}">
                <a16:creationId xmlns:a16="http://schemas.microsoft.com/office/drawing/2014/main" xmlns="" id="{2F368F86-04B1-4CA0-8B97-7D6A3E3D2ED8}"/>
              </a:ext>
            </a:extLst>
          </p:cNvPr>
          <p:cNvSpPr txBox="1">
            <a:spLocks/>
          </p:cNvSpPr>
          <p:nvPr/>
        </p:nvSpPr>
        <p:spPr>
          <a:xfrm>
            <a:off x="899593" y="4749145"/>
            <a:ext cx="7704657" cy="546683"/>
          </a:xfrm>
          <a:prstGeom prst="rect">
            <a:avLst/>
          </a:prstGeom>
          <a:solidFill>
            <a:schemeClr val="bg1"/>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r>
              <a:rPr lang="de-DE" sz="1400" dirty="0"/>
              <a:t>Positive Rahmenbedingungen, Angebotsausweitungen und restriktive Maßnahmen bei Pkw-Verkehr führen zu steigenden Fahrgastzahlen bei den Wiener Linien.</a:t>
            </a:r>
          </a:p>
        </p:txBody>
      </p:sp>
      <p:sp>
        <p:nvSpPr>
          <p:cNvPr id="26" name="Rechteck 25">
            <a:extLst>
              <a:ext uri="{FF2B5EF4-FFF2-40B4-BE49-F238E27FC236}">
                <a16:creationId xmlns:a16="http://schemas.microsoft.com/office/drawing/2014/main" xmlns="" id="{36588CB4-B29C-4272-9150-13D64B736956}"/>
              </a:ext>
            </a:extLst>
          </p:cNvPr>
          <p:cNvSpPr/>
          <p:nvPr/>
        </p:nvSpPr>
        <p:spPr>
          <a:xfrm>
            <a:off x="539552" y="5373216"/>
            <a:ext cx="288032" cy="546683"/>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dirty="0">
                <a:solidFill>
                  <a:schemeClr val="tx1"/>
                </a:solidFill>
              </a:rPr>
              <a:t>7</a:t>
            </a:r>
          </a:p>
        </p:txBody>
      </p:sp>
      <p:sp>
        <p:nvSpPr>
          <p:cNvPr id="27" name="Inhaltsplatzhalter 2">
            <a:extLst>
              <a:ext uri="{FF2B5EF4-FFF2-40B4-BE49-F238E27FC236}">
                <a16:creationId xmlns:a16="http://schemas.microsoft.com/office/drawing/2014/main" xmlns="" id="{FF713793-70A1-4D9A-8718-4803B53415EC}"/>
              </a:ext>
            </a:extLst>
          </p:cNvPr>
          <p:cNvSpPr txBox="1">
            <a:spLocks/>
          </p:cNvSpPr>
          <p:nvPr/>
        </p:nvSpPr>
        <p:spPr>
          <a:xfrm>
            <a:off x="899593" y="5373216"/>
            <a:ext cx="7704657" cy="546683"/>
          </a:xfrm>
          <a:prstGeom prst="rect">
            <a:avLst/>
          </a:prstGeom>
          <a:solidFill>
            <a:schemeClr val="bg1"/>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r>
              <a:rPr lang="de-DE" sz="1400" dirty="0"/>
              <a:t>Die Absenkung des Jahreskartenpreises führte in Summe nicht zu spürbaren Fahrgast-zuwächsen bzw. einer Gegenfinanzierung durch Mehrnachfrage.</a:t>
            </a:r>
          </a:p>
        </p:txBody>
      </p:sp>
      <p:sp>
        <p:nvSpPr>
          <p:cNvPr id="23" name="Rechteck 22">
            <a:extLst>
              <a:ext uri="{FF2B5EF4-FFF2-40B4-BE49-F238E27FC236}">
                <a16:creationId xmlns:a16="http://schemas.microsoft.com/office/drawing/2014/main" xmlns="" id="{2FA218EF-F29C-4969-9AC1-49B99FA21223}"/>
              </a:ext>
            </a:extLst>
          </p:cNvPr>
          <p:cNvSpPr/>
          <p:nvPr/>
        </p:nvSpPr>
        <p:spPr>
          <a:xfrm>
            <a:off x="-3204864" y="377279"/>
            <a:ext cx="3024336" cy="64807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200" dirty="0">
                <a:solidFill>
                  <a:schemeClr val="tx1"/>
                </a:solidFill>
              </a:rPr>
              <a:t>Tonspur (von FB und SW)</a:t>
            </a:r>
            <a:br>
              <a:rPr lang="de-DE" sz="1200" dirty="0">
                <a:solidFill>
                  <a:schemeClr val="tx1"/>
                </a:solidFill>
              </a:rPr>
            </a:br>
            <a:endParaRPr lang="de-DE" sz="1200" dirty="0">
              <a:solidFill>
                <a:schemeClr val="tx1"/>
              </a:solidFill>
            </a:endParaRPr>
          </a:p>
          <a:p>
            <a:pPr marL="285750" indent="-285750" algn="l">
              <a:buFont typeface="Arial" panose="020B0604020202020204" pitchFamily="34" charset="0"/>
              <a:buChar char="•"/>
            </a:pPr>
            <a:r>
              <a:rPr lang="de-DE" sz="1200" dirty="0">
                <a:solidFill>
                  <a:schemeClr val="tx1"/>
                </a:solidFill>
              </a:rPr>
              <a:t>Auch die </a:t>
            </a:r>
            <a:r>
              <a:rPr lang="de-DE" sz="1200" dirty="0" err="1">
                <a:solidFill>
                  <a:schemeClr val="tx1"/>
                </a:solidFill>
              </a:rPr>
              <a:t>Mafo</a:t>
            </a:r>
            <a:r>
              <a:rPr lang="de-DE" sz="1200" dirty="0">
                <a:solidFill>
                  <a:schemeClr val="tx1"/>
                </a:solidFill>
              </a:rPr>
              <a:t> der Wiener Linien weist rund 3´% Neukunden bzw. Erstkäufer aufgrund des 365 Tickets aus</a:t>
            </a:r>
          </a:p>
          <a:p>
            <a:pPr marL="285750" indent="-285750" algn="l">
              <a:buFont typeface="Arial" panose="020B0604020202020204" pitchFamily="34" charset="0"/>
              <a:buChar char="•"/>
            </a:pPr>
            <a:r>
              <a:rPr lang="de-DE" sz="1200" dirty="0">
                <a:solidFill>
                  <a:schemeClr val="tx1"/>
                </a:solidFill>
              </a:rPr>
              <a:t>Wesentlicher Nachfrage und Modal Split Effekt lief vor den 365 ab, insbesondere durch Angebotsausbau</a:t>
            </a:r>
          </a:p>
          <a:p>
            <a:pPr marL="285750" indent="-285750" algn="l">
              <a:buFont typeface="Arial" panose="020B0604020202020204" pitchFamily="34" charset="0"/>
              <a:buChar char="•"/>
            </a:pPr>
            <a:r>
              <a:rPr lang="de-DE" sz="1200" dirty="0">
                <a:solidFill>
                  <a:schemeClr val="tx1"/>
                </a:solidFill>
              </a:rPr>
              <a:t>Angebotsdichte deutlich höher als in deutschen Städten</a:t>
            </a:r>
          </a:p>
          <a:p>
            <a:pPr marL="285750" indent="-285750" algn="l">
              <a:buFont typeface="Arial" panose="020B0604020202020204" pitchFamily="34" charset="0"/>
              <a:buChar char="•"/>
            </a:pPr>
            <a:endParaRPr lang="de-DE" sz="1200" dirty="0">
              <a:solidFill>
                <a:schemeClr val="tx1"/>
              </a:solidFill>
            </a:endParaRPr>
          </a:p>
          <a:p>
            <a:pPr marL="285750" indent="-285750" algn="l">
              <a:buFont typeface="Arial" panose="020B0604020202020204" pitchFamily="34" charset="0"/>
              <a:buChar char="•"/>
            </a:pPr>
            <a:r>
              <a:rPr lang="de-DE" sz="1200" dirty="0">
                <a:solidFill>
                  <a:schemeClr val="tx1"/>
                </a:solidFill>
              </a:rPr>
              <a:t>UND: 365.- sind zutiefst populistisch und undemokratisch: einmal eingeführt nicht mehr wegzubekommen! Besser 380 oder 400 EUR</a:t>
            </a:r>
          </a:p>
          <a:p>
            <a:pPr marL="285750" indent="-285750" algn="l">
              <a:buFont typeface="Arial" panose="020B0604020202020204" pitchFamily="34" charset="0"/>
              <a:buChar char="•"/>
            </a:pPr>
            <a:endParaRPr lang="de-DE" sz="1200" dirty="0">
              <a:solidFill>
                <a:schemeClr val="tx1"/>
              </a:solidFill>
            </a:endParaRPr>
          </a:p>
          <a:p>
            <a:pPr marL="285750" indent="-285750" algn="l">
              <a:buFont typeface="Arial" panose="020B0604020202020204" pitchFamily="34" charset="0"/>
              <a:buChar char="•"/>
            </a:pPr>
            <a:endParaRPr lang="de-DE" sz="1200" dirty="0">
              <a:solidFill>
                <a:schemeClr val="tx1"/>
              </a:solidFill>
            </a:endParaRPr>
          </a:p>
          <a:p>
            <a:pPr marL="285750" indent="-285750" algn="l">
              <a:buFont typeface="Arial" panose="020B0604020202020204" pitchFamily="34" charset="0"/>
              <a:buChar char="•"/>
            </a:pPr>
            <a:r>
              <a:rPr lang="de-DE" sz="1200" dirty="0">
                <a:solidFill>
                  <a:schemeClr val="tx1"/>
                </a:solidFill>
              </a:rPr>
              <a:t>JUZ: Ergänzungen zu Stefans Punkten: Welche Fragen sollte man sich bei einem 365 stellen</a:t>
            </a:r>
          </a:p>
          <a:p>
            <a:pPr marL="285750" indent="-285750" algn="l">
              <a:buFont typeface="Arial" panose="020B0604020202020204" pitchFamily="34" charset="0"/>
              <a:buChar char="•"/>
            </a:pPr>
            <a:endParaRPr lang="de-DE" sz="1200" dirty="0">
              <a:solidFill>
                <a:schemeClr val="tx1"/>
              </a:solidFill>
            </a:endParaRPr>
          </a:p>
          <a:p>
            <a:pPr marL="171450" indent="-171450" algn="l">
              <a:buFont typeface="Arial" panose="020B0604020202020204" pitchFamily="34" charset="0"/>
              <a:buChar char="•"/>
            </a:pPr>
            <a:r>
              <a:rPr lang="de-DE" sz="1200" b="1" dirty="0">
                <a:solidFill>
                  <a:schemeClr val="tx1"/>
                </a:solidFill>
              </a:rPr>
              <a:t>1 Gerechtigkeitsfrage (politisch)</a:t>
            </a:r>
          </a:p>
          <a:p>
            <a:pPr marL="171450" indent="-171450" algn="l">
              <a:buFont typeface="Arial" panose="020B0604020202020204" pitchFamily="34" charset="0"/>
              <a:buChar char="•"/>
            </a:pPr>
            <a:r>
              <a:rPr lang="de-DE" sz="1200" b="1" dirty="0">
                <a:solidFill>
                  <a:schemeClr val="tx1"/>
                </a:solidFill>
              </a:rPr>
              <a:t>2 Finanzierungsfrage (</a:t>
            </a:r>
            <a:r>
              <a:rPr lang="de-DE" sz="1200" b="1" dirty="0" err="1">
                <a:solidFill>
                  <a:schemeClr val="tx1"/>
                </a:solidFill>
              </a:rPr>
              <a:t>haushalterisch</a:t>
            </a:r>
            <a:r>
              <a:rPr lang="de-DE" sz="1200" b="1" dirty="0">
                <a:solidFill>
                  <a:schemeClr val="tx1"/>
                </a:solidFill>
              </a:rPr>
              <a:t> und politisch)</a:t>
            </a:r>
          </a:p>
          <a:p>
            <a:pPr marL="628650" lvl="1" indent="-171450">
              <a:buFont typeface="Arial" panose="020B0604020202020204" pitchFamily="34" charset="0"/>
              <a:buChar char="•"/>
            </a:pPr>
            <a:r>
              <a:rPr lang="de-DE" sz="1200" dirty="0">
                <a:solidFill>
                  <a:schemeClr val="tx1"/>
                </a:solidFill>
              </a:rPr>
              <a:t>Wie wird Verbesserung des ÖV Angebots finanziert?</a:t>
            </a:r>
          </a:p>
          <a:p>
            <a:pPr marL="628650" lvl="1" indent="-171450">
              <a:buFont typeface="Arial" panose="020B0604020202020204" pitchFamily="34" charset="0"/>
              <a:buChar char="•"/>
            </a:pPr>
            <a:r>
              <a:rPr lang="de-DE" sz="1200" dirty="0">
                <a:solidFill>
                  <a:schemeClr val="tx1"/>
                </a:solidFill>
              </a:rPr>
              <a:t>Wie wichtig ist einem die kommunale Steuerung der Preise? (lock-in Effekt)</a:t>
            </a:r>
          </a:p>
          <a:p>
            <a:pPr marL="171450" indent="-171450" algn="l">
              <a:buFont typeface="Arial" panose="020B0604020202020204" pitchFamily="34" charset="0"/>
              <a:buChar char="•"/>
            </a:pPr>
            <a:r>
              <a:rPr lang="de-DE" sz="1200" b="1" dirty="0">
                <a:solidFill>
                  <a:schemeClr val="tx1"/>
                </a:solidFill>
              </a:rPr>
              <a:t>3 Impact/Steuerungsfrage (politisch und ökonomisch „</a:t>
            </a:r>
            <a:r>
              <a:rPr lang="de-DE" sz="1200" b="1" dirty="0" err="1">
                <a:solidFill>
                  <a:schemeClr val="tx1"/>
                </a:solidFill>
              </a:rPr>
              <a:t>data</a:t>
            </a:r>
            <a:r>
              <a:rPr lang="de-DE" sz="1200" b="1" dirty="0">
                <a:solidFill>
                  <a:schemeClr val="tx1"/>
                </a:solidFill>
              </a:rPr>
              <a:t>, </a:t>
            </a:r>
            <a:r>
              <a:rPr lang="de-DE" sz="1200" b="1" dirty="0" err="1">
                <a:solidFill>
                  <a:schemeClr val="tx1"/>
                </a:solidFill>
              </a:rPr>
              <a:t>models</a:t>
            </a:r>
            <a:r>
              <a:rPr lang="de-DE" sz="1200" b="1" dirty="0">
                <a:solidFill>
                  <a:schemeClr val="tx1"/>
                </a:solidFill>
              </a:rPr>
              <a:t> &amp; </a:t>
            </a:r>
            <a:r>
              <a:rPr lang="de-DE" sz="1200" b="1" dirty="0" err="1">
                <a:solidFill>
                  <a:schemeClr val="tx1"/>
                </a:solidFill>
              </a:rPr>
              <a:t>values</a:t>
            </a:r>
            <a:r>
              <a:rPr lang="de-DE" sz="1200" b="1" dirty="0">
                <a:solidFill>
                  <a:schemeClr val="tx1"/>
                </a:solidFill>
              </a:rPr>
              <a:t>“)</a:t>
            </a:r>
          </a:p>
          <a:p>
            <a:pPr marL="285750" indent="-285750" algn="l">
              <a:buFont typeface="Arial" panose="020B0604020202020204" pitchFamily="34" charset="0"/>
              <a:buChar char="•"/>
            </a:pPr>
            <a:r>
              <a:rPr lang="de-DE" sz="1200" dirty="0">
                <a:solidFill>
                  <a:schemeClr val="tx1"/>
                </a:solidFill>
              </a:rPr>
              <a:t>- 3a (Fahrgäste (Handlungsveränderung bei Preisabsenkung) (Modal Split) </a:t>
            </a:r>
          </a:p>
          <a:p>
            <a:pPr marL="285750" indent="-285750" algn="l">
              <a:buFont typeface="Arial" panose="020B0604020202020204" pitchFamily="34" charset="0"/>
              <a:buChar char="•"/>
            </a:pPr>
            <a:r>
              <a:rPr lang="de-DE" sz="1200" dirty="0">
                <a:solidFill>
                  <a:schemeClr val="tx1"/>
                </a:solidFill>
              </a:rPr>
              <a:t>– 3b Umsetzung(Kapazität und Koordination)</a:t>
            </a:r>
          </a:p>
          <a:p>
            <a:pPr marL="285750" indent="-285750" algn="l">
              <a:buFont typeface="Arial" panose="020B0604020202020204" pitchFamily="34" charset="0"/>
              <a:buChar char="•"/>
            </a:pPr>
            <a:r>
              <a:rPr lang="de-DE" sz="1200" dirty="0">
                <a:solidFill>
                  <a:schemeClr val="tx1"/>
                </a:solidFill>
              </a:rPr>
              <a:t>- 3c Verkehrswende/Co2 Emissionen</a:t>
            </a:r>
          </a:p>
        </p:txBody>
      </p:sp>
    </p:spTree>
    <p:extLst>
      <p:ext uri="{BB962C8B-B14F-4D97-AF65-F5344CB8AC3E}">
        <p14:creationId xmlns:p14="http://schemas.microsoft.com/office/powerpoint/2010/main" val="4068432041"/>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3"/>
          </p:nvPr>
        </p:nvSpPr>
        <p:spPr/>
        <p:txBody>
          <a:bodyPr/>
          <a:lstStyle/>
          <a:p>
            <a:r>
              <a:rPr lang="de-DE" dirty="0"/>
              <a:t>Agenda</a:t>
            </a:r>
          </a:p>
        </p:txBody>
      </p:sp>
      <p:sp>
        <p:nvSpPr>
          <p:cNvPr id="9" name="Textplatzhalter 8"/>
          <p:cNvSpPr>
            <a:spLocks noGrp="1"/>
          </p:cNvSpPr>
          <p:nvPr>
            <p:ph type="body" sz="quarter" idx="14"/>
          </p:nvPr>
        </p:nvSpPr>
        <p:spPr>
          <a:xfrm>
            <a:off x="992724" y="1761658"/>
            <a:ext cx="7755740" cy="4043606"/>
          </a:xfrm>
        </p:spPr>
        <p:txBody>
          <a:bodyPr/>
          <a:lstStyle/>
          <a:p>
            <a:pPr lvl="2"/>
            <a:r>
              <a:rPr lang="de-DE" dirty="0"/>
              <a:t>Der „Wiener Weg“ und die 365-Euro-Jahreskarte – Unsere Lernerfahrungen</a:t>
            </a:r>
          </a:p>
          <a:p>
            <a:pPr lvl="2"/>
            <a:r>
              <a:rPr lang="de-DE" b="1" dirty="0">
                <a:solidFill>
                  <a:schemeClr val="accent6"/>
                </a:solidFill>
              </a:rPr>
              <a:t>Für eine Mobilität mit Zukunft: Wie finanzieren wir unseren ÖPNV? </a:t>
            </a:r>
          </a:p>
          <a:p>
            <a:pPr lvl="2"/>
            <a:endParaRPr lang="de-DE" b="1" dirty="0">
              <a:solidFill>
                <a:schemeClr val="accent6"/>
              </a:solidFill>
            </a:endParaRPr>
          </a:p>
        </p:txBody>
      </p:sp>
      <p:sp>
        <p:nvSpPr>
          <p:cNvPr id="4" name="Foliennummernplatzhalter 3"/>
          <p:cNvSpPr>
            <a:spLocks noGrp="1"/>
          </p:cNvSpPr>
          <p:nvPr>
            <p:ph type="sldNum" sz="quarter" idx="16"/>
          </p:nvPr>
        </p:nvSpPr>
        <p:spPr/>
        <p:txBody>
          <a:bodyPr/>
          <a:lstStyle/>
          <a:p>
            <a:fld id="{CD21EFEB-933F-4F46-A5AD-B6372944D9E5}" type="slidenum">
              <a:rPr lang="de-DE" smtClean="0"/>
              <a:pPr/>
              <a:t>23</a:t>
            </a:fld>
            <a:endParaRPr lang="de-DE" dirty="0"/>
          </a:p>
        </p:txBody>
      </p:sp>
    </p:spTree>
    <p:extLst>
      <p:ext uri="{BB962C8B-B14F-4D97-AF65-F5344CB8AC3E}">
        <p14:creationId xmlns:p14="http://schemas.microsoft.com/office/powerpoint/2010/main" val="1139348010"/>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p:cNvGraphicFramePr>
          <p:nvPr>
            <p:custDataLst>
              <p:tags r:id="rId2"/>
            </p:custDataLst>
            <p:extLst>
              <p:ext uri="{D42A27DB-BD31-4B8C-83A1-F6EECF244321}">
                <p14:modId xmlns:p14="http://schemas.microsoft.com/office/powerpoint/2010/main" val="39703877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6256" name="think-cell Folie" r:id="rId23" imgW="270" imgH="270" progId="TCLayout.ActiveDocument.1">
                  <p:embed/>
                </p:oleObj>
              </mc:Choice>
              <mc:Fallback>
                <p:oleObj name="think-cell Folie" r:id="rId23" imgW="270" imgH="270" progId="TCLayout.ActiveDocument.1">
                  <p:embed/>
                  <p:pic>
                    <p:nvPicPr>
                      <p:cNvPr id="11" name="Objekt 10"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xmlns="" id="{B690D5A5-664B-4DEF-8F93-A4CCB6B8DE77}"/>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31" name="Freihandform: Form 30">
            <a:extLst>
              <a:ext uri="{FF2B5EF4-FFF2-40B4-BE49-F238E27FC236}">
                <a16:creationId xmlns:a16="http://schemas.microsoft.com/office/drawing/2014/main" xmlns="" id="{080E69C1-D37F-4146-82AF-9E5224CE9A76}"/>
              </a:ext>
            </a:extLst>
          </p:cNvPr>
          <p:cNvSpPr/>
          <p:nvPr/>
        </p:nvSpPr>
        <p:spPr>
          <a:xfrm>
            <a:off x="539750" y="2064519"/>
            <a:ext cx="8064500" cy="2000182"/>
          </a:xfrm>
          <a:custGeom>
            <a:avLst/>
            <a:gdLst>
              <a:gd name="connsiteX0" fmla="*/ 3953692 w 8098972"/>
              <a:gd name="connsiteY0" fmla="*/ 0 h 1515291"/>
              <a:gd name="connsiteX1" fmla="*/ 0 w 8098972"/>
              <a:gd name="connsiteY1" fmla="*/ 496388 h 1515291"/>
              <a:gd name="connsiteX2" fmla="*/ 8709 w 8098972"/>
              <a:gd name="connsiteY2" fmla="*/ 1515291 h 1515291"/>
              <a:gd name="connsiteX3" fmla="*/ 8098972 w 8098972"/>
              <a:gd name="connsiteY3" fmla="*/ 1497874 h 1515291"/>
              <a:gd name="connsiteX4" fmla="*/ 8098972 w 8098972"/>
              <a:gd name="connsiteY4" fmla="*/ 513806 h 1515291"/>
              <a:gd name="connsiteX5" fmla="*/ 3953692 w 8098972"/>
              <a:gd name="connsiteY5" fmla="*/ 0 h 1515291"/>
              <a:gd name="connsiteX0" fmla="*/ 3953692 w 8098972"/>
              <a:gd name="connsiteY0" fmla="*/ 0 h 1515291"/>
              <a:gd name="connsiteX1" fmla="*/ 0 w 8098972"/>
              <a:gd name="connsiteY1" fmla="*/ 766293 h 1515291"/>
              <a:gd name="connsiteX2" fmla="*/ 8709 w 8098972"/>
              <a:gd name="connsiteY2" fmla="*/ 1515291 h 1515291"/>
              <a:gd name="connsiteX3" fmla="*/ 8098972 w 8098972"/>
              <a:gd name="connsiteY3" fmla="*/ 1497874 h 1515291"/>
              <a:gd name="connsiteX4" fmla="*/ 8098972 w 8098972"/>
              <a:gd name="connsiteY4" fmla="*/ 513806 h 1515291"/>
              <a:gd name="connsiteX5" fmla="*/ 3953692 w 8098972"/>
              <a:gd name="connsiteY5" fmla="*/ 0 h 1515291"/>
              <a:gd name="connsiteX0" fmla="*/ 3953692 w 8098972"/>
              <a:gd name="connsiteY0" fmla="*/ 0 h 1515291"/>
              <a:gd name="connsiteX1" fmla="*/ 0 w 8098972"/>
              <a:gd name="connsiteY1" fmla="*/ 766293 h 1515291"/>
              <a:gd name="connsiteX2" fmla="*/ 8709 w 8098972"/>
              <a:gd name="connsiteY2" fmla="*/ 1515291 h 1515291"/>
              <a:gd name="connsiteX3" fmla="*/ 8098972 w 8098972"/>
              <a:gd name="connsiteY3" fmla="*/ 1497874 h 1515291"/>
              <a:gd name="connsiteX4" fmla="*/ 8090264 w 8098972"/>
              <a:gd name="connsiteY4" fmla="*/ 848487 h 1515291"/>
              <a:gd name="connsiteX5" fmla="*/ 3953692 w 8098972"/>
              <a:gd name="connsiteY5" fmla="*/ 0 h 1515291"/>
              <a:gd name="connsiteX0" fmla="*/ 3953692 w 8098972"/>
              <a:gd name="connsiteY0" fmla="*/ 0 h 1515291"/>
              <a:gd name="connsiteX1" fmla="*/ 0 w 8098972"/>
              <a:gd name="connsiteY1" fmla="*/ 835566 h 1515291"/>
              <a:gd name="connsiteX2" fmla="*/ 8709 w 8098972"/>
              <a:gd name="connsiteY2" fmla="*/ 1515291 h 1515291"/>
              <a:gd name="connsiteX3" fmla="*/ 8098972 w 8098972"/>
              <a:gd name="connsiteY3" fmla="*/ 1497874 h 1515291"/>
              <a:gd name="connsiteX4" fmla="*/ 8090264 w 8098972"/>
              <a:gd name="connsiteY4" fmla="*/ 848487 h 1515291"/>
              <a:gd name="connsiteX5" fmla="*/ 3953692 w 8098972"/>
              <a:gd name="connsiteY5" fmla="*/ 0 h 1515291"/>
              <a:gd name="connsiteX0" fmla="*/ 4060828 w 8098972"/>
              <a:gd name="connsiteY0" fmla="*/ 0 h 1515291"/>
              <a:gd name="connsiteX1" fmla="*/ 0 w 8098972"/>
              <a:gd name="connsiteY1" fmla="*/ 835566 h 1515291"/>
              <a:gd name="connsiteX2" fmla="*/ 8709 w 8098972"/>
              <a:gd name="connsiteY2" fmla="*/ 1515291 h 1515291"/>
              <a:gd name="connsiteX3" fmla="*/ 8098972 w 8098972"/>
              <a:gd name="connsiteY3" fmla="*/ 1497874 h 1515291"/>
              <a:gd name="connsiteX4" fmla="*/ 8090264 w 8098972"/>
              <a:gd name="connsiteY4" fmla="*/ 848487 h 1515291"/>
              <a:gd name="connsiteX5" fmla="*/ 4060828 w 8098972"/>
              <a:gd name="connsiteY5" fmla="*/ 0 h 1515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8972" h="1515291">
                <a:moveTo>
                  <a:pt x="4060828" y="0"/>
                </a:moveTo>
                <a:lnTo>
                  <a:pt x="0" y="835566"/>
                </a:lnTo>
                <a:lnTo>
                  <a:pt x="8709" y="1515291"/>
                </a:lnTo>
                <a:lnTo>
                  <a:pt x="8098972" y="1497874"/>
                </a:lnTo>
                <a:lnTo>
                  <a:pt x="8090264" y="848487"/>
                </a:lnTo>
                <a:lnTo>
                  <a:pt x="4060828" y="0"/>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400" dirty="0">
              <a:solidFill>
                <a:schemeClr val="tx1"/>
              </a:solidFill>
            </a:endParaRPr>
          </a:p>
        </p:txBody>
      </p:sp>
      <p:sp>
        <p:nvSpPr>
          <p:cNvPr id="2" name="Titel 1"/>
          <p:cNvSpPr>
            <a:spLocks noGrp="1"/>
          </p:cNvSpPr>
          <p:nvPr>
            <p:ph type="title"/>
          </p:nvPr>
        </p:nvSpPr>
        <p:spPr>
          <a:xfrm>
            <a:off x="446995" y="281196"/>
            <a:ext cx="8227877" cy="648072"/>
          </a:xfrm>
        </p:spPr>
        <p:txBody>
          <a:bodyPr/>
          <a:lstStyle/>
          <a:p>
            <a:r>
              <a:rPr lang="de-DE" dirty="0"/>
              <a:t>Es bestehen verschiedene Instrumente zur Einbindung von Zielgruppen und Finanzierung eines attraktiven ÖPNV</a:t>
            </a:r>
          </a:p>
        </p:txBody>
      </p:sp>
      <p:sp>
        <p:nvSpPr>
          <p:cNvPr id="3" name="Inhaltsplatzhalter 2"/>
          <p:cNvSpPr>
            <a:spLocks noGrp="1"/>
          </p:cNvSpPr>
          <p:nvPr>
            <p:ph idx="1"/>
          </p:nvPr>
        </p:nvSpPr>
        <p:spPr>
          <a:xfrm>
            <a:off x="451758" y="1083558"/>
            <a:ext cx="7432610" cy="292316"/>
          </a:xfrm>
        </p:spPr>
        <p:txBody>
          <a:bodyPr/>
          <a:lstStyle/>
          <a:p>
            <a:r>
              <a:rPr lang="de-DE" dirty="0"/>
              <a:t>Ansätze zur ÖPNV-Finanzierung: Überblick</a:t>
            </a:r>
          </a:p>
        </p:txBody>
      </p:sp>
      <p:sp>
        <p:nvSpPr>
          <p:cNvPr id="7" name="Oval 8"/>
          <p:cNvSpPr>
            <a:spLocks noChangeArrowheads="1"/>
          </p:cNvSpPr>
          <p:nvPr>
            <p:custDataLst>
              <p:tags r:id="rId4"/>
            </p:custDataLst>
          </p:nvPr>
        </p:nvSpPr>
        <p:spPr bwMode="auto">
          <a:xfrm>
            <a:off x="928822" y="1629060"/>
            <a:ext cx="1079967" cy="1079967"/>
          </a:xfrm>
          <a:prstGeom prst="ellipse">
            <a:avLst/>
          </a:prstGeom>
          <a:solidFill>
            <a:schemeClr val="accent5"/>
          </a:solidFill>
          <a:ln w="9525">
            <a:noFill/>
            <a:round/>
            <a:headEnd/>
            <a:tailEnd/>
          </a:ln>
          <a:effectLst/>
        </p:spPr>
        <p:txBody>
          <a:bodyPr wrap="none" lIns="46037" tIns="23812" rIns="46037" bIns="23812" anchor="ctr"/>
          <a:lstStyle/>
          <a:p>
            <a:pPr algn="ctr" defTabSz="228600" eaLnBrk="0" hangingPunct="0"/>
            <a:r>
              <a:rPr lang="de-DE" sz="1400" b="1" dirty="0">
                <a:latin typeface="Arial" panose="020B0604020202020204" pitchFamily="34" charset="0"/>
                <a:cs typeface="Arial" panose="020B0604020202020204" pitchFamily="34" charset="0"/>
                <a:sym typeface="Arial" panose="020B0604020202020204" pitchFamily="34" charset="0"/>
              </a:rPr>
              <a:t>Nutzer-</a:t>
            </a:r>
            <a:br>
              <a:rPr lang="de-DE" sz="1400" b="1" dirty="0">
                <a:latin typeface="Arial" panose="020B0604020202020204" pitchFamily="34" charset="0"/>
                <a:cs typeface="Arial" panose="020B0604020202020204" pitchFamily="34" charset="0"/>
                <a:sym typeface="Arial" panose="020B0604020202020204" pitchFamily="34" charset="0"/>
              </a:rPr>
            </a:br>
            <a:r>
              <a:rPr lang="de-DE" sz="1400" b="1" dirty="0" err="1">
                <a:latin typeface="Arial" panose="020B0604020202020204" pitchFamily="34" charset="0"/>
                <a:cs typeface="Arial" panose="020B0604020202020204" pitchFamily="34" charset="0"/>
                <a:sym typeface="Arial" panose="020B0604020202020204" pitchFamily="34" charset="0"/>
              </a:rPr>
              <a:t>finanzie</a:t>
            </a:r>
            <a:r>
              <a:rPr lang="de-DE" sz="1400" b="1" dirty="0">
                <a:latin typeface="Arial" panose="020B0604020202020204" pitchFamily="34" charset="0"/>
                <a:cs typeface="Arial" panose="020B0604020202020204" pitchFamily="34" charset="0"/>
                <a:sym typeface="Arial" panose="020B0604020202020204" pitchFamily="34" charset="0"/>
              </a:rPr>
              <a:t>-</a:t>
            </a:r>
            <a:br>
              <a:rPr lang="de-DE" sz="1400" b="1" dirty="0">
                <a:latin typeface="Arial" panose="020B0604020202020204" pitchFamily="34" charset="0"/>
                <a:cs typeface="Arial" panose="020B0604020202020204" pitchFamily="34" charset="0"/>
                <a:sym typeface="Arial" panose="020B0604020202020204" pitchFamily="34" charset="0"/>
              </a:rPr>
            </a:br>
            <a:r>
              <a:rPr lang="de-DE" sz="1400" b="1" dirty="0" err="1">
                <a:latin typeface="Arial" panose="020B0604020202020204" pitchFamily="34" charset="0"/>
                <a:cs typeface="Arial" panose="020B0604020202020204" pitchFamily="34" charset="0"/>
                <a:sym typeface="Arial" panose="020B0604020202020204" pitchFamily="34" charset="0"/>
              </a:rPr>
              <a:t>rung</a:t>
            </a:r>
            <a:endParaRPr lang="de-DE" sz="1400" b="1" dirty="0">
              <a:latin typeface="Arial" panose="020B0604020202020204" pitchFamily="34" charset="0"/>
              <a:cs typeface="Arial" panose="020B0604020202020204" pitchFamily="34" charset="0"/>
              <a:sym typeface="Arial" panose="020B0604020202020204" pitchFamily="34" charset="0"/>
            </a:endParaRPr>
          </a:p>
        </p:txBody>
      </p:sp>
      <p:sp>
        <p:nvSpPr>
          <p:cNvPr id="8" name="Oval 9"/>
          <p:cNvSpPr>
            <a:spLocks noChangeArrowheads="1"/>
          </p:cNvSpPr>
          <p:nvPr>
            <p:custDataLst>
              <p:tags r:id="rId5"/>
            </p:custDataLst>
          </p:nvPr>
        </p:nvSpPr>
        <p:spPr bwMode="auto">
          <a:xfrm>
            <a:off x="6988399" y="1629060"/>
            <a:ext cx="1079967" cy="1079967"/>
          </a:xfrm>
          <a:prstGeom prst="ellipse">
            <a:avLst/>
          </a:prstGeom>
          <a:solidFill>
            <a:schemeClr val="accent5"/>
          </a:solidFill>
          <a:ln w="9525">
            <a:noFill/>
            <a:round/>
            <a:headEnd/>
            <a:tailEnd/>
          </a:ln>
          <a:effectLst/>
        </p:spPr>
        <p:txBody>
          <a:bodyPr wrap="none" lIns="46037" tIns="23812" rIns="46037" bIns="23812" anchor="ctr"/>
          <a:lstStyle/>
          <a:p>
            <a:pPr algn="ctr" defTabSz="228600" eaLnBrk="0" hangingPunct="0"/>
            <a:r>
              <a:rPr lang="de-DE" sz="1400" b="1" dirty="0">
                <a:latin typeface="Arial" panose="020B0604020202020204" pitchFamily="34" charset="0"/>
                <a:cs typeface="Arial" panose="020B0604020202020204" pitchFamily="34" charset="0"/>
                <a:sym typeface="Arial" panose="020B0604020202020204" pitchFamily="34" charset="0"/>
              </a:rPr>
              <a:t>Öffentliche</a:t>
            </a:r>
            <a:br>
              <a:rPr lang="de-DE" sz="1400" b="1" dirty="0">
                <a:latin typeface="Arial" panose="020B0604020202020204" pitchFamily="34" charset="0"/>
                <a:cs typeface="Arial" panose="020B0604020202020204" pitchFamily="34" charset="0"/>
                <a:sym typeface="Arial" panose="020B0604020202020204" pitchFamily="34" charset="0"/>
              </a:rPr>
            </a:br>
            <a:r>
              <a:rPr lang="de-DE" sz="1400" b="1" dirty="0">
                <a:latin typeface="Arial" panose="020B0604020202020204" pitchFamily="34" charset="0"/>
                <a:cs typeface="Arial" panose="020B0604020202020204" pitchFamily="34" charset="0"/>
                <a:sym typeface="Arial" panose="020B0604020202020204" pitchFamily="34" charset="0"/>
              </a:rPr>
              <a:t>Mittel</a:t>
            </a:r>
          </a:p>
        </p:txBody>
      </p:sp>
      <p:sp>
        <p:nvSpPr>
          <p:cNvPr id="14" name="Foliennummernplatzhalter 13"/>
          <p:cNvSpPr>
            <a:spLocks noGrp="1"/>
          </p:cNvSpPr>
          <p:nvPr>
            <p:ph type="sldNum" sz="quarter" idx="11"/>
          </p:nvPr>
        </p:nvSpPr>
        <p:spPr>
          <a:xfrm>
            <a:off x="519427" y="6295815"/>
            <a:ext cx="227626" cy="246221"/>
          </a:xfrm>
        </p:spPr>
        <p:txBody>
          <a:bodyPr/>
          <a:lstStyle/>
          <a:p>
            <a:fld id="{CD21EFEB-933F-4F46-A5AD-B6372944D9E5}" type="slidenum">
              <a:rPr lang="de-DE" smtClean="0"/>
              <a:pPr/>
              <a:t>24</a:t>
            </a:fld>
            <a:endParaRPr lang="de-DE" dirty="0"/>
          </a:p>
        </p:txBody>
      </p:sp>
      <p:sp>
        <p:nvSpPr>
          <p:cNvPr id="19" name="Oval 8"/>
          <p:cNvSpPr>
            <a:spLocks noChangeArrowheads="1"/>
          </p:cNvSpPr>
          <p:nvPr>
            <p:custDataLst>
              <p:tags r:id="rId6"/>
            </p:custDataLst>
          </p:nvPr>
        </p:nvSpPr>
        <p:spPr bwMode="auto">
          <a:xfrm>
            <a:off x="4032017" y="1629060"/>
            <a:ext cx="1079967" cy="1079967"/>
          </a:xfrm>
          <a:prstGeom prst="ellipse">
            <a:avLst/>
          </a:prstGeom>
          <a:solidFill>
            <a:schemeClr val="accent6"/>
          </a:solidFill>
          <a:ln w="9525">
            <a:noFill/>
            <a:round/>
            <a:headEnd/>
            <a:tailEnd/>
          </a:ln>
          <a:effectLst/>
        </p:spPr>
        <p:txBody>
          <a:bodyPr wrap="none" lIns="46037" tIns="23812" rIns="46037" bIns="23812" anchor="ctr"/>
          <a:lstStyle/>
          <a:p>
            <a:pPr algn="ctr" defTabSz="228600" eaLnBrk="0" hangingPunct="0"/>
            <a:r>
              <a:rPr lang="de-DE" sz="1400" b="1" dirty="0">
                <a:solidFill>
                  <a:schemeClr val="bg1"/>
                </a:solidFill>
                <a:latin typeface="Arial" panose="020B0604020202020204" pitchFamily="34" charset="0"/>
                <a:cs typeface="Arial" panose="020B0604020202020204" pitchFamily="34" charset="0"/>
                <a:sym typeface="Arial" panose="020B0604020202020204" pitchFamily="34" charset="0"/>
              </a:rPr>
              <a:t>Weitere</a:t>
            </a:r>
          </a:p>
          <a:p>
            <a:pPr algn="ctr" defTabSz="228600" eaLnBrk="0" hangingPunct="0"/>
            <a:r>
              <a:rPr lang="de-DE" sz="1400" b="1" dirty="0">
                <a:solidFill>
                  <a:schemeClr val="bg1"/>
                </a:solidFill>
                <a:latin typeface="Arial" panose="020B0604020202020204" pitchFamily="34" charset="0"/>
                <a:cs typeface="Arial" panose="020B0604020202020204" pitchFamily="34" charset="0"/>
                <a:sym typeface="Arial" panose="020B0604020202020204" pitchFamily="34" charset="0"/>
              </a:rPr>
              <a:t>Finanz-</a:t>
            </a:r>
          </a:p>
          <a:p>
            <a:pPr algn="ctr" defTabSz="228600" eaLnBrk="0" hangingPunct="0"/>
            <a:r>
              <a:rPr lang="de-DE" sz="1400" b="1" dirty="0">
                <a:solidFill>
                  <a:schemeClr val="bg1"/>
                </a:solidFill>
                <a:latin typeface="Arial" panose="020B0604020202020204" pitchFamily="34" charset="0"/>
                <a:cs typeface="Arial" panose="020B0604020202020204" pitchFamily="34" charset="0"/>
                <a:sym typeface="Arial" panose="020B0604020202020204" pitchFamily="34" charset="0"/>
              </a:rPr>
              <a:t>quellen</a:t>
            </a:r>
          </a:p>
        </p:txBody>
      </p:sp>
      <p:grpSp>
        <p:nvGrpSpPr>
          <p:cNvPr id="4" name="Gruppieren 3">
            <a:extLst>
              <a:ext uri="{FF2B5EF4-FFF2-40B4-BE49-F238E27FC236}">
                <a16:creationId xmlns:a16="http://schemas.microsoft.com/office/drawing/2014/main" xmlns="" id="{29E0D224-B40B-425C-A825-69F747058158}"/>
              </a:ext>
            </a:extLst>
          </p:cNvPr>
          <p:cNvGrpSpPr/>
          <p:nvPr/>
        </p:nvGrpSpPr>
        <p:grpSpPr>
          <a:xfrm>
            <a:off x="832926" y="2835939"/>
            <a:ext cx="1079967" cy="1143492"/>
            <a:chOff x="832926" y="2835939"/>
            <a:chExt cx="1079967" cy="1143492"/>
          </a:xfrm>
        </p:grpSpPr>
        <p:sp>
          <p:nvSpPr>
            <p:cNvPr id="20" name="Oval 8">
              <a:extLst>
                <a:ext uri="{FF2B5EF4-FFF2-40B4-BE49-F238E27FC236}">
                  <a16:creationId xmlns:a16="http://schemas.microsoft.com/office/drawing/2014/main" xmlns="" id="{2AB58648-EBF2-4193-86B7-1002A29F9D3F}"/>
                </a:ext>
              </a:extLst>
            </p:cNvPr>
            <p:cNvSpPr>
              <a:spLocks noChangeArrowheads="1"/>
            </p:cNvSpPr>
            <p:nvPr>
              <p:custDataLst>
                <p:tags r:id="rId20"/>
              </p:custDataLst>
            </p:nvPr>
          </p:nvSpPr>
          <p:spPr bwMode="auto">
            <a:xfrm>
              <a:off x="832926" y="2899464"/>
              <a:ext cx="1079967" cy="1079967"/>
            </a:xfrm>
            <a:prstGeom prst="ellipse">
              <a:avLst/>
            </a:prstGeom>
            <a:solidFill>
              <a:schemeClr val="tx2"/>
            </a:solidFill>
            <a:ln w="9525">
              <a:noFill/>
              <a:round/>
              <a:headEnd/>
              <a:tailEnd/>
            </a:ln>
            <a:effectLst/>
          </p:spPr>
          <p:txBody>
            <a:bodyPr wrap="none" lIns="46037" tIns="23812" rIns="46037" bIns="23812" anchor="ctr"/>
            <a:lstStyle/>
            <a:p>
              <a:pPr algn="ctr" defTabSz="228600" eaLnBrk="0" hangingPunct="0"/>
              <a:r>
                <a:rPr lang="de-DE" sz="1400" b="1" dirty="0">
                  <a:latin typeface="Arial" panose="020B0604020202020204" pitchFamily="34" charset="0"/>
                  <a:cs typeface="Arial" panose="020B0604020202020204" pitchFamily="34" charset="0"/>
                  <a:sym typeface="Arial" panose="020B0604020202020204" pitchFamily="34" charset="0"/>
                </a:rPr>
                <a:t>Bürger</a:t>
              </a:r>
            </a:p>
          </p:txBody>
        </p:sp>
        <p:grpSp>
          <p:nvGrpSpPr>
            <p:cNvPr id="32" name="Gruppieren 31">
              <a:extLst>
                <a:ext uri="{FF2B5EF4-FFF2-40B4-BE49-F238E27FC236}">
                  <a16:creationId xmlns:a16="http://schemas.microsoft.com/office/drawing/2014/main" xmlns="" id="{6467ACD4-2F23-4075-B54D-A54616BEBE40}"/>
                </a:ext>
              </a:extLst>
            </p:cNvPr>
            <p:cNvGrpSpPr>
              <a:grpSpLocks noChangeAspect="1"/>
            </p:cNvGrpSpPr>
            <p:nvPr/>
          </p:nvGrpSpPr>
          <p:grpSpPr>
            <a:xfrm>
              <a:off x="1527995" y="2835939"/>
              <a:ext cx="357678" cy="360000"/>
              <a:chOff x="8100392" y="1013975"/>
              <a:chExt cx="360040" cy="360040"/>
            </a:xfrm>
          </p:grpSpPr>
          <p:sp>
            <p:nvSpPr>
              <p:cNvPr id="33" name="Ellipse 32">
                <a:extLst>
                  <a:ext uri="{FF2B5EF4-FFF2-40B4-BE49-F238E27FC236}">
                    <a16:creationId xmlns:a16="http://schemas.microsoft.com/office/drawing/2014/main" xmlns="" id="{DFFAC46D-1863-4E4B-AEAE-26E4E0417FB5}"/>
                  </a:ext>
                </a:extLst>
              </p:cNvPr>
              <p:cNvSpPr/>
              <p:nvPr/>
            </p:nvSpPr>
            <p:spPr>
              <a:xfrm>
                <a:off x="8100392" y="1013975"/>
                <a:ext cx="360040" cy="360040"/>
              </a:xfrm>
              <a:prstGeom prst="ellipse">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400" dirty="0">
                  <a:solidFill>
                    <a:schemeClr val="tx1"/>
                  </a:solidFill>
                </a:endParaRPr>
              </a:p>
            </p:txBody>
          </p:sp>
          <p:pic>
            <p:nvPicPr>
              <p:cNvPr id="34" name="Grafik 33">
                <a:extLst>
                  <a:ext uri="{FF2B5EF4-FFF2-40B4-BE49-F238E27FC236}">
                    <a16:creationId xmlns:a16="http://schemas.microsoft.com/office/drawing/2014/main" xmlns="" id="{7E2B2FBD-6F8A-4EF8-9724-2BB777E52789}"/>
                  </a:ext>
                </a:extLst>
              </p:cNvPr>
              <p:cNvPicPr>
                <a:picLocks noChangeAspect="1"/>
              </p:cNvPicPr>
              <p:nvPr/>
            </p:nvPicPr>
            <p:blipFill>
              <a:blip r:embed="rId25">
                <a:extLst>
                  <a:ext uri="{96DAC541-7B7A-43D3-8B79-37D633B846F1}">
                    <asvg:svgBlip xmlns:asvg="http://schemas.microsoft.com/office/drawing/2016/SVG/main" xmlns="" r:embed="rId26"/>
                  </a:ext>
                </a:extLst>
              </a:blip>
              <a:stretch>
                <a:fillRect/>
              </a:stretch>
            </p:blipFill>
            <p:spPr>
              <a:xfrm>
                <a:off x="8158998" y="1080019"/>
                <a:ext cx="246569" cy="253821"/>
              </a:xfrm>
              <a:prstGeom prst="rect">
                <a:avLst/>
              </a:prstGeom>
            </p:spPr>
          </p:pic>
        </p:grpSp>
      </p:grpSp>
      <p:grpSp>
        <p:nvGrpSpPr>
          <p:cNvPr id="10" name="Gruppieren 9">
            <a:extLst>
              <a:ext uri="{FF2B5EF4-FFF2-40B4-BE49-F238E27FC236}">
                <a16:creationId xmlns:a16="http://schemas.microsoft.com/office/drawing/2014/main" xmlns="" id="{9AD44D3F-E8BB-4340-AD10-73E314E1C687}"/>
              </a:ext>
            </a:extLst>
          </p:cNvPr>
          <p:cNvGrpSpPr/>
          <p:nvPr/>
        </p:nvGrpSpPr>
        <p:grpSpPr>
          <a:xfrm>
            <a:off x="4638079" y="2850165"/>
            <a:ext cx="1095851" cy="1124355"/>
            <a:chOff x="4638079" y="2850165"/>
            <a:chExt cx="1095851" cy="1124355"/>
          </a:xfrm>
        </p:grpSpPr>
        <p:sp>
          <p:nvSpPr>
            <p:cNvPr id="23" name="Oval 8">
              <a:extLst>
                <a:ext uri="{FF2B5EF4-FFF2-40B4-BE49-F238E27FC236}">
                  <a16:creationId xmlns:a16="http://schemas.microsoft.com/office/drawing/2014/main" xmlns="" id="{EB38BB13-9D85-4E39-A582-BABFF28C90BF}"/>
                </a:ext>
              </a:extLst>
            </p:cNvPr>
            <p:cNvSpPr>
              <a:spLocks noChangeArrowheads="1"/>
            </p:cNvSpPr>
            <p:nvPr>
              <p:custDataLst>
                <p:tags r:id="rId19"/>
              </p:custDataLst>
            </p:nvPr>
          </p:nvSpPr>
          <p:spPr bwMode="auto">
            <a:xfrm>
              <a:off x="4638079" y="2894553"/>
              <a:ext cx="1079967" cy="1079967"/>
            </a:xfrm>
            <a:prstGeom prst="ellipse">
              <a:avLst/>
            </a:prstGeom>
            <a:solidFill>
              <a:schemeClr val="accent3"/>
            </a:solidFill>
            <a:ln w="9525">
              <a:noFill/>
              <a:round/>
              <a:headEnd/>
              <a:tailEnd/>
            </a:ln>
            <a:effectLst/>
          </p:spPr>
          <p:txBody>
            <a:bodyPr wrap="none" lIns="46037" tIns="23812" rIns="46037" bIns="23812" anchor="ctr"/>
            <a:lstStyle/>
            <a:p>
              <a:pPr algn="ctr" defTabSz="228600" eaLnBrk="0" hangingPunct="0"/>
              <a:r>
                <a:rPr lang="de-DE" sz="1400" b="1" dirty="0">
                  <a:latin typeface="Arial" panose="020B0604020202020204" pitchFamily="34" charset="0"/>
                  <a:cs typeface="Arial" panose="020B0604020202020204" pitchFamily="34" charset="0"/>
                  <a:sym typeface="Arial" panose="020B0604020202020204" pitchFamily="34" charset="0"/>
                </a:rPr>
                <a:t> Immobilien-</a:t>
              </a:r>
            </a:p>
            <a:p>
              <a:pPr algn="ctr" defTabSz="228600" eaLnBrk="0" hangingPunct="0"/>
              <a:r>
                <a:rPr lang="de-DE" sz="1400" b="1" dirty="0" err="1">
                  <a:latin typeface="Arial" panose="020B0604020202020204" pitchFamily="34" charset="0"/>
                  <a:cs typeface="Arial" panose="020B0604020202020204" pitchFamily="34" charset="0"/>
                  <a:sym typeface="Arial" panose="020B0604020202020204" pitchFamily="34" charset="0"/>
                </a:rPr>
                <a:t>eigentümer</a:t>
              </a:r>
              <a:endParaRPr lang="de-DE" sz="1400" b="1" dirty="0">
                <a:latin typeface="Arial" panose="020B0604020202020204" pitchFamily="34" charset="0"/>
                <a:cs typeface="Arial" panose="020B0604020202020204" pitchFamily="34" charset="0"/>
                <a:sym typeface="Arial" panose="020B0604020202020204" pitchFamily="34" charset="0"/>
              </a:endParaRPr>
            </a:p>
          </p:txBody>
        </p:sp>
        <p:grpSp>
          <p:nvGrpSpPr>
            <p:cNvPr id="35" name="Gruppieren 34">
              <a:extLst>
                <a:ext uri="{FF2B5EF4-FFF2-40B4-BE49-F238E27FC236}">
                  <a16:creationId xmlns:a16="http://schemas.microsoft.com/office/drawing/2014/main" xmlns="" id="{388F7231-054B-452D-823C-D632AAB9B8CD}"/>
                </a:ext>
              </a:extLst>
            </p:cNvPr>
            <p:cNvGrpSpPr>
              <a:grpSpLocks noChangeAspect="1"/>
            </p:cNvGrpSpPr>
            <p:nvPr/>
          </p:nvGrpSpPr>
          <p:grpSpPr>
            <a:xfrm>
              <a:off x="5373930" y="2850165"/>
              <a:ext cx="360000" cy="360000"/>
              <a:chOff x="4198007" y="1654603"/>
              <a:chExt cx="250346" cy="250346"/>
            </a:xfrm>
          </p:grpSpPr>
          <p:sp>
            <p:nvSpPr>
              <p:cNvPr id="36" name="Ellipse 35">
                <a:extLst>
                  <a:ext uri="{FF2B5EF4-FFF2-40B4-BE49-F238E27FC236}">
                    <a16:creationId xmlns:a16="http://schemas.microsoft.com/office/drawing/2014/main" xmlns="" id="{593D1924-AEF7-41C4-9C86-D0DEC0C51C44}"/>
                  </a:ext>
                </a:extLst>
              </p:cNvPr>
              <p:cNvSpPr>
                <a:spLocks noChangeAspect="1"/>
              </p:cNvSpPr>
              <p:nvPr/>
            </p:nvSpPr>
            <p:spPr>
              <a:xfrm>
                <a:off x="4198007" y="1654603"/>
                <a:ext cx="250346" cy="250346"/>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400" dirty="0">
                  <a:solidFill>
                    <a:schemeClr val="tx1"/>
                  </a:solidFill>
                </a:endParaRPr>
              </a:p>
            </p:txBody>
          </p:sp>
          <p:pic>
            <p:nvPicPr>
              <p:cNvPr id="37" name="Grafik 36">
                <a:extLst>
                  <a:ext uri="{FF2B5EF4-FFF2-40B4-BE49-F238E27FC236}">
                    <a16:creationId xmlns:a16="http://schemas.microsoft.com/office/drawing/2014/main" xmlns="" id="{002766DF-D396-4AA0-916A-94C6A5820094}"/>
                  </a:ext>
                </a:extLst>
              </p:cNvPr>
              <p:cNvPicPr>
                <a:picLocks noChangeAspect="1"/>
              </p:cNvPicPr>
              <p:nvPr/>
            </p:nvPicPr>
            <p:blipFill>
              <a:blip r:embed="rId27">
                <a:extLst>
                  <a:ext uri="{96DAC541-7B7A-43D3-8B79-37D633B846F1}">
                    <asvg:svgBlip xmlns:asvg="http://schemas.microsoft.com/office/drawing/2016/SVG/main" xmlns="" r:embed="rId28"/>
                  </a:ext>
                </a:extLst>
              </a:blip>
              <a:stretch>
                <a:fillRect/>
              </a:stretch>
            </p:blipFill>
            <p:spPr>
              <a:xfrm>
                <a:off x="4233312" y="1706923"/>
                <a:ext cx="178821" cy="145706"/>
              </a:xfrm>
              <a:prstGeom prst="rect">
                <a:avLst/>
              </a:prstGeom>
            </p:spPr>
          </p:pic>
        </p:grpSp>
      </p:grpSp>
      <p:grpSp>
        <p:nvGrpSpPr>
          <p:cNvPr id="6" name="Gruppieren 5">
            <a:extLst>
              <a:ext uri="{FF2B5EF4-FFF2-40B4-BE49-F238E27FC236}">
                <a16:creationId xmlns:a16="http://schemas.microsoft.com/office/drawing/2014/main" xmlns="" id="{B2A1E571-2EA5-420E-BBF9-786A0965F0B7}"/>
              </a:ext>
            </a:extLst>
          </p:cNvPr>
          <p:cNvGrpSpPr/>
          <p:nvPr/>
        </p:nvGrpSpPr>
        <p:grpSpPr>
          <a:xfrm>
            <a:off x="2114342" y="2850165"/>
            <a:ext cx="1103072" cy="1127506"/>
            <a:chOff x="2114342" y="2850165"/>
            <a:chExt cx="1103072" cy="1127506"/>
          </a:xfrm>
        </p:grpSpPr>
        <p:sp>
          <p:nvSpPr>
            <p:cNvPr id="21" name="Oval 8">
              <a:extLst>
                <a:ext uri="{FF2B5EF4-FFF2-40B4-BE49-F238E27FC236}">
                  <a16:creationId xmlns:a16="http://schemas.microsoft.com/office/drawing/2014/main" xmlns="" id="{2015797B-6F38-487B-96FA-32689049655A}"/>
                </a:ext>
              </a:extLst>
            </p:cNvPr>
            <p:cNvSpPr>
              <a:spLocks noChangeArrowheads="1"/>
            </p:cNvSpPr>
            <p:nvPr>
              <p:custDataLst>
                <p:tags r:id="rId18"/>
              </p:custDataLst>
            </p:nvPr>
          </p:nvSpPr>
          <p:spPr bwMode="auto">
            <a:xfrm>
              <a:off x="2114342" y="2897704"/>
              <a:ext cx="1079967" cy="1079967"/>
            </a:xfrm>
            <a:prstGeom prst="ellipse">
              <a:avLst/>
            </a:prstGeom>
            <a:solidFill>
              <a:schemeClr val="accent2"/>
            </a:solidFill>
            <a:ln w="9525">
              <a:noFill/>
              <a:round/>
              <a:headEnd/>
              <a:tailEnd/>
            </a:ln>
            <a:effectLst/>
          </p:spPr>
          <p:txBody>
            <a:bodyPr wrap="none" lIns="46037" tIns="23812" rIns="46037" bIns="23812" anchor="ctr"/>
            <a:lstStyle/>
            <a:p>
              <a:pPr algn="ctr" defTabSz="228600" eaLnBrk="0" hangingPunct="0"/>
              <a:r>
                <a:rPr lang="de-DE" sz="1400" b="1" dirty="0">
                  <a:latin typeface="Arial" panose="020B0604020202020204" pitchFamily="34" charset="0"/>
                  <a:cs typeface="Arial" panose="020B0604020202020204" pitchFamily="34" charset="0"/>
                  <a:sym typeface="Arial" panose="020B0604020202020204" pitchFamily="34" charset="0"/>
                </a:rPr>
                <a:t> MIV</a:t>
              </a:r>
            </a:p>
          </p:txBody>
        </p:sp>
        <p:grpSp>
          <p:nvGrpSpPr>
            <p:cNvPr id="38" name="Gruppieren 37">
              <a:extLst>
                <a:ext uri="{FF2B5EF4-FFF2-40B4-BE49-F238E27FC236}">
                  <a16:creationId xmlns:a16="http://schemas.microsoft.com/office/drawing/2014/main" xmlns="" id="{CDD227A0-7072-4319-A626-491E213FA02D}"/>
                </a:ext>
              </a:extLst>
            </p:cNvPr>
            <p:cNvGrpSpPr>
              <a:grpSpLocks noChangeAspect="1"/>
            </p:cNvGrpSpPr>
            <p:nvPr/>
          </p:nvGrpSpPr>
          <p:grpSpPr>
            <a:xfrm>
              <a:off x="2857414" y="2850165"/>
              <a:ext cx="360000" cy="360000"/>
              <a:chOff x="-248121" y="1914266"/>
              <a:chExt cx="360040" cy="360040"/>
            </a:xfrm>
          </p:grpSpPr>
          <p:sp>
            <p:nvSpPr>
              <p:cNvPr id="39" name="Ellipse 38">
                <a:extLst>
                  <a:ext uri="{FF2B5EF4-FFF2-40B4-BE49-F238E27FC236}">
                    <a16:creationId xmlns:a16="http://schemas.microsoft.com/office/drawing/2014/main" xmlns="" id="{BF6F1A91-2000-47E9-9025-4A7E80B60FE3}"/>
                  </a:ext>
                </a:extLst>
              </p:cNvPr>
              <p:cNvSpPr/>
              <p:nvPr/>
            </p:nvSpPr>
            <p:spPr>
              <a:xfrm>
                <a:off x="-248121" y="1914266"/>
                <a:ext cx="360040" cy="36004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400" dirty="0">
                  <a:solidFill>
                    <a:schemeClr val="tx1"/>
                  </a:solidFill>
                </a:endParaRPr>
              </a:p>
            </p:txBody>
          </p:sp>
          <p:pic>
            <p:nvPicPr>
              <p:cNvPr id="40" name="Grafik 39">
                <a:extLst>
                  <a:ext uri="{FF2B5EF4-FFF2-40B4-BE49-F238E27FC236}">
                    <a16:creationId xmlns:a16="http://schemas.microsoft.com/office/drawing/2014/main" xmlns="" id="{D9294DB9-9344-41E2-AC80-C720DB54564F}"/>
                  </a:ext>
                </a:extLst>
              </p:cNvPr>
              <p:cNvPicPr>
                <a:picLocks noChangeAspect="1"/>
              </p:cNvPicPr>
              <p:nvPr/>
            </p:nvPicPr>
            <p:blipFill>
              <a:blip r:embed="rId29">
                <a:extLst>
                  <a:ext uri="{96DAC541-7B7A-43D3-8B79-37D633B846F1}">
                    <asvg:svgBlip xmlns:asvg="http://schemas.microsoft.com/office/drawing/2016/SVG/main" xmlns="" r:embed="rId30"/>
                  </a:ext>
                </a:extLst>
              </a:blip>
              <a:stretch>
                <a:fillRect/>
              </a:stretch>
            </p:blipFill>
            <p:spPr>
              <a:xfrm>
                <a:off x="-204601" y="2026881"/>
                <a:ext cx="278282" cy="131411"/>
              </a:xfrm>
              <a:prstGeom prst="rect">
                <a:avLst/>
              </a:prstGeom>
            </p:spPr>
          </p:pic>
        </p:grpSp>
      </p:grpSp>
      <p:grpSp>
        <p:nvGrpSpPr>
          <p:cNvPr id="13" name="Gruppieren 12">
            <a:extLst>
              <a:ext uri="{FF2B5EF4-FFF2-40B4-BE49-F238E27FC236}">
                <a16:creationId xmlns:a16="http://schemas.microsoft.com/office/drawing/2014/main" xmlns="" id="{78BFFAC6-329C-44B1-9CFB-71F18298C6AC}"/>
              </a:ext>
            </a:extLst>
          </p:cNvPr>
          <p:cNvGrpSpPr/>
          <p:nvPr/>
        </p:nvGrpSpPr>
        <p:grpSpPr>
          <a:xfrm>
            <a:off x="7267167" y="2850165"/>
            <a:ext cx="1079967" cy="1109440"/>
            <a:chOff x="7267167" y="2850165"/>
            <a:chExt cx="1079967" cy="1109440"/>
          </a:xfrm>
        </p:grpSpPr>
        <p:sp>
          <p:nvSpPr>
            <p:cNvPr id="25" name="Oval 8">
              <a:extLst>
                <a:ext uri="{FF2B5EF4-FFF2-40B4-BE49-F238E27FC236}">
                  <a16:creationId xmlns:a16="http://schemas.microsoft.com/office/drawing/2014/main" xmlns="" id="{307F693E-E4E3-40AA-99B1-0B8147586654}"/>
                </a:ext>
              </a:extLst>
            </p:cNvPr>
            <p:cNvSpPr>
              <a:spLocks noChangeArrowheads="1"/>
            </p:cNvSpPr>
            <p:nvPr>
              <p:custDataLst>
                <p:tags r:id="rId17"/>
              </p:custDataLst>
            </p:nvPr>
          </p:nvSpPr>
          <p:spPr bwMode="auto">
            <a:xfrm>
              <a:off x="7267167" y="2879638"/>
              <a:ext cx="1079967" cy="1079967"/>
            </a:xfrm>
            <a:prstGeom prst="ellipse">
              <a:avLst/>
            </a:prstGeom>
            <a:solidFill>
              <a:schemeClr val="accent1"/>
            </a:solidFill>
            <a:ln w="9525">
              <a:noFill/>
              <a:round/>
              <a:headEnd/>
              <a:tailEnd/>
            </a:ln>
            <a:effectLst/>
          </p:spPr>
          <p:txBody>
            <a:bodyPr wrap="none" lIns="46037" tIns="23812" rIns="46037" bIns="23812" anchor="ctr"/>
            <a:lstStyle/>
            <a:p>
              <a:pPr algn="ctr" defTabSz="228600" eaLnBrk="0" hangingPunct="0"/>
              <a:r>
                <a:rPr lang="de-DE" sz="1400" b="1" dirty="0">
                  <a:latin typeface="Arial" panose="020B0604020202020204" pitchFamily="34" charset="0"/>
                  <a:cs typeface="Arial" panose="020B0604020202020204" pitchFamily="34" charset="0"/>
                  <a:sym typeface="Arial" panose="020B0604020202020204" pitchFamily="34" charset="0"/>
                </a:rPr>
                <a:t> Fonds</a:t>
              </a:r>
            </a:p>
          </p:txBody>
        </p:sp>
        <p:grpSp>
          <p:nvGrpSpPr>
            <p:cNvPr id="41" name="Gruppieren 40">
              <a:extLst>
                <a:ext uri="{FF2B5EF4-FFF2-40B4-BE49-F238E27FC236}">
                  <a16:creationId xmlns:a16="http://schemas.microsoft.com/office/drawing/2014/main" xmlns="" id="{7917F680-D20F-4083-9C94-A21FFF9A70A7}"/>
                </a:ext>
              </a:extLst>
            </p:cNvPr>
            <p:cNvGrpSpPr/>
            <p:nvPr/>
          </p:nvGrpSpPr>
          <p:grpSpPr>
            <a:xfrm>
              <a:off x="7987094" y="2850165"/>
              <a:ext cx="360040" cy="360040"/>
              <a:chOff x="3681527" y="3858993"/>
              <a:chExt cx="360040" cy="360040"/>
            </a:xfrm>
          </p:grpSpPr>
          <p:sp>
            <p:nvSpPr>
              <p:cNvPr id="42" name="Ellipse 41">
                <a:extLst>
                  <a:ext uri="{FF2B5EF4-FFF2-40B4-BE49-F238E27FC236}">
                    <a16:creationId xmlns:a16="http://schemas.microsoft.com/office/drawing/2014/main" xmlns="" id="{5B68F902-1ACA-42AA-990B-BDE746333A20}"/>
                  </a:ext>
                </a:extLst>
              </p:cNvPr>
              <p:cNvSpPr/>
              <p:nvPr/>
            </p:nvSpPr>
            <p:spPr>
              <a:xfrm>
                <a:off x="3681527" y="3858993"/>
                <a:ext cx="360040" cy="36004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400" dirty="0">
                  <a:solidFill>
                    <a:schemeClr val="tx1"/>
                  </a:solidFill>
                </a:endParaRPr>
              </a:p>
            </p:txBody>
          </p:sp>
          <p:pic>
            <p:nvPicPr>
              <p:cNvPr id="43" name="Grafik 42">
                <a:extLst>
                  <a:ext uri="{FF2B5EF4-FFF2-40B4-BE49-F238E27FC236}">
                    <a16:creationId xmlns:a16="http://schemas.microsoft.com/office/drawing/2014/main" xmlns="" id="{6266905F-4627-4135-8F61-CAD7A9220185}"/>
                  </a:ext>
                </a:extLst>
              </p:cNvPr>
              <p:cNvPicPr>
                <a:picLocks noChangeAspect="1"/>
              </p:cNvPicPr>
              <p:nvPr/>
            </p:nvPicPr>
            <p:blipFill>
              <a:blip r:embed="rId31">
                <a:extLst>
                  <a:ext uri="{96DAC541-7B7A-43D3-8B79-37D633B846F1}">
                    <asvg:svgBlip xmlns:asvg="http://schemas.microsoft.com/office/drawing/2016/SVG/main" xmlns="" r:embed="rId32"/>
                  </a:ext>
                </a:extLst>
              </a:blip>
              <a:stretch>
                <a:fillRect/>
              </a:stretch>
            </p:blipFill>
            <p:spPr>
              <a:xfrm>
                <a:off x="3752201" y="3901349"/>
                <a:ext cx="203008" cy="270677"/>
              </a:xfrm>
              <a:prstGeom prst="rect">
                <a:avLst/>
              </a:prstGeom>
            </p:spPr>
          </p:pic>
        </p:grpSp>
      </p:grpSp>
      <p:grpSp>
        <p:nvGrpSpPr>
          <p:cNvPr id="12" name="Gruppieren 11">
            <a:extLst>
              <a:ext uri="{FF2B5EF4-FFF2-40B4-BE49-F238E27FC236}">
                <a16:creationId xmlns:a16="http://schemas.microsoft.com/office/drawing/2014/main" xmlns="" id="{D2E37738-D781-446F-8972-66C3E91BF55B}"/>
              </a:ext>
            </a:extLst>
          </p:cNvPr>
          <p:cNvGrpSpPr/>
          <p:nvPr/>
        </p:nvGrpSpPr>
        <p:grpSpPr>
          <a:xfrm>
            <a:off x="5952623" y="2850165"/>
            <a:ext cx="1105902" cy="1124355"/>
            <a:chOff x="5952623" y="2850165"/>
            <a:chExt cx="1105902" cy="1124355"/>
          </a:xfrm>
        </p:grpSpPr>
        <p:sp>
          <p:nvSpPr>
            <p:cNvPr id="24" name="Oval 8">
              <a:extLst>
                <a:ext uri="{FF2B5EF4-FFF2-40B4-BE49-F238E27FC236}">
                  <a16:creationId xmlns:a16="http://schemas.microsoft.com/office/drawing/2014/main" xmlns="" id="{03976021-8911-4DB7-998A-0D6E8599C445}"/>
                </a:ext>
              </a:extLst>
            </p:cNvPr>
            <p:cNvSpPr>
              <a:spLocks noChangeArrowheads="1"/>
            </p:cNvSpPr>
            <p:nvPr>
              <p:custDataLst>
                <p:tags r:id="rId16"/>
              </p:custDataLst>
            </p:nvPr>
          </p:nvSpPr>
          <p:spPr bwMode="auto">
            <a:xfrm>
              <a:off x="5952623" y="2894553"/>
              <a:ext cx="1079967" cy="1079967"/>
            </a:xfrm>
            <a:prstGeom prst="ellipse">
              <a:avLst/>
            </a:prstGeom>
            <a:solidFill>
              <a:schemeClr val="accent4"/>
            </a:solidFill>
            <a:ln w="9525">
              <a:noFill/>
              <a:round/>
              <a:headEnd/>
              <a:tailEnd/>
            </a:ln>
            <a:effectLst/>
          </p:spPr>
          <p:txBody>
            <a:bodyPr wrap="none" lIns="46037" tIns="23812" rIns="46037" bIns="23812" anchor="ctr"/>
            <a:lstStyle/>
            <a:p>
              <a:pPr algn="ctr" defTabSz="228600" eaLnBrk="0" hangingPunct="0"/>
              <a:r>
                <a:rPr lang="de-DE" sz="1400" b="1" dirty="0">
                  <a:latin typeface="Arial" panose="020B0604020202020204" pitchFamily="34" charset="0"/>
                  <a:cs typeface="Arial" panose="020B0604020202020204" pitchFamily="34" charset="0"/>
                  <a:sym typeface="Arial" panose="020B0604020202020204" pitchFamily="34" charset="0"/>
                </a:rPr>
                <a:t> Investoren</a:t>
              </a:r>
            </a:p>
          </p:txBody>
        </p:sp>
        <p:grpSp>
          <p:nvGrpSpPr>
            <p:cNvPr id="44" name="Gruppieren 43">
              <a:extLst>
                <a:ext uri="{FF2B5EF4-FFF2-40B4-BE49-F238E27FC236}">
                  <a16:creationId xmlns:a16="http://schemas.microsoft.com/office/drawing/2014/main" xmlns="" id="{3F51C095-B419-4DC3-AC22-D5FF3BB529B7}"/>
                </a:ext>
              </a:extLst>
            </p:cNvPr>
            <p:cNvGrpSpPr/>
            <p:nvPr/>
          </p:nvGrpSpPr>
          <p:grpSpPr>
            <a:xfrm>
              <a:off x="6698485" y="2850165"/>
              <a:ext cx="360040" cy="360040"/>
              <a:chOff x="5168728" y="3858993"/>
              <a:chExt cx="360040" cy="360040"/>
            </a:xfrm>
          </p:grpSpPr>
          <p:sp>
            <p:nvSpPr>
              <p:cNvPr id="45" name="Ellipse 44">
                <a:extLst>
                  <a:ext uri="{FF2B5EF4-FFF2-40B4-BE49-F238E27FC236}">
                    <a16:creationId xmlns:a16="http://schemas.microsoft.com/office/drawing/2014/main" xmlns="" id="{4720D3F9-509B-4564-BD02-B851441FF3C9}"/>
                  </a:ext>
                </a:extLst>
              </p:cNvPr>
              <p:cNvSpPr/>
              <p:nvPr/>
            </p:nvSpPr>
            <p:spPr>
              <a:xfrm>
                <a:off x="5168728" y="3858993"/>
                <a:ext cx="360040" cy="36004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400" dirty="0">
                  <a:solidFill>
                    <a:schemeClr val="tx1"/>
                  </a:solidFill>
                </a:endParaRPr>
              </a:p>
            </p:txBody>
          </p:sp>
          <p:pic>
            <p:nvPicPr>
              <p:cNvPr id="46" name="Grafik 45">
                <a:extLst>
                  <a:ext uri="{FF2B5EF4-FFF2-40B4-BE49-F238E27FC236}">
                    <a16:creationId xmlns:a16="http://schemas.microsoft.com/office/drawing/2014/main" xmlns="" id="{2171F164-21BE-42C8-A5EA-2BBA76EF7378}"/>
                  </a:ext>
                </a:extLst>
              </p:cNvPr>
              <p:cNvPicPr>
                <a:picLocks noChangeAspect="1"/>
              </p:cNvPicPr>
              <p:nvPr/>
            </p:nvPicPr>
            <p:blipFill>
              <a:blip r:embed="rId33">
                <a:extLst>
                  <a:ext uri="{96DAC541-7B7A-43D3-8B79-37D633B846F1}">
                    <asvg:svgBlip xmlns:asvg="http://schemas.microsoft.com/office/drawing/2016/SVG/main" xmlns="" r:embed="rId34"/>
                  </a:ext>
                </a:extLst>
              </a:blip>
              <a:stretch>
                <a:fillRect/>
              </a:stretch>
            </p:blipFill>
            <p:spPr>
              <a:xfrm>
                <a:off x="5245228" y="3917208"/>
                <a:ext cx="232513" cy="240530"/>
              </a:xfrm>
              <a:prstGeom prst="rect">
                <a:avLst/>
              </a:prstGeom>
            </p:spPr>
          </p:pic>
        </p:grpSp>
      </p:grpSp>
      <p:grpSp>
        <p:nvGrpSpPr>
          <p:cNvPr id="50" name="Gruppieren 49">
            <a:extLst>
              <a:ext uri="{FF2B5EF4-FFF2-40B4-BE49-F238E27FC236}">
                <a16:creationId xmlns:a16="http://schemas.microsoft.com/office/drawing/2014/main" xmlns="" id="{EE088A7A-C30B-4827-8771-0DDE4F0CE8FC}"/>
              </a:ext>
            </a:extLst>
          </p:cNvPr>
          <p:cNvGrpSpPr/>
          <p:nvPr/>
        </p:nvGrpSpPr>
        <p:grpSpPr>
          <a:xfrm>
            <a:off x="1648749" y="1579607"/>
            <a:ext cx="360040" cy="360040"/>
            <a:chOff x="2546852" y="2310110"/>
            <a:chExt cx="360040" cy="360040"/>
          </a:xfrm>
        </p:grpSpPr>
        <p:sp>
          <p:nvSpPr>
            <p:cNvPr id="51" name="Ellipse 50">
              <a:extLst>
                <a:ext uri="{FF2B5EF4-FFF2-40B4-BE49-F238E27FC236}">
                  <a16:creationId xmlns:a16="http://schemas.microsoft.com/office/drawing/2014/main" xmlns="" id="{342E7B3C-A3BB-4432-8B97-73044A22123B}"/>
                </a:ext>
              </a:extLst>
            </p:cNvPr>
            <p:cNvSpPr/>
            <p:nvPr/>
          </p:nvSpPr>
          <p:spPr>
            <a:xfrm>
              <a:off x="2546852"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400" dirty="0">
                <a:solidFill>
                  <a:schemeClr val="tx1"/>
                </a:solidFill>
              </a:endParaRPr>
            </a:p>
          </p:txBody>
        </p:sp>
        <p:pic>
          <p:nvPicPr>
            <p:cNvPr id="52" name="Grafik 51">
              <a:extLst>
                <a:ext uri="{FF2B5EF4-FFF2-40B4-BE49-F238E27FC236}">
                  <a16:creationId xmlns:a16="http://schemas.microsoft.com/office/drawing/2014/main" xmlns="" id="{26396295-44F6-4271-8D8D-C0BDBE72FE06}"/>
                </a:ext>
              </a:extLst>
            </p:cNvPr>
            <p:cNvPicPr>
              <a:picLocks noChangeAspect="1"/>
            </p:cNvPicPr>
            <p:nvPr/>
          </p:nvPicPr>
          <p:blipFill>
            <a:blip r:embed="rId35">
              <a:extLst>
                <a:ext uri="{96DAC541-7B7A-43D3-8B79-37D633B846F1}">
                  <asvg:svgBlip xmlns:asvg="http://schemas.microsoft.com/office/drawing/2016/SVG/main" xmlns="" r:embed="rId36"/>
                </a:ext>
              </a:extLst>
            </a:blip>
            <a:stretch>
              <a:fillRect/>
            </a:stretch>
          </p:blipFill>
          <p:spPr>
            <a:xfrm>
              <a:off x="2606683" y="2373910"/>
              <a:ext cx="232442" cy="232440"/>
            </a:xfrm>
            <a:prstGeom prst="rect">
              <a:avLst/>
            </a:prstGeom>
          </p:spPr>
        </p:pic>
      </p:grpSp>
      <p:grpSp>
        <p:nvGrpSpPr>
          <p:cNvPr id="53" name="Gruppieren 52">
            <a:extLst>
              <a:ext uri="{FF2B5EF4-FFF2-40B4-BE49-F238E27FC236}">
                <a16:creationId xmlns:a16="http://schemas.microsoft.com/office/drawing/2014/main" xmlns="" id="{9A054724-3642-4D8F-8EF9-96B6C5F154E2}"/>
              </a:ext>
            </a:extLst>
          </p:cNvPr>
          <p:cNvGrpSpPr/>
          <p:nvPr/>
        </p:nvGrpSpPr>
        <p:grpSpPr>
          <a:xfrm>
            <a:off x="7808696" y="1569033"/>
            <a:ext cx="360040" cy="360040"/>
            <a:chOff x="4160616" y="3858993"/>
            <a:chExt cx="360040" cy="360040"/>
          </a:xfrm>
        </p:grpSpPr>
        <p:sp>
          <p:nvSpPr>
            <p:cNvPr id="54" name="Ellipse 53">
              <a:extLst>
                <a:ext uri="{FF2B5EF4-FFF2-40B4-BE49-F238E27FC236}">
                  <a16:creationId xmlns:a16="http://schemas.microsoft.com/office/drawing/2014/main" xmlns="" id="{E91FA1A3-578C-4103-A671-EA63DC826293}"/>
                </a:ext>
              </a:extLst>
            </p:cNvPr>
            <p:cNvSpPr/>
            <p:nvPr/>
          </p:nvSpPr>
          <p:spPr>
            <a:xfrm>
              <a:off x="4160616"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400" dirty="0">
                <a:solidFill>
                  <a:schemeClr val="tx1"/>
                </a:solidFill>
              </a:endParaRPr>
            </a:p>
          </p:txBody>
        </p:sp>
        <p:pic>
          <p:nvPicPr>
            <p:cNvPr id="55" name="Grafik 54">
              <a:extLst>
                <a:ext uri="{FF2B5EF4-FFF2-40B4-BE49-F238E27FC236}">
                  <a16:creationId xmlns:a16="http://schemas.microsoft.com/office/drawing/2014/main" xmlns="" id="{418E939B-89CD-42AE-A872-85CD7B03A89F}"/>
                </a:ext>
              </a:extLst>
            </p:cNvPr>
            <p:cNvPicPr>
              <a:picLocks noChangeAspect="1"/>
            </p:cNvPicPr>
            <p:nvPr/>
          </p:nvPicPr>
          <p:blipFill>
            <a:blip r:embed="rId37">
              <a:extLst>
                <a:ext uri="{96DAC541-7B7A-43D3-8B79-37D633B846F1}">
                  <asvg:svgBlip xmlns:asvg="http://schemas.microsoft.com/office/drawing/2016/SVG/main" xmlns="" r:embed="rId38"/>
                </a:ext>
              </a:extLst>
            </a:blip>
            <a:stretch>
              <a:fillRect/>
            </a:stretch>
          </p:blipFill>
          <p:spPr>
            <a:xfrm>
              <a:off x="4231216" y="3910088"/>
              <a:ext cx="216911" cy="253063"/>
            </a:xfrm>
            <a:prstGeom prst="rect">
              <a:avLst/>
            </a:prstGeom>
          </p:spPr>
        </p:pic>
      </p:grpSp>
      <p:sp>
        <p:nvSpPr>
          <p:cNvPr id="59" name="Inhaltsplatzhalter 2">
            <a:extLst>
              <a:ext uri="{FF2B5EF4-FFF2-40B4-BE49-F238E27FC236}">
                <a16:creationId xmlns:a16="http://schemas.microsoft.com/office/drawing/2014/main" xmlns="" id="{B16E8BA8-31DF-4D7E-BBE3-983701D84A28}"/>
              </a:ext>
            </a:extLst>
          </p:cNvPr>
          <p:cNvSpPr txBox="1">
            <a:spLocks/>
          </p:cNvSpPr>
          <p:nvPr>
            <p:custDataLst>
              <p:tags r:id="rId7"/>
            </p:custDataLst>
          </p:nvPr>
        </p:nvSpPr>
        <p:spPr>
          <a:xfrm>
            <a:off x="2117578" y="4255893"/>
            <a:ext cx="1079967" cy="739211"/>
          </a:xfrm>
          <a:prstGeom prst="rect">
            <a:avLst/>
          </a:prstGeom>
          <a:solidFill>
            <a:schemeClr val="accent2"/>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b="1" dirty="0"/>
              <a:t>Park-gebühren</a:t>
            </a:r>
          </a:p>
        </p:txBody>
      </p:sp>
      <p:grpSp>
        <p:nvGrpSpPr>
          <p:cNvPr id="9" name="Gruppieren 8">
            <a:extLst>
              <a:ext uri="{FF2B5EF4-FFF2-40B4-BE49-F238E27FC236}">
                <a16:creationId xmlns:a16="http://schemas.microsoft.com/office/drawing/2014/main" xmlns="" id="{BD68BB6D-74DC-4FD6-8F75-707DD2783C94}"/>
              </a:ext>
            </a:extLst>
          </p:cNvPr>
          <p:cNvGrpSpPr/>
          <p:nvPr/>
        </p:nvGrpSpPr>
        <p:grpSpPr>
          <a:xfrm>
            <a:off x="3387210" y="2841341"/>
            <a:ext cx="1079967" cy="1133179"/>
            <a:chOff x="3387210" y="2841341"/>
            <a:chExt cx="1079967" cy="1133179"/>
          </a:xfrm>
        </p:grpSpPr>
        <p:sp>
          <p:nvSpPr>
            <p:cNvPr id="22" name="Oval 8">
              <a:extLst>
                <a:ext uri="{FF2B5EF4-FFF2-40B4-BE49-F238E27FC236}">
                  <a16:creationId xmlns:a16="http://schemas.microsoft.com/office/drawing/2014/main" xmlns="" id="{710B6C46-45FA-43AA-B30A-5C9E529FDA80}"/>
                </a:ext>
              </a:extLst>
            </p:cNvPr>
            <p:cNvSpPr>
              <a:spLocks noChangeArrowheads="1"/>
            </p:cNvSpPr>
            <p:nvPr>
              <p:custDataLst>
                <p:tags r:id="rId15"/>
              </p:custDataLst>
            </p:nvPr>
          </p:nvSpPr>
          <p:spPr bwMode="auto">
            <a:xfrm>
              <a:off x="3387210" y="2894553"/>
              <a:ext cx="1079967" cy="1079967"/>
            </a:xfrm>
            <a:prstGeom prst="ellipse">
              <a:avLst/>
            </a:prstGeom>
            <a:solidFill>
              <a:schemeClr val="bg2"/>
            </a:solidFill>
            <a:ln w="9525">
              <a:noFill/>
              <a:round/>
              <a:headEnd/>
              <a:tailEnd/>
            </a:ln>
            <a:effectLst/>
          </p:spPr>
          <p:txBody>
            <a:bodyPr wrap="none" lIns="46037" tIns="23812" rIns="46037" bIns="23812" anchor="ctr"/>
            <a:lstStyle/>
            <a:p>
              <a:pPr algn="ctr" defTabSz="228600" eaLnBrk="0" hangingPunct="0"/>
              <a:r>
                <a:rPr lang="de-DE" sz="1400" b="1" dirty="0">
                  <a:latin typeface="Arial" panose="020B0604020202020204" pitchFamily="34" charset="0"/>
                  <a:cs typeface="Arial" panose="020B0604020202020204" pitchFamily="34" charset="0"/>
                  <a:sym typeface="Arial" panose="020B0604020202020204" pitchFamily="34" charset="0"/>
                </a:rPr>
                <a:t> Arbeitgeber </a:t>
              </a:r>
            </a:p>
            <a:p>
              <a:pPr algn="ctr" defTabSz="228600" eaLnBrk="0" hangingPunct="0"/>
              <a:r>
                <a:rPr lang="de-DE" sz="1400" b="1" dirty="0">
                  <a:latin typeface="Arial" panose="020B0604020202020204" pitchFamily="34" charset="0"/>
                  <a:cs typeface="Arial" panose="020B0604020202020204" pitchFamily="34" charset="0"/>
                  <a:sym typeface="Arial" panose="020B0604020202020204" pitchFamily="34" charset="0"/>
                </a:rPr>
                <a:t>&amp; Gewerbe</a:t>
              </a:r>
            </a:p>
          </p:txBody>
        </p:sp>
        <p:grpSp>
          <p:nvGrpSpPr>
            <p:cNvPr id="67" name="Gruppieren 66">
              <a:extLst>
                <a:ext uri="{FF2B5EF4-FFF2-40B4-BE49-F238E27FC236}">
                  <a16:creationId xmlns:a16="http://schemas.microsoft.com/office/drawing/2014/main" xmlns="" id="{B873965B-ED5C-40AD-8905-E135CE111575}"/>
                </a:ext>
              </a:extLst>
            </p:cNvPr>
            <p:cNvGrpSpPr/>
            <p:nvPr/>
          </p:nvGrpSpPr>
          <p:grpSpPr>
            <a:xfrm>
              <a:off x="4077012" y="2841341"/>
              <a:ext cx="360040" cy="360040"/>
              <a:chOff x="4077012" y="2310110"/>
              <a:chExt cx="360040" cy="360040"/>
            </a:xfrm>
          </p:grpSpPr>
          <p:sp>
            <p:nvSpPr>
              <p:cNvPr id="68" name="Ellipse 67">
                <a:extLst>
                  <a:ext uri="{FF2B5EF4-FFF2-40B4-BE49-F238E27FC236}">
                    <a16:creationId xmlns:a16="http://schemas.microsoft.com/office/drawing/2014/main" xmlns="" id="{0F8BF193-8DA8-4AFA-BFBC-150E2A0235BB}"/>
                  </a:ext>
                </a:extLst>
              </p:cNvPr>
              <p:cNvSpPr/>
              <p:nvPr/>
            </p:nvSpPr>
            <p:spPr>
              <a:xfrm>
                <a:off x="4077012" y="2310110"/>
                <a:ext cx="360040" cy="360040"/>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9" name="Grafik 68">
                <a:extLst>
                  <a:ext uri="{FF2B5EF4-FFF2-40B4-BE49-F238E27FC236}">
                    <a16:creationId xmlns:a16="http://schemas.microsoft.com/office/drawing/2014/main" xmlns="" id="{85AE6159-DCAC-471B-857B-47EAB57A11A0}"/>
                  </a:ext>
                </a:extLst>
              </p:cNvPr>
              <p:cNvPicPr>
                <a:picLocks noChangeAspect="1"/>
              </p:cNvPicPr>
              <p:nvPr/>
            </p:nvPicPr>
            <p:blipFill>
              <a:blip r:embed="rId39">
                <a:extLst>
                  <a:ext uri="{96DAC541-7B7A-43D3-8B79-37D633B846F1}">
                    <asvg:svgBlip xmlns:asvg="http://schemas.microsoft.com/office/drawing/2016/SVG/main" xmlns="" r:embed="rId40"/>
                  </a:ext>
                </a:extLst>
              </a:blip>
              <a:stretch>
                <a:fillRect/>
              </a:stretch>
            </p:blipFill>
            <p:spPr>
              <a:xfrm>
                <a:off x="4139875" y="2379007"/>
                <a:ext cx="236864" cy="201773"/>
              </a:xfrm>
              <a:prstGeom prst="rect">
                <a:avLst/>
              </a:prstGeom>
            </p:spPr>
          </p:pic>
        </p:grpSp>
      </p:grpSp>
      <p:sp>
        <p:nvSpPr>
          <p:cNvPr id="70" name="Inhaltsplatzhalter 2">
            <a:extLst>
              <a:ext uri="{FF2B5EF4-FFF2-40B4-BE49-F238E27FC236}">
                <a16:creationId xmlns:a16="http://schemas.microsoft.com/office/drawing/2014/main" xmlns="" id="{B305FE65-B531-4D18-8868-4CC16512B693}"/>
              </a:ext>
            </a:extLst>
          </p:cNvPr>
          <p:cNvSpPr txBox="1">
            <a:spLocks/>
          </p:cNvSpPr>
          <p:nvPr>
            <p:custDataLst>
              <p:tags r:id="rId8"/>
            </p:custDataLst>
          </p:nvPr>
        </p:nvSpPr>
        <p:spPr>
          <a:xfrm>
            <a:off x="4692372" y="4255893"/>
            <a:ext cx="1079967" cy="740226"/>
          </a:xfrm>
          <a:prstGeom prst="rect">
            <a:avLst/>
          </a:prstGeom>
          <a:solidFill>
            <a:schemeClr val="accent3"/>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b="1" dirty="0"/>
              <a:t>Land Value Capture</a:t>
            </a:r>
          </a:p>
        </p:txBody>
      </p:sp>
      <p:sp>
        <p:nvSpPr>
          <p:cNvPr id="71" name="Inhaltsplatzhalter 2">
            <a:extLst>
              <a:ext uri="{FF2B5EF4-FFF2-40B4-BE49-F238E27FC236}">
                <a16:creationId xmlns:a16="http://schemas.microsoft.com/office/drawing/2014/main" xmlns="" id="{5155979C-FC3C-4541-BB0A-BE1122024446}"/>
              </a:ext>
            </a:extLst>
          </p:cNvPr>
          <p:cNvSpPr txBox="1">
            <a:spLocks/>
          </p:cNvSpPr>
          <p:nvPr>
            <p:custDataLst>
              <p:tags r:id="rId9"/>
            </p:custDataLst>
          </p:nvPr>
        </p:nvSpPr>
        <p:spPr>
          <a:xfrm>
            <a:off x="7267167" y="4256422"/>
            <a:ext cx="1079967" cy="738682"/>
          </a:xfrm>
          <a:prstGeom prst="rect">
            <a:avLst/>
          </a:prstGeom>
          <a:solidFill>
            <a:schemeClr val="accent1"/>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dirty="0"/>
              <a:t>Klima-fonds</a:t>
            </a:r>
          </a:p>
        </p:txBody>
      </p:sp>
      <p:sp>
        <p:nvSpPr>
          <p:cNvPr id="72" name="Inhaltsplatzhalter 2">
            <a:extLst>
              <a:ext uri="{FF2B5EF4-FFF2-40B4-BE49-F238E27FC236}">
                <a16:creationId xmlns:a16="http://schemas.microsoft.com/office/drawing/2014/main" xmlns="" id="{7C107723-6E63-4160-B990-DFB4722CA48B}"/>
              </a:ext>
            </a:extLst>
          </p:cNvPr>
          <p:cNvSpPr txBox="1">
            <a:spLocks/>
          </p:cNvSpPr>
          <p:nvPr>
            <p:custDataLst>
              <p:tags r:id="rId10"/>
            </p:custDataLst>
          </p:nvPr>
        </p:nvSpPr>
        <p:spPr>
          <a:xfrm>
            <a:off x="5946455" y="4252024"/>
            <a:ext cx="1079967" cy="740226"/>
          </a:xfrm>
          <a:prstGeom prst="rect">
            <a:avLst/>
          </a:prstGeom>
          <a:solidFill>
            <a:schemeClr val="accent4"/>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dirty="0"/>
              <a:t>PPP</a:t>
            </a:r>
          </a:p>
        </p:txBody>
      </p:sp>
      <p:sp>
        <p:nvSpPr>
          <p:cNvPr id="73" name="Inhaltsplatzhalter 2">
            <a:extLst>
              <a:ext uri="{FF2B5EF4-FFF2-40B4-BE49-F238E27FC236}">
                <a16:creationId xmlns:a16="http://schemas.microsoft.com/office/drawing/2014/main" xmlns="" id="{C3E16FE5-FF37-43F1-AA26-0159362FCAC3}"/>
              </a:ext>
            </a:extLst>
          </p:cNvPr>
          <p:cNvSpPr txBox="1">
            <a:spLocks/>
          </p:cNvSpPr>
          <p:nvPr>
            <p:custDataLst>
              <p:tags r:id="rId11"/>
            </p:custDataLst>
          </p:nvPr>
        </p:nvSpPr>
        <p:spPr>
          <a:xfrm>
            <a:off x="830181" y="4268615"/>
            <a:ext cx="1079967" cy="739211"/>
          </a:xfrm>
          <a:prstGeom prst="rect">
            <a:avLst/>
          </a:prstGeom>
          <a:solidFill>
            <a:schemeClr val="tx2"/>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dirty="0"/>
              <a:t>Bürger-ticket</a:t>
            </a:r>
          </a:p>
        </p:txBody>
      </p:sp>
      <p:sp>
        <p:nvSpPr>
          <p:cNvPr id="74" name="Inhaltsplatzhalter 2">
            <a:extLst>
              <a:ext uri="{FF2B5EF4-FFF2-40B4-BE49-F238E27FC236}">
                <a16:creationId xmlns:a16="http://schemas.microsoft.com/office/drawing/2014/main" xmlns="" id="{4C382C8E-97A5-4ECD-B5D3-CA209ED8B234}"/>
              </a:ext>
            </a:extLst>
          </p:cNvPr>
          <p:cNvSpPr txBox="1">
            <a:spLocks/>
          </p:cNvSpPr>
          <p:nvPr>
            <p:custDataLst>
              <p:tags r:id="rId12"/>
            </p:custDataLst>
          </p:nvPr>
        </p:nvSpPr>
        <p:spPr>
          <a:xfrm>
            <a:off x="2114341" y="5112922"/>
            <a:ext cx="1079967" cy="739211"/>
          </a:xfrm>
          <a:prstGeom prst="rect">
            <a:avLst/>
          </a:prstGeom>
          <a:solidFill>
            <a:schemeClr val="accent2"/>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dirty="0"/>
              <a:t>City-Maut</a:t>
            </a:r>
          </a:p>
        </p:txBody>
      </p:sp>
      <p:sp>
        <p:nvSpPr>
          <p:cNvPr id="75" name="Inhaltsplatzhalter 2">
            <a:extLst>
              <a:ext uri="{FF2B5EF4-FFF2-40B4-BE49-F238E27FC236}">
                <a16:creationId xmlns:a16="http://schemas.microsoft.com/office/drawing/2014/main" xmlns="" id="{1271A72B-2FF1-4144-BFB6-67FB3ED57895}"/>
              </a:ext>
            </a:extLst>
          </p:cNvPr>
          <p:cNvSpPr txBox="1">
            <a:spLocks/>
          </p:cNvSpPr>
          <p:nvPr>
            <p:custDataLst>
              <p:tags r:id="rId13"/>
            </p:custDataLst>
          </p:nvPr>
        </p:nvSpPr>
        <p:spPr>
          <a:xfrm>
            <a:off x="3401179" y="4268615"/>
            <a:ext cx="1079967" cy="739211"/>
          </a:xfrm>
          <a:prstGeom prst="rect">
            <a:avLst/>
          </a:prstGeom>
          <a:solidFill>
            <a:schemeClr val="bg2"/>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b="1" dirty="0"/>
              <a:t>Arbeit-geber-abgabe</a:t>
            </a:r>
          </a:p>
        </p:txBody>
      </p:sp>
      <p:sp>
        <p:nvSpPr>
          <p:cNvPr id="76" name="Inhaltsplatzhalter 2">
            <a:extLst>
              <a:ext uri="{FF2B5EF4-FFF2-40B4-BE49-F238E27FC236}">
                <a16:creationId xmlns:a16="http://schemas.microsoft.com/office/drawing/2014/main" xmlns="" id="{A37C5355-A43E-4EFF-8609-A6F9977CBEFD}"/>
              </a:ext>
            </a:extLst>
          </p:cNvPr>
          <p:cNvSpPr txBox="1">
            <a:spLocks/>
          </p:cNvSpPr>
          <p:nvPr>
            <p:custDataLst>
              <p:tags r:id="rId14"/>
            </p:custDataLst>
          </p:nvPr>
        </p:nvSpPr>
        <p:spPr>
          <a:xfrm>
            <a:off x="3401179" y="5112921"/>
            <a:ext cx="1079967" cy="739211"/>
          </a:xfrm>
          <a:prstGeom prst="rect">
            <a:avLst/>
          </a:prstGeom>
          <a:solidFill>
            <a:schemeClr val="bg2"/>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dirty="0" err="1"/>
              <a:t>Zweckge-bundene</a:t>
            </a:r>
            <a:r>
              <a:rPr lang="de-DE" sz="1400" dirty="0"/>
              <a:t> Steuern</a:t>
            </a:r>
          </a:p>
        </p:txBody>
      </p:sp>
      <p:sp>
        <p:nvSpPr>
          <p:cNvPr id="79" name="Textfeld 78">
            <a:extLst>
              <a:ext uri="{FF2B5EF4-FFF2-40B4-BE49-F238E27FC236}">
                <a16:creationId xmlns:a16="http://schemas.microsoft.com/office/drawing/2014/main" xmlns="" id="{C8362FD7-7C6E-4B4B-9335-F4CD044B5580}"/>
              </a:ext>
            </a:extLst>
          </p:cNvPr>
          <p:cNvSpPr txBox="1"/>
          <p:nvPr/>
        </p:nvSpPr>
        <p:spPr>
          <a:xfrm rot="16200000">
            <a:off x="49502" y="4853937"/>
            <a:ext cx="1189153" cy="307777"/>
          </a:xfrm>
          <a:prstGeom prst="rect">
            <a:avLst/>
          </a:prstGeom>
          <a:noFill/>
        </p:spPr>
        <p:txBody>
          <a:bodyPr wrap="square" rtlCol="0">
            <a:spAutoFit/>
          </a:bodyPr>
          <a:lstStyle/>
          <a:p>
            <a:r>
              <a:rPr lang="de-DE" sz="1400" b="1" dirty="0"/>
              <a:t>Beispiele</a:t>
            </a:r>
          </a:p>
        </p:txBody>
      </p:sp>
      <p:sp>
        <p:nvSpPr>
          <p:cNvPr id="15" name="Textfeld 14">
            <a:extLst>
              <a:ext uri="{FF2B5EF4-FFF2-40B4-BE49-F238E27FC236}">
                <a16:creationId xmlns:a16="http://schemas.microsoft.com/office/drawing/2014/main" xmlns="" id="{714804F0-2E6E-4853-95E9-DA9F011E7908}"/>
              </a:ext>
            </a:extLst>
          </p:cNvPr>
          <p:cNvSpPr txBox="1"/>
          <p:nvPr/>
        </p:nvSpPr>
        <p:spPr>
          <a:xfrm>
            <a:off x="-3466607" y="1808252"/>
            <a:ext cx="1983129" cy="1323439"/>
          </a:xfrm>
          <a:prstGeom prst="rect">
            <a:avLst/>
          </a:prstGeom>
          <a:solidFill>
            <a:srgbClr val="92D050"/>
          </a:solidFill>
        </p:spPr>
        <p:txBody>
          <a:bodyPr wrap="square" rtlCol="0">
            <a:spAutoFit/>
          </a:bodyPr>
          <a:lstStyle/>
          <a:p>
            <a:r>
              <a:rPr lang="de-DE" sz="1600" dirty="0"/>
              <a:t>Bei Interesse noch Folie 41 aus Back-Up zu internationalen Beispielen zeigen</a:t>
            </a:r>
          </a:p>
        </p:txBody>
      </p:sp>
    </p:spTree>
    <p:extLst>
      <p:ext uri="{BB962C8B-B14F-4D97-AF65-F5344CB8AC3E}">
        <p14:creationId xmlns:p14="http://schemas.microsoft.com/office/powerpoint/2010/main" val="313352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wipe(up)">
                                      <p:cBhvr>
                                        <p:cTn id="12" dur="500"/>
                                        <p:tgtEl>
                                          <p:spTgt spid="31"/>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250"/>
                                        <p:tgtEl>
                                          <p:spTgt spid="4"/>
                                        </p:tgtEl>
                                      </p:cBhvr>
                                    </p:animEffect>
                                  </p:childTnLst>
                                </p:cTn>
                              </p:par>
                            </p:childTnLst>
                          </p:cTn>
                        </p:par>
                        <p:par>
                          <p:cTn id="17" fill="hold">
                            <p:stCondLst>
                              <p:cond delay="75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250"/>
                                        <p:tgtEl>
                                          <p:spTgt spid="6"/>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50"/>
                                        <p:tgtEl>
                                          <p:spTgt spid="9"/>
                                        </p:tgtEl>
                                      </p:cBhvr>
                                    </p:animEffect>
                                  </p:childTnLst>
                                </p:cTn>
                              </p:par>
                            </p:childTnLst>
                          </p:cTn>
                        </p:par>
                        <p:par>
                          <p:cTn id="25" fill="hold">
                            <p:stCondLst>
                              <p:cond delay="1250"/>
                            </p:stCondLst>
                            <p:childTnLst>
                              <p:par>
                                <p:cTn id="26" presetID="10" presetClass="entr" presetSubtype="0" fill="hold"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250"/>
                                        <p:tgtEl>
                                          <p:spTgt spid="10"/>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250"/>
                                        <p:tgtEl>
                                          <p:spTgt spid="12"/>
                                        </p:tgtEl>
                                      </p:cBhvr>
                                    </p:animEffect>
                                  </p:childTnLst>
                                </p:cTn>
                              </p:par>
                            </p:childTnLst>
                          </p:cTn>
                        </p:par>
                        <p:par>
                          <p:cTn id="33" fill="hold">
                            <p:stCondLst>
                              <p:cond delay="1750"/>
                            </p:stCondLst>
                            <p:childTnLst>
                              <p:par>
                                <p:cTn id="34" presetID="10" presetClass="entr" presetSubtype="0" fill="hold" nodeType="after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250"/>
                                        <p:tgtEl>
                                          <p:spTgt spid="1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fade">
                                      <p:cBhvr>
                                        <p:cTn id="39" dur="500"/>
                                        <p:tgtEl>
                                          <p:spTgt spid="7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500"/>
                                        <p:tgtEl>
                                          <p:spTgt spid="7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fade">
                                      <p:cBhvr>
                                        <p:cTn id="45" dur="500"/>
                                        <p:tgtEl>
                                          <p:spTgt spid="7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fade">
                                      <p:cBhvr>
                                        <p:cTn id="48" dur="500"/>
                                        <p:tgtEl>
                                          <p:spTgt spid="7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fade">
                                      <p:cBhvr>
                                        <p:cTn id="51" dur="500"/>
                                        <p:tgtEl>
                                          <p:spTgt spid="7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500"/>
                                        <p:tgtEl>
                                          <p:spTgt spid="7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500"/>
                                        <p:tgtEl>
                                          <p:spTgt spid="7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fade">
                                      <p:cBhvr>
                                        <p:cTn id="60" dur="500"/>
                                        <p:tgtEl>
                                          <p:spTgt spid="7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9"/>
                                        </p:tgtEl>
                                        <p:attrNameLst>
                                          <p:attrName>style.visibility</p:attrName>
                                        </p:attrNameLst>
                                      </p:cBhvr>
                                      <p:to>
                                        <p:strVal val="visible"/>
                                      </p:to>
                                    </p:set>
                                    <p:animEffect transition="in" filter="fade">
                                      <p:cBhvr>
                                        <p:cTn id="63"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9" grpId="0" animBg="1"/>
      <p:bldP spid="59" grpId="0" animBg="1"/>
      <p:bldP spid="70" grpId="0" animBg="1"/>
      <p:bldP spid="71" grpId="0" animBg="1"/>
      <p:bldP spid="72" grpId="0" animBg="1"/>
      <p:bldP spid="73" grpId="0" animBg="1"/>
      <p:bldP spid="74" grpId="0" animBg="1"/>
      <p:bldP spid="75" grpId="0" animBg="1"/>
      <p:bldP spid="76" grpId="0" animBg="1"/>
      <p:bldP spid="7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kt 34" hidden="1">
            <a:extLst>
              <a:ext uri="{FF2B5EF4-FFF2-40B4-BE49-F238E27FC236}">
                <a16:creationId xmlns:a16="http://schemas.microsoft.com/office/drawing/2014/main" xmlns="" id="{1F14831A-0D1B-44BC-BACC-66EC9E4A3C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269" name="think-cell Folie" r:id="rId18" imgW="395" imgH="396" progId="TCLayout.ActiveDocument.1">
                  <p:embed/>
                </p:oleObj>
              </mc:Choice>
              <mc:Fallback>
                <p:oleObj name="think-cell Folie" r:id="rId18" imgW="395" imgH="396" progId="TCLayout.ActiveDocument.1">
                  <p:embed/>
                  <p:pic>
                    <p:nvPicPr>
                      <p:cNvPr id="35" name="Objekt 34" hidden="1">
                        <a:extLst>
                          <a:ext uri="{FF2B5EF4-FFF2-40B4-BE49-F238E27FC236}">
                            <a16:creationId xmlns:a16="http://schemas.microsoft.com/office/drawing/2014/main" xmlns="" id="{1F14831A-0D1B-44BC-BACC-66EC9E4A3CB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4E745B69-73B9-4E90-BA90-68FF367753D4}"/>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4" name="Inhaltsplatzhalter 2">
            <a:extLst>
              <a:ext uri="{FF2B5EF4-FFF2-40B4-BE49-F238E27FC236}">
                <a16:creationId xmlns:a16="http://schemas.microsoft.com/office/drawing/2014/main" xmlns="" id="{C2A38806-63D8-498F-8977-EADBF6EA2AE0}"/>
              </a:ext>
            </a:extLst>
          </p:cNvPr>
          <p:cNvSpPr txBox="1">
            <a:spLocks/>
          </p:cNvSpPr>
          <p:nvPr/>
        </p:nvSpPr>
        <p:spPr>
          <a:xfrm>
            <a:off x="2532066" y="2641308"/>
            <a:ext cx="1952559" cy="922363"/>
          </a:xfrm>
          <a:prstGeom prst="rect">
            <a:avLst/>
          </a:prstGeom>
          <a:no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200" dirty="0"/>
              <a:t>Zahlung einer verpflichtenden Abgabe pro Arbeitnehmer durch Arbeitgeber</a:t>
            </a:r>
          </a:p>
          <a:p>
            <a:pPr lvl="2"/>
            <a:r>
              <a:rPr lang="de-DE" sz="1200" dirty="0"/>
              <a:t>Gegenleistung einer (vergünstigten) Fahrtmöglichkeit </a:t>
            </a:r>
          </a:p>
        </p:txBody>
      </p:sp>
      <p:sp>
        <p:nvSpPr>
          <p:cNvPr id="2" name="Titel 1"/>
          <p:cNvSpPr>
            <a:spLocks noGrp="1"/>
          </p:cNvSpPr>
          <p:nvPr>
            <p:ph type="title"/>
          </p:nvPr>
        </p:nvSpPr>
        <p:spPr/>
        <p:txBody>
          <a:bodyPr/>
          <a:lstStyle/>
          <a:p>
            <a:r>
              <a:rPr lang="de-DE" dirty="0"/>
              <a:t>Es gibt verschiedene Zielgruppen und Instrumente zur Einbindung der Nutznießer eines attraktiven ÖPNV</a:t>
            </a:r>
          </a:p>
        </p:txBody>
      </p:sp>
      <p:sp>
        <p:nvSpPr>
          <p:cNvPr id="3" name="Inhaltsplatzhalter 2"/>
          <p:cNvSpPr>
            <a:spLocks noGrp="1"/>
          </p:cNvSpPr>
          <p:nvPr>
            <p:ph idx="1"/>
          </p:nvPr>
        </p:nvSpPr>
        <p:spPr/>
        <p:txBody>
          <a:bodyPr/>
          <a:lstStyle/>
          <a:p>
            <a:r>
              <a:rPr lang="de-DE" dirty="0" err="1"/>
              <a:t>Nutznießerfinanzierung</a:t>
            </a:r>
            <a:endParaRPr lang="de-DE" dirty="0"/>
          </a:p>
        </p:txBody>
      </p:sp>
      <p:sp>
        <p:nvSpPr>
          <p:cNvPr id="4" name="Foliennummernplatzhalter 3"/>
          <p:cNvSpPr>
            <a:spLocks noGrp="1"/>
          </p:cNvSpPr>
          <p:nvPr>
            <p:ph type="sldNum" sz="quarter" idx="11"/>
          </p:nvPr>
        </p:nvSpPr>
        <p:spPr/>
        <p:txBody>
          <a:bodyPr/>
          <a:lstStyle/>
          <a:p>
            <a:fld id="{CD21EFEB-933F-4F46-A5AD-B6372944D9E5}" type="slidenum">
              <a:rPr lang="de-DE" smtClean="0"/>
              <a:pPr/>
              <a:t>25</a:t>
            </a:fld>
            <a:endParaRPr lang="de-DE"/>
          </a:p>
        </p:txBody>
      </p:sp>
      <p:sp>
        <p:nvSpPr>
          <p:cNvPr id="9" name="Inhaltsplatzhalter 2">
            <a:extLst>
              <a:ext uri="{FF2B5EF4-FFF2-40B4-BE49-F238E27FC236}">
                <a16:creationId xmlns:a16="http://schemas.microsoft.com/office/drawing/2014/main" xmlns="" id="{FC811C11-3B70-4125-9A83-FADE82B402ED}"/>
              </a:ext>
            </a:extLst>
          </p:cNvPr>
          <p:cNvSpPr txBox="1">
            <a:spLocks/>
          </p:cNvSpPr>
          <p:nvPr>
            <p:custDataLst>
              <p:tags r:id="rId4"/>
            </p:custDataLst>
          </p:nvPr>
        </p:nvSpPr>
        <p:spPr>
          <a:xfrm>
            <a:off x="6736380" y="2169355"/>
            <a:ext cx="1872010" cy="466667"/>
          </a:xfrm>
          <a:prstGeom prst="rect">
            <a:avLst/>
          </a:prstGeom>
          <a:solidFill>
            <a:schemeClr val="tx2">
              <a:lumMod val="20000"/>
              <a:lumOff val="80000"/>
            </a:schemeClr>
          </a:solidFill>
          <a:ln>
            <a:solidFill>
              <a:schemeClr val="tx2"/>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r>
              <a:rPr lang="de-DE" sz="1200" b="1" dirty="0"/>
              <a:t>Bürgerticket </a:t>
            </a:r>
          </a:p>
        </p:txBody>
      </p:sp>
      <p:sp>
        <p:nvSpPr>
          <p:cNvPr id="11" name="Rechteck 10">
            <a:extLst>
              <a:ext uri="{FF2B5EF4-FFF2-40B4-BE49-F238E27FC236}">
                <a16:creationId xmlns:a16="http://schemas.microsoft.com/office/drawing/2014/main" xmlns="" id="{57A634EF-3C99-42B3-BC16-DD017F6AEDCD}"/>
              </a:ext>
            </a:extLst>
          </p:cNvPr>
          <p:cNvSpPr/>
          <p:nvPr>
            <p:custDataLst>
              <p:tags r:id="rId5"/>
            </p:custDataLst>
          </p:nvPr>
        </p:nvSpPr>
        <p:spPr>
          <a:xfrm>
            <a:off x="539750" y="1626467"/>
            <a:ext cx="1872010" cy="46666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200" b="1" dirty="0">
                <a:solidFill>
                  <a:schemeClr val="tx1"/>
                </a:solidFill>
              </a:rPr>
              <a:t>Autofahrer</a:t>
            </a:r>
          </a:p>
        </p:txBody>
      </p:sp>
      <p:sp>
        <p:nvSpPr>
          <p:cNvPr id="12" name="Rechteck 7">
            <a:extLst>
              <a:ext uri="{FF2B5EF4-FFF2-40B4-BE49-F238E27FC236}">
                <a16:creationId xmlns:a16="http://schemas.microsoft.com/office/drawing/2014/main" xmlns="" id="{7129F2DB-EDCE-445A-BC52-A294972788C5}"/>
              </a:ext>
            </a:extLst>
          </p:cNvPr>
          <p:cNvSpPr/>
          <p:nvPr>
            <p:custDataLst>
              <p:tags r:id="rId6"/>
            </p:custDataLst>
          </p:nvPr>
        </p:nvSpPr>
        <p:spPr>
          <a:xfrm>
            <a:off x="4666062" y="1626467"/>
            <a:ext cx="1872010" cy="46666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200" b="1" dirty="0">
                <a:solidFill>
                  <a:schemeClr val="tx1"/>
                </a:solidFill>
              </a:rPr>
              <a:t>Immobilien-</a:t>
            </a:r>
          </a:p>
          <a:p>
            <a:r>
              <a:rPr lang="de-DE" sz="1200" b="1" dirty="0" err="1">
                <a:solidFill>
                  <a:schemeClr val="tx1"/>
                </a:solidFill>
              </a:rPr>
              <a:t>eigentümer</a:t>
            </a:r>
            <a:endParaRPr lang="de-DE" sz="1200" b="1" dirty="0">
              <a:solidFill>
                <a:schemeClr val="tx1"/>
              </a:solidFill>
            </a:endParaRPr>
          </a:p>
        </p:txBody>
      </p:sp>
      <p:sp>
        <p:nvSpPr>
          <p:cNvPr id="13" name="Inhaltsplatzhalter 2">
            <a:extLst>
              <a:ext uri="{FF2B5EF4-FFF2-40B4-BE49-F238E27FC236}">
                <a16:creationId xmlns:a16="http://schemas.microsoft.com/office/drawing/2014/main" xmlns="" id="{E14A14F5-35F9-4F23-9520-75A3A689BFAA}"/>
              </a:ext>
            </a:extLst>
          </p:cNvPr>
          <p:cNvSpPr txBox="1">
            <a:spLocks/>
          </p:cNvSpPr>
          <p:nvPr>
            <p:custDataLst>
              <p:tags r:id="rId7"/>
            </p:custDataLst>
          </p:nvPr>
        </p:nvSpPr>
        <p:spPr>
          <a:xfrm>
            <a:off x="4666424" y="2169355"/>
            <a:ext cx="1872010" cy="466667"/>
          </a:xfrm>
          <a:prstGeom prst="rect">
            <a:avLst/>
          </a:prstGeom>
          <a:solidFill>
            <a:schemeClr val="accent3">
              <a:lumMod val="20000"/>
              <a:lumOff val="80000"/>
            </a:schemeClr>
          </a:solidFill>
          <a:ln>
            <a:solidFill>
              <a:schemeClr val="accent3"/>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r>
              <a:rPr lang="de-DE" sz="1200" b="1" dirty="0"/>
              <a:t>Städtebau-</a:t>
            </a:r>
            <a:br>
              <a:rPr lang="de-DE" sz="1200" b="1" dirty="0"/>
            </a:br>
            <a:r>
              <a:rPr lang="de-DE" sz="1200" b="1" dirty="0" err="1"/>
              <a:t>liche</a:t>
            </a:r>
            <a:r>
              <a:rPr lang="de-DE" sz="1200" b="1" dirty="0"/>
              <a:t> Verträge</a:t>
            </a:r>
          </a:p>
        </p:txBody>
      </p:sp>
      <p:sp>
        <p:nvSpPr>
          <p:cNvPr id="14" name="Rechteck 7">
            <a:extLst>
              <a:ext uri="{FF2B5EF4-FFF2-40B4-BE49-F238E27FC236}">
                <a16:creationId xmlns:a16="http://schemas.microsoft.com/office/drawing/2014/main" xmlns="" id="{7EB6F5C5-3336-4603-B4B6-E2AE92D10CEF}"/>
              </a:ext>
            </a:extLst>
          </p:cNvPr>
          <p:cNvSpPr/>
          <p:nvPr>
            <p:custDataLst>
              <p:tags r:id="rId8"/>
            </p:custDataLst>
          </p:nvPr>
        </p:nvSpPr>
        <p:spPr>
          <a:xfrm>
            <a:off x="2596832" y="1626467"/>
            <a:ext cx="1872010" cy="46666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200" b="1" dirty="0">
                <a:solidFill>
                  <a:schemeClr val="tx1"/>
                </a:solidFill>
              </a:rPr>
              <a:t>Arbeitgeber und</a:t>
            </a:r>
          </a:p>
          <a:p>
            <a:r>
              <a:rPr lang="de-DE" sz="1200" b="1" dirty="0">
                <a:solidFill>
                  <a:schemeClr val="tx1"/>
                </a:solidFill>
              </a:rPr>
              <a:t>Gewerbe</a:t>
            </a:r>
          </a:p>
        </p:txBody>
      </p:sp>
      <p:sp>
        <p:nvSpPr>
          <p:cNvPr id="15" name="Rechteck 7">
            <a:extLst>
              <a:ext uri="{FF2B5EF4-FFF2-40B4-BE49-F238E27FC236}">
                <a16:creationId xmlns:a16="http://schemas.microsoft.com/office/drawing/2014/main" xmlns="" id="{D5F7168A-E6A5-44F8-AC5F-6AC4DCD34FA2}"/>
              </a:ext>
            </a:extLst>
          </p:cNvPr>
          <p:cNvSpPr/>
          <p:nvPr>
            <p:custDataLst>
              <p:tags r:id="rId9"/>
            </p:custDataLst>
          </p:nvPr>
        </p:nvSpPr>
        <p:spPr>
          <a:xfrm>
            <a:off x="6735292" y="1626467"/>
            <a:ext cx="1872010" cy="46666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200" b="1" dirty="0">
                <a:solidFill>
                  <a:schemeClr val="tx1"/>
                </a:solidFill>
              </a:rPr>
              <a:t>Bürger</a:t>
            </a:r>
          </a:p>
        </p:txBody>
      </p:sp>
      <p:sp>
        <p:nvSpPr>
          <p:cNvPr id="16" name="Inhaltsplatzhalter 2">
            <a:extLst>
              <a:ext uri="{FF2B5EF4-FFF2-40B4-BE49-F238E27FC236}">
                <a16:creationId xmlns:a16="http://schemas.microsoft.com/office/drawing/2014/main" xmlns="" id="{D90ABDFF-901F-4D06-A648-446E2CBEB30A}"/>
              </a:ext>
            </a:extLst>
          </p:cNvPr>
          <p:cNvSpPr txBox="1">
            <a:spLocks/>
          </p:cNvSpPr>
          <p:nvPr>
            <p:custDataLst>
              <p:tags r:id="rId10"/>
            </p:custDataLst>
          </p:nvPr>
        </p:nvSpPr>
        <p:spPr>
          <a:xfrm>
            <a:off x="539750" y="2169355"/>
            <a:ext cx="1872010" cy="466667"/>
          </a:xfrm>
          <a:prstGeom prst="rect">
            <a:avLst/>
          </a:prstGeom>
          <a:solidFill>
            <a:schemeClr val="accent2">
              <a:lumMod val="20000"/>
              <a:lumOff val="80000"/>
            </a:schemeClr>
          </a:solidFill>
          <a:ln>
            <a:solidFill>
              <a:schemeClr val="accent2"/>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r>
              <a:rPr lang="de-DE" sz="1200" b="1" dirty="0"/>
              <a:t>Parken</a:t>
            </a:r>
          </a:p>
        </p:txBody>
      </p:sp>
      <p:sp>
        <p:nvSpPr>
          <p:cNvPr id="17" name="Inhaltsplatzhalter 2">
            <a:extLst>
              <a:ext uri="{FF2B5EF4-FFF2-40B4-BE49-F238E27FC236}">
                <a16:creationId xmlns:a16="http://schemas.microsoft.com/office/drawing/2014/main" xmlns="" id="{411FDE7F-4E7C-4118-9B5E-036248D53936}"/>
              </a:ext>
            </a:extLst>
          </p:cNvPr>
          <p:cNvSpPr txBox="1">
            <a:spLocks/>
          </p:cNvSpPr>
          <p:nvPr>
            <p:custDataLst>
              <p:tags r:id="rId11"/>
            </p:custDataLst>
          </p:nvPr>
        </p:nvSpPr>
        <p:spPr>
          <a:xfrm>
            <a:off x="2597556" y="2169355"/>
            <a:ext cx="1872010" cy="466667"/>
          </a:xfrm>
          <a:prstGeom prst="rect">
            <a:avLst/>
          </a:prstGeom>
          <a:solidFill>
            <a:schemeClr val="bg2">
              <a:lumMod val="20000"/>
              <a:lumOff val="80000"/>
            </a:schemeClr>
          </a:solidFill>
          <a:ln>
            <a:solidFill>
              <a:schemeClr val="bg2"/>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r>
              <a:rPr lang="de-DE" sz="1200" b="1" dirty="0"/>
              <a:t>Arbeitgeber-</a:t>
            </a:r>
            <a:br>
              <a:rPr lang="de-DE" sz="1200" b="1" dirty="0"/>
            </a:br>
            <a:r>
              <a:rPr lang="de-DE" sz="1200" b="1" dirty="0" err="1"/>
              <a:t>abgabe</a:t>
            </a:r>
            <a:endParaRPr lang="de-DE" sz="1200" b="1" dirty="0"/>
          </a:p>
        </p:txBody>
      </p:sp>
      <p:sp>
        <p:nvSpPr>
          <p:cNvPr id="18" name="Inhaltsplatzhalter 2">
            <a:extLst>
              <a:ext uri="{FF2B5EF4-FFF2-40B4-BE49-F238E27FC236}">
                <a16:creationId xmlns:a16="http://schemas.microsoft.com/office/drawing/2014/main" xmlns="" id="{1E5763D0-BB5C-43BA-B221-57DFF59F6302}"/>
              </a:ext>
            </a:extLst>
          </p:cNvPr>
          <p:cNvSpPr txBox="1">
            <a:spLocks/>
          </p:cNvSpPr>
          <p:nvPr>
            <p:custDataLst>
              <p:tags r:id="rId12"/>
            </p:custDataLst>
          </p:nvPr>
        </p:nvSpPr>
        <p:spPr>
          <a:xfrm>
            <a:off x="539750" y="3801818"/>
            <a:ext cx="1872010" cy="466667"/>
          </a:xfrm>
          <a:prstGeom prst="rect">
            <a:avLst/>
          </a:prstGeom>
          <a:solidFill>
            <a:schemeClr val="accent2">
              <a:lumMod val="20000"/>
              <a:lumOff val="80000"/>
            </a:schemeClr>
          </a:solidFill>
          <a:ln>
            <a:solidFill>
              <a:schemeClr val="accent2"/>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r>
              <a:rPr lang="de-DE" sz="1200" b="1" dirty="0"/>
              <a:t>City-Maut</a:t>
            </a:r>
          </a:p>
        </p:txBody>
      </p:sp>
      <p:sp>
        <p:nvSpPr>
          <p:cNvPr id="20" name="Inhaltsplatzhalter 2">
            <a:extLst>
              <a:ext uri="{FF2B5EF4-FFF2-40B4-BE49-F238E27FC236}">
                <a16:creationId xmlns:a16="http://schemas.microsoft.com/office/drawing/2014/main" xmlns="" id="{C9A14F9D-2109-4B6F-A5C4-26647E1AE434}"/>
              </a:ext>
            </a:extLst>
          </p:cNvPr>
          <p:cNvSpPr txBox="1">
            <a:spLocks/>
          </p:cNvSpPr>
          <p:nvPr>
            <p:custDataLst>
              <p:tags r:id="rId13"/>
            </p:custDataLst>
          </p:nvPr>
        </p:nvSpPr>
        <p:spPr>
          <a:xfrm>
            <a:off x="4666062" y="3937698"/>
            <a:ext cx="1872010" cy="466667"/>
          </a:xfrm>
          <a:prstGeom prst="rect">
            <a:avLst/>
          </a:prstGeom>
          <a:solidFill>
            <a:schemeClr val="accent3">
              <a:lumMod val="20000"/>
              <a:lumOff val="80000"/>
            </a:schemeClr>
          </a:solidFill>
          <a:ln>
            <a:solidFill>
              <a:schemeClr val="accent3"/>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r>
              <a:rPr lang="de-DE" sz="1200" b="1" dirty="0"/>
              <a:t>ÖPNV-Erschließ-</a:t>
            </a:r>
            <a:br>
              <a:rPr lang="de-DE" sz="1200" b="1" dirty="0"/>
            </a:br>
            <a:r>
              <a:rPr lang="de-DE" sz="1200" b="1" dirty="0" err="1"/>
              <a:t>ungsbeträge</a:t>
            </a:r>
            <a:endParaRPr lang="de-DE" sz="1200" b="1" dirty="0"/>
          </a:p>
        </p:txBody>
      </p:sp>
      <p:sp>
        <p:nvSpPr>
          <p:cNvPr id="22" name="Inhaltsplatzhalter 2">
            <a:extLst>
              <a:ext uri="{FF2B5EF4-FFF2-40B4-BE49-F238E27FC236}">
                <a16:creationId xmlns:a16="http://schemas.microsoft.com/office/drawing/2014/main" xmlns="" id="{36C52576-375A-44BB-A8DB-9B4ECA0F5D53}"/>
              </a:ext>
            </a:extLst>
          </p:cNvPr>
          <p:cNvSpPr txBox="1">
            <a:spLocks/>
          </p:cNvSpPr>
          <p:nvPr/>
        </p:nvSpPr>
        <p:spPr>
          <a:xfrm>
            <a:off x="459201" y="2641308"/>
            <a:ext cx="1952559" cy="1107554"/>
          </a:xfrm>
          <a:prstGeom prst="rect">
            <a:avLst/>
          </a:prstGeom>
          <a:no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200" dirty="0"/>
              <a:t>Ausweitung der Parkraum-bewirtschaftung</a:t>
            </a:r>
          </a:p>
          <a:p>
            <a:pPr lvl="2"/>
            <a:r>
              <a:rPr lang="de-DE" sz="1200" dirty="0"/>
              <a:t>Akteur: im Regelfall die Gemeinde</a:t>
            </a:r>
          </a:p>
        </p:txBody>
      </p:sp>
      <p:sp>
        <p:nvSpPr>
          <p:cNvPr id="23" name="Inhaltsplatzhalter 2">
            <a:extLst>
              <a:ext uri="{FF2B5EF4-FFF2-40B4-BE49-F238E27FC236}">
                <a16:creationId xmlns:a16="http://schemas.microsoft.com/office/drawing/2014/main" xmlns="" id="{67DBA6FB-C130-4F7D-85F7-233B956BF589}"/>
              </a:ext>
            </a:extLst>
          </p:cNvPr>
          <p:cNvSpPr txBox="1">
            <a:spLocks/>
          </p:cNvSpPr>
          <p:nvPr/>
        </p:nvSpPr>
        <p:spPr>
          <a:xfrm>
            <a:off x="4581737" y="2641308"/>
            <a:ext cx="1952559" cy="1107554"/>
          </a:xfrm>
          <a:prstGeom prst="rect">
            <a:avLst/>
          </a:prstGeom>
          <a:no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200" dirty="0"/>
              <a:t>Finanzierung der (ÖPNV)-Infrastruktur durch eine Gebiet </a:t>
            </a:r>
            <a:r>
              <a:rPr lang="de-DE" sz="1200" dirty="0" err="1"/>
              <a:t>ent</a:t>
            </a:r>
            <a:r>
              <a:rPr lang="de-DE" sz="1200" dirty="0"/>
              <a:t>-wickelnden Investor</a:t>
            </a:r>
          </a:p>
          <a:p>
            <a:pPr lvl="2"/>
            <a:r>
              <a:rPr lang="de-DE" sz="1200" dirty="0"/>
              <a:t>In Zusammenhang mit Stadtentwicklung </a:t>
            </a:r>
            <a:endParaRPr lang="de-DE" sz="1200" dirty="0">
              <a:solidFill>
                <a:srgbClr val="FF0000"/>
              </a:solidFill>
            </a:endParaRPr>
          </a:p>
        </p:txBody>
      </p:sp>
      <p:sp>
        <p:nvSpPr>
          <p:cNvPr id="25" name="Inhaltsplatzhalter 2">
            <a:extLst>
              <a:ext uri="{FF2B5EF4-FFF2-40B4-BE49-F238E27FC236}">
                <a16:creationId xmlns:a16="http://schemas.microsoft.com/office/drawing/2014/main" xmlns="" id="{718C3900-BD95-4B9E-A115-1FC025972C5B}"/>
              </a:ext>
            </a:extLst>
          </p:cNvPr>
          <p:cNvSpPr txBox="1">
            <a:spLocks/>
          </p:cNvSpPr>
          <p:nvPr/>
        </p:nvSpPr>
        <p:spPr>
          <a:xfrm>
            <a:off x="6651691" y="2641308"/>
            <a:ext cx="1952559" cy="1107554"/>
          </a:xfrm>
          <a:prstGeom prst="rect">
            <a:avLst/>
          </a:prstGeom>
          <a:no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200" dirty="0"/>
              <a:t>Zahlung eines verpflichtenden ÖPNV-Beitrags durch alle Einwohner</a:t>
            </a:r>
          </a:p>
          <a:p>
            <a:pPr lvl="2"/>
            <a:r>
              <a:rPr lang="de-DE" sz="1200" dirty="0"/>
              <a:t>„Semesterticket für alle Einwohner</a:t>
            </a:r>
          </a:p>
        </p:txBody>
      </p:sp>
      <p:sp>
        <p:nvSpPr>
          <p:cNvPr id="27" name="Inhaltsplatzhalter 2">
            <a:extLst>
              <a:ext uri="{FF2B5EF4-FFF2-40B4-BE49-F238E27FC236}">
                <a16:creationId xmlns:a16="http://schemas.microsoft.com/office/drawing/2014/main" xmlns="" id="{19BE28A3-AC7A-4726-B18C-FCF7AA137B52}"/>
              </a:ext>
            </a:extLst>
          </p:cNvPr>
          <p:cNvSpPr txBox="1">
            <a:spLocks/>
          </p:cNvSpPr>
          <p:nvPr/>
        </p:nvSpPr>
        <p:spPr>
          <a:xfrm>
            <a:off x="4581737" y="4402176"/>
            <a:ext cx="1952559" cy="1107554"/>
          </a:xfrm>
          <a:prstGeom prst="rect">
            <a:avLst/>
          </a:prstGeom>
          <a:no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200" dirty="0"/>
              <a:t>Wertsteigerung abgreifen im Bestand</a:t>
            </a:r>
          </a:p>
          <a:p>
            <a:pPr lvl="2"/>
            <a:r>
              <a:rPr lang="de-DE" sz="1200" dirty="0"/>
              <a:t>Neues Instrument: Technisch und politisch zu etablieren </a:t>
            </a:r>
          </a:p>
        </p:txBody>
      </p:sp>
      <p:sp>
        <p:nvSpPr>
          <p:cNvPr id="28" name="Inhaltsplatzhalter 2">
            <a:extLst>
              <a:ext uri="{FF2B5EF4-FFF2-40B4-BE49-F238E27FC236}">
                <a16:creationId xmlns:a16="http://schemas.microsoft.com/office/drawing/2014/main" xmlns="" id="{5D924DB2-8C28-4D39-8476-17E3B0479EA2}"/>
              </a:ext>
            </a:extLst>
          </p:cNvPr>
          <p:cNvSpPr txBox="1">
            <a:spLocks/>
          </p:cNvSpPr>
          <p:nvPr/>
        </p:nvSpPr>
        <p:spPr>
          <a:xfrm>
            <a:off x="506405" y="4266296"/>
            <a:ext cx="1952559" cy="1107554"/>
          </a:xfrm>
          <a:prstGeom prst="rect">
            <a:avLst/>
          </a:prstGeom>
          <a:no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200" dirty="0"/>
              <a:t>Hohe Lenkungs-wirkung</a:t>
            </a:r>
          </a:p>
          <a:p>
            <a:pPr lvl="2"/>
            <a:r>
              <a:rPr lang="de-DE" sz="1200" dirty="0"/>
              <a:t>Hohe Investitions-kosten für Einführung</a:t>
            </a:r>
          </a:p>
        </p:txBody>
      </p:sp>
      <p:sp>
        <p:nvSpPr>
          <p:cNvPr id="39" name="Inhaltsplatzhalter 2">
            <a:extLst>
              <a:ext uri="{FF2B5EF4-FFF2-40B4-BE49-F238E27FC236}">
                <a16:creationId xmlns:a16="http://schemas.microsoft.com/office/drawing/2014/main" xmlns="" id="{A255E48B-404F-4D5E-BBE9-B72E8F77EA3A}"/>
              </a:ext>
            </a:extLst>
          </p:cNvPr>
          <p:cNvSpPr txBox="1">
            <a:spLocks/>
          </p:cNvSpPr>
          <p:nvPr/>
        </p:nvSpPr>
        <p:spPr>
          <a:xfrm>
            <a:off x="450486" y="5436688"/>
            <a:ext cx="8118828" cy="534878"/>
          </a:xfrm>
          <a:prstGeom prst="rect">
            <a:avLst/>
          </a:prstGeom>
          <a:no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200" dirty="0"/>
              <a:t>Steuern (wie Gewerbesteuer und Grundsteuer) können zwar angepasst werden, sind aber verfassungsrechtlich </a:t>
            </a:r>
            <a:r>
              <a:rPr lang="de-DE" sz="1200" b="1" dirty="0"/>
              <a:t>nicht zweckgebunden</a:t>
            </a:r>
          </a:p>
        </p:txBody>
      </p:sp>
      <p:sp>
        <p:nvSpPr>
          <p:cNvPr id="40" name="Freeform 7">
            <a:extLst>
              <a:ext uri="{FF2B5EF4-FFF2-40B4-BE49-F238E27FC236}">
                <a16:creationId xmlns:a16="http://schemas.microsoft.com/office/drawing/2014/main" xmlns="" id="{2DA954B3-3548-475F-9350-74718C252D45}"/>
              </a:ext>
            </a:extLst>
          </p:cNvPr>
          <p:cNvSpPr>
            <a:spLocks/>
          </p:cNvSpPr>
          <p:nvPr>
            <p:custDataLst>
              <p:tags r:id="rId14"/>
            </p:custDataLst>
          </p:nvPr>
        </p:nvSpPr>
        <p:spPr bwMode="auto">
          <a:xfrm>
            <a:off x="539553" y="5471894"/>
            <a:ext cx="85492" cy="207785"/>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6"/>
          </a:solidFill>
          <a:ln w="12700" cap="rnd">
            <a:noFill/>
            <a:round/>
            <a:headEnd type="none" w="sm" len="sm"/>
            <a:tailEnd type="none" w="sm" len="sm"/>
          </a:ln>
          <a:effectLst/>
        </p:spPr>
        <p:txBody>
          <a:bodyPr/>
          <a:lstStyle/>
          <a:p>
            <a:endParaRPr lang="de-DE" dirty="0"/>
          </a:p>
        </p:txBody>
      </p:sp>
      <p:grpSp>
        <p:nvGrpSpPr>
          <p:cNvPr id="26" name="Gruppieren 25">
            <a:extLst>
              <a:ext uri="{FF2B5EF4-FFF2-40B4-BE49-F238E27FC236}">
                <a16:creationId xmlns:a16="http://schemas.microsoft.com/office/drawing/2014/main" xmlns="" id="{ECDDEEE8-A15E-4F6B-B79B-A5DD7CC1451D}"/>
              </a:ext>
            </a:extLst>
          </p:cNvPr>
          <p:cNvGrpSpPr/>
          <p:nvPr/>
        </p:nvGrpSpPr>
        <p:grpSpPr>
          <a:xfrm>
            <a:off x="2502463" y="1628775"/>
            <a:ext cx="4134194" cy="3810531"/>
            <a:chOff x="2502463" y="1628775"/>
            <a:chExt cx="4134194" cy="3888457"/>
          </a:xfrm>
        </p:grpSpPr>
        <p:cxnSp>
          <p:nvCxnSpPr>
            <p:cNvPr id="43" name="Gerader Verbinder 42">
              <a:extLst>
                <a:ext uri="{FF2B5EF4-FFF2-40B4-BE49-F238E27FC236}">
                  <a16:creationId xmlns:a16="http://schemas.microsoft.com/office/drawing/2014/main" xmlns="" id="{5EA1D10C-47E5-46AF-9628-689BF645EDF7}"/>
                </a:ext>
              </a:extLst>
            </p:cNvPr>
            <p:cNvCxnSpPr/>
            <p:nvPr/>
          </p:nvCxnSpPr>
          <p:spPr>
            <a:xfrm>
              <a:off x="2502463" y="1628775"/>
              <a:ext cx="0" cy="3888457"/>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xmlns="" id="{E58E2D91-AFAC-40C6-9029-EBCCE4B9D62B}"/>
                </a:ext>
              </a:extLst>
            </p:cNvPr>
            <p:cNvCxnSpPr/>
            <p:nvPr/>
          </p:nvCxnSpPr>
          <p:spPr>
            <a:xfrm>
              <a:off x="4572000" y="1628775"/>
              <a:ext cx="0" cy="3888457"/>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xmlns="" id="{D34CF535-6390-4DA3-A502-F7D8BE4B00EB}"/>
                </a:ext>
              </a:extLst>
            </p:cNvPr>
            <p:cNvCxnSpPr/>
            <p:nvPr/>
          </p:nvCxnSpPr>
          <p:spPr>
            <a:xfrm>
              <a:off x="6636657" y="1628775"/>
              <a:ext cx="0" cy="3888457"/>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xmlns="" id="{5D075069-95A0-4470-830B-EC01A15E6445}"/>
              </a:ext>
            </a:extLst>
          </p:cNvPr>
          <p:cNvGrpSpPr>
            <a:grpSpLocks noChangeAspect="1"/>
          </p:cNvGrpSpPr>
          <p:nvPr/>
        </p:nvGrpSpPr>
        <p:grpSpPr>
          <a:xfrm>
            <a:off x="6111653" y="1654603"/>
            <a:ext cx="396000" cy="396000"/>
            <a:chOff x="4198007" y="1654603"/>
            <a:chExt cx="250346" cy="250346"/>
          </a:xfrm>
        </p:grpSpPr>
        <p:sp>
          <p:nvSpPr>
            <p:cNvPr id="46" name="Ellipse 45">
              <a:extLst>
                <a:ext uri="{FF2B5EF4-FFF2-40B4-BE49-F238E27FC236}">
                  <a16:creationId xmlns:a16="http://schemas.microsoft.com/office/drawing/2014/main" xmlns="" id="{7798837D-7824-497A-BC61-93691BE76813}"/>
                </a:ext>
              </a:extLst>
            </p:cNvPr>
            <p:cNvSpPr>
              <a:spLocks noChangeAspect="1"/>
            </p:cNvSpPr>
            <p:nvPr/>
          </p:nvSpPr>
          <p:spPr>
            <a:xfrm>
              <a:off x="4198007" y="1654603"/>
              <a:ext cx="250346" cy="250346"/>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47" name="Grafik 46">
              <a:extLst>
                <a:ext uri="{FF2B5EF4-FFF2-40B4-BE49-F238E27FC236}">
                  <a16:creationId xmlns:a16="http://schemas.microsoft.com/office/drawing/2014/main" xmlns="" id="{87C5219E-A0FB-4023-908E-7FA25384DFFC}"/>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4233312" y="1706923"/>
              <a:ext cx="178821" cy="145706"/>
            </a:xfrm>
            <a:prstGeom prst="rect">
              <a:avLst/>
            </a:prstGeom>
          </p:spPr>
        </p:pic>
      </p:grpSp>
      <p:grpSp>
        <p:nvGrpSpPr>
          <p:cNvPr id="8" name="Gruppieren 7">
            <a:extLst>
              <a:ext uri="{FF2B5EF4-FFF2-40B4-BE49-F238E27FC236}">
                <a16:creationId xmlns:a16="http://schemas.microsoft.com/office/drawing/2014/main" xmlns="" id="{073AB37E-55CA-430D-8AB6-CC535C1C23F1}"/>
              </a:ext>
            </a:extLst>
          </p:cNvPr>
          <p:cNvGrpSpPr>
            <a:grpSpLocks noChangeAspect="1"/>
          </p:cNvGrpSpPr>
          <p:nvPr/>
        </p:nvGrpSpPr>
        <p:grpSpPr>
          <a:xfrm>
            <a:off x="1976034" y="1659459"/>
            <a:ext cx="396000" cy="396000"/>
            <a:chOff x="-248121" y="1914266"/>
            <a:chExt cx="360040" cy="360040"/>
          </a:xfrm>
        </p:grpSpPr>
        <p:sp>
          <p:nvSpPr>
            <p:cNvPr id="49" name="Ellipse 48">
              <a:extLst>
                <a:ext uri="{FF2B5EF4-FFF2-40B4-BE49-F238E27FC236}">
                  <a16:creationId xmlns:a16="http://schemas.microsoft.com/office/drawing/2014/main" xmlns="" id="{08193532-872E-4467-A285-AF84B6DE3D28}"/>
                </a:ext>
              </a:extLst>
            </p:cNvPr>
            <p:cNvSpPr/>
            <p:nvPr/>
          </p:nvSpPr>
          <p:spPr>
            <a:xfrm>
              <a:off x="-248121" y="1914266"/>
              <a:ext cx="360040" cy="36004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50" name="Grafik 49">
              <a:extLst>
                <a:ext uri="{FF2B5EF4-FFF2-40B4-BE49-F238E27FC236}">
                  <a16:creationId xmlns:a16="http://schemas.microsoft.com/office/drawing/2014/main" xmlns="" id="{C29CFA1D-7A0A-4E87-92EE-E23EE423266C}"/>
                </a:ext>
              </a:extLst>
            </p:cNvPr>
            <p:cNvPicPr>
              <a:picLocks noChangeAspect="1"/>
            </p:cNvPicPr>
            <p:nvPr/>
          </p:nvPicPr>
          <p:blipFill>
            <a:blip r:embed="rId22">
              <a:extLst>
                <a:ext uri="{96DAC541-7B7A-43D3-8B79-37D633B846F1}">
                  <asvg:svgBlip xmlns:asvg="http://schemas.microsoft.com/office/drawing/2016/SVG/main" xmlns="" r:embed="rId23"/>
                </a:ext>
              </a:extLst>
            </a:blip>
            <a:stretch>
              <a:fillRect/>
            </a:stretch>
          </p:blipFill>
          <p:spPr>
            <a:xfrm>
              <a:off x="-204601" y="2026881"/>
              <a:ext cx="278282" cy="131411"/>
            </a:xfrm>
            <a:prstGeom prst="rect">
              <a:avLst/>
            </a:prstGeom>
          </p:spPr>
        </p:pic>
      </p:grpSp>
      <p:grpSp>
        <p:nvGrpSpPr>
          <p:cNvPr id="10" name="Gruppieren 9">
            <a:extLst>
              <a:ext uri="{FF2B5EF4-FFF2-40B4-BE49-F238E27FC236}">
                <a16:creationId xmlns:a16="http://schemas.microsoft.com/office/drawing/2014/main" xmlns="" id="{27DD3B31-2CAA-4CF3-B30F-A8A923A618B3}"/>
              </a:ext>
            </a:extLst>
          </p:cNvPr>
          <p:cNvGrpSpPr>
            <a:grpSpLocks noChangeAspect="1"/>
          </p:cNvGrpSpPr>
          <p:nvPr/>
        </p:nvGrpSpPr>
        <p:grpSpPr>
          <a:xfrm>
            <a:off x="4037938" y="1660524"/>
            <a:ext cx="393446" cy="396000"/>
            <a:chOff x="4850435" y="1053275"/>
            <a:chExt cx="360040" cy="360040"/>
          </a:xfrm>
        </p:grpSpPr>
        <p:sp>
          <p:nvSpPr>
            <p:cNvPr id="52" name="Ellipse 51">
              <a:extLst>
                <a:ext uri="{FF2B5EF4-FFF2-40B4-BE49-F238E27FC236}">
                  <a16:creationId xmlns:a16="http://schemas.microsoft.com/office/drawing/2014/main" xmlns="" id="{02836115-0C71-4F77-BBD7-57C351EAA71E}"/>
                </a:ext>
              </a:extLst>
            </p:cNvPr>
            <p:cNvSpPr/>
            <p:nvPr/>
          </p:nvSpPr>
          <p:spPr>
            <a:xfrm>
              <a:off x="4850435" y="1053275"/>
              <a:ext cx="360040" cy="360040"/>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53" name="Grafik 52">
              <a:extLst>
                <a:ext uri="{FF2B5EF4-FFF2-40B4-BE49-F238E27FC236}">
                  <a16:creationId xmlns:a16="http://schemas.microsoft.com/office/drawing/2014/main" xmlns="" id="{3A81310D-7474-4AFA-A93D-60FAD8C6BB1D}"/>
                </a:ext>
              </a:extLst>
            </p:cNvPr>
            <p:cNvPicPr>
              <a:picLocks noChangeAspect="1"/>
            </p:cNvPicPr>
            <p:nvPr/>
          </p:nvPicPr>
          <p:blipFill>
            <a:blip r:embed="rId24">
              <a:extLst>
                <a:ext uri="{96DAC541-7B7A-43D3-8B79-37D633B846F1}">
                  <asvg:svgBlip xmlns:asvg="http://schemas.microsoft.com/office/drawing/2016/SVG/main" xmlns="" r:embed="rId25"/>
                </a:ext>
              </a:extLst>
            </a:blip>
            <a:stretch>
              <a:fillRect/>
            </a:stretch>
          </p:blipFill>
          <p:spPr>
            <a:xfrm>
              <a:off x="4910266" y="1117075"/>
              <a:ext cx="232442" cy="232440"/>
            </a:xfrm>
            <a:prstGeom prst="rect">
              <a:avLst/>
            </a:prstGeom>
          </p:spPr>
        </p:pic>
      </p:grpSp>
      <p:grpSp>
        <p:nvGrpSpPr>
          <p:cNvPr id="21" name="Gruppieren 20">
            <a:extLst>
              <a:ext uri="{FF2B5EF4-FFF2-40B4-BE49-F238E27FC236}">
                <a16:creationId xmlns:a16="http://schemas.microsoft.com/office/drawing/2014/main" xmlns="" id="{E378C769-1C34-4236-99D0-18788826EBDF}"/>
              </a:ext>
            </a:extLst>
          </p:cNvPr>
          <p:cNvGrpSpPr>
            <a:grpSpLocks noChangeAspect="1"/>
          </p:cNvGrpSpPr>
          <p:nvPr/>
        </p:nvGrpSpPr>
        <p:grpSpPr>
          <a:xfrm>
            <a:off x="8178718" y="1653145"/>
            <a:ext cx="393446" cy="396000"/>
            <a:chOff x="8100392" y="1013975"/>
            <a:chExt cx="360040" cy="360040"/>
          </a:xfrm>
        </p:grpSpPr>
        <p:sp>
          <p:nvSpPr>
            <p:cNvPr id="55" name="Ellipse 54">
              <a:extLst>
                <a:ext uri="{FF2B5EF4-FFF2-40B4-BE49-F238E27FC236}">
                  <a16:creationId xmlns:a16="http://schemas.microsoft.com/office/drawing/2014/main" xmlns="" id="{7D961938-6DFF-4445-B28D-2AD0E5D6B18C}"/>
                </a:ext>
              </a:extLst>
            </p:cNvPr>
            <p:cNvSpPr/>
            <p:nvPr/>
          </p:nvSpPr>
          <p:spPr>
            <a:xfrm>
              <a:off x="8100392" y="1013975"/>
              <a:ext cx="360040" cy="360040"/>
            </a:xfrm>
            <a:prstGeom prst="ellipse">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56" name="Grafik 55">
              <a:extLst>
                <a:ext uri="{FF2B5EF4-FFF2-40B4-BE49-F238E27FC236}">
                  <a16:creationId xmlns:a16="http://schemas.microsoft.com/office/drawing/2014/main" xmlns="" id="{5AF79C9B-6B51-4F43-B8C7-EF87EB5EA44B}"/>
                </a:ext>
              </a:extLst>
            </p:cNvPr>
            <p:cNvPicPr>
              <a:picLocks noChangeAspect="1"/>
            </p:cNvPicPr>
            <p:nvPr/>
          </p:nvPicPr>
          <p:blipFill>
            <a:blip r:embed="rId26">
              <a:extLst>
                <a:ext uri="{96DAC541-7B7A-43D3-8B79-37D633B846F1}">
                  <asvg:svgBlip xmlns:asvg="http://schemas.microsoft.com/office/drawing/2016/SVG/main" xmlns="" r:embed="rId27"/>
                </a:ext>
              </a:extLst>
            </a:blip>
            <a:stretch>
              <a:fillRect/>
            </a:stretch>
          </p:blipFill>
          <p:spPr>
            <a:xfrm>
              <a:off x="8158998" y="1080019"/>
              <a:ext cx="246569" cy="253821"/>
            </a:xfrm>
            <a:prstGeom prst="rect">
              <a:avLst/>
            </a:prstGeom>
          </p:spPr>
        </p:pic>
      </p:grpSp>
      <p:sp>
        <p:nvSpPr>
          <p:cNvPr id="58" name="Ellipse 57">
            <a:extLst>
              <a:ext uri="{FF2B5EF4-FFF2-40B4-BE49-F238E27FC236}">
                <a16:creationId xmlns:a16="http://schemas.microsoft.com/office/drawing/2014/main" xmlns="" id="{B6AC3D0D-AE17-4610-87C7-71C0931D1E2C}"/>
              </a:ext>
            </a:extLst>
          </p:cNvPr>
          <p:cNvSpPr/>
          <p:nvPr/>
        </p:nvSpPr>
        <p:spPr>
          <a:xfrm>
            <a:off x="8195421" y="2224486"/>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r>
              <a:rPr lang="de-DE" sz="1600" b="1" dirty="0">
                <a:solidFill>
                  <a:schemeClr val="accent5"/>
                </a:solidFill>
              </a:rPr>
              <a:t>§</a:t>
            </a:r>
          </a:p>
        </p:txBody>
      </p:sp>
      <p:sp>
        <p:nvSpPr>
          <p:cNvPr id="60" name="Ellipse 59">
            <a:extLst>
              <a:ext uri="{FF2B5EF4-FFF2-40B4-BE49-F238E27FC236}">
                <a16:creationId xmlns:a16="http://schemas.microsoft.com/office/drawing/2014/main" xmlns="" id="{EA9ABD00-C730-4F12-A56E-3F28A48767C3}"/>
              </a:ext>
            </a:extLst>
          </p:cNvPr>
          <p:cNvSpPr/>
          <p:nvPr/>
        </p:nvSpPr>
        <p:spPr>
          <a:xfrm>
            <a:off x="4054641" y="2224486"/>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r>
              <a:rPr lang="de-DE" sz="1600" b="1" dirty="0">
                <a:solidFill>
                  <a:schemeClr val="accent5"/>
                </a:solidFill>
              </a:rPr>
              <a:t>§</a:t>
            </a:r>
          </a:p>
        </p:txBody>
      </p:sp>
      <p:grpSp>
        <p:nvGrpSpPr>
          <p:cNvPr id="5" name="Gruppieren 4">
            <a:extLst>
              <a:ext uri="{FF2B5EF4-FFF2-40B4-BE49-F238E27FC236}">
                <a16:creationId xmlns:a16="http://schemas.microsoft.com/office/drawing/2014/main" xmlns="" id="{00712788-5DA9-444E-A069-3049669F6A0F}"/>
              </a:ext>
            </a:extLst>
          </p:cNvPr>
          <p:cNvGrpSpPr/>
          <p:nvPr/>
        </p:nvGrpSpPr>
        <p:grpSpPr>
          <a:xfrm>
            <a:off x="6129633" y="2224486"/>
            <a:ext cx="360040" cy="360040"/>
            <a:chOff x="6145915" y="2204864"/>
            <a:chExt cx="360040" cy="360040"/>
          </a:xfrm>
        </p:grpSpPr>
        <p:sp>
          <p:nvSpPr>
            <p:cNvPr id="62" name="Ellipse 61">
              <a:extLst>
                <a:ext uri="{FF2B5EF4-FFF2-40B4-BE49-F238E27FC236}">
                  <a16:creationId xmlns:a16="http://schemas.microsoft.com/office/drawing/2014/main" xmlns="" id="{8F8159ED-E588-4CCA-8C6C-0A558BE2265F}"/>
                </a:ext>
              </a:extLst>
            </p:cNvPr>
            <p:cNvSpPr/>
            <p:nvPr/>
          </p:nvSpPr>
          <p:spPr>
            <a:xfrm>
              <a:off x="6145915" y="22048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endParaRPr lang="de-DE" sz="1600" b="1" dirty="0">
                <a:solidFill>
                  <a:schemeClr val="accent5"/>
                </a:solidFill>
              </a:endParaRPr>
            </a:p>
          </p:txBody>
        </p:sp>
        <p:sp>
          <p:nvSpPr>
            <p:cNvPr id="71" name="Abgerundetes Rechteck 41">
              <a:extLst>
                <a:ext uri="{FF2B5EF4-FFF2-40B4-BE49-F238E27FC236}">
                  <a16:creationId xmlns:a16="http://schemas.microsoft.com/office/drawing/2014/main" xmlns="" id="{423658CE-C9D3-4A9D-A029-E5E147A26A6F}"/>
                </a:ext>
              </a:extLst>
            </p:cNvPr>
            <p:cNvSpPr/>
            <p:nvPr/>
          </p:nvSpPr>
          <p:spPr>
            <a:xfrm rot="19525768" flipH="1">
              <a:off x="6248550" y="2336685"/>
              <a:ext cx="185330" cy="100633"/>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grpSp>
      <p:grpSp>
        <p:nvGrpSpPr>
          <p:cNvPr id="66" name="Gruppieren 65">
            <a:extLst>
              <a:ext uri="{FF2B5EF4-FFF2-40B4-BE49-F238E27FC236}">
                <a16:creationId xmlns:a16="http://schemas.microsoft.com/office/drawing/2014/main" xmlns="" id="{F777770A-02A4-485E-9376-6415C3931483}"/>
              </a:ext>
            </a:extLst>
          </p:cNvPr>
          <p:cNvGrpSpPr/>
          <p:nvPr/>
        </p:nvGrpSpPr>
        <p:grpSpPr>
          <a:xfrm>
            <a:off x="1994014" y="2224486"/>
            <a:ext cx="360040" cy="360040"/>
            <a:chOff x="6145915" y="2204864"/>
            <a:chExt cx="360040" cy="360040"/>
          </a:xfrm>
        </p:grpSpPr>
        <p:sp>
          <p:nvSpPr>
            <p:cNvPr id="72" name="Ellipse 71">
              <a:extLst>
                <a:ext uri="{FF2B5EF4-FFF2-40B4-BE49-F238E27FC236}">
                  <a16:creationId xmlns:a16="http://schemas.microsoft.com/office/drawing/2014/main" xmlns="" id="{A7DCEE28-3ED9-480E-A368-D71F4150AE40}"/>
                </a:ext>
              </a:extLst>
            </p:cNvPr>
            <p:cNvSpPr/>
            <p:nvPr/>
          </p:nvSpPr>
          <p:spPr>
            <a:xfrm>
              <a:off x="6145915" y="22048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endParaRPr lang="de-DE" sz="1600" b="1" dirty="0">
                <a:solidFill>
                  <a:schemeClr val="accent5"/>
                </a:solidFill>
              </a:endParaRPr>
            </a:p>
          </p:txBody>
        </p:sp>
        <p:sp>
          <p:nvSpPr>
            <p:cNvPr id="73" name="Abgerundetes Rechteck 41">
              <a:extLst>
                <a:ext uri="{FF2B5EF4-FFF2-40B4-BE49-F238E27FC236}">
                  <a16:creationId xmlns:a16="http://schemas.microsoft.com/office/drawing/2014/main" xmlns="" id="{EAA40A41-BE9F-43B6-BD1A-5E230F82E1FC}"/>
                </a:ext>
              </a:extLst>
            </p:cNvPr>
            <p:cNvSpPr/>
            <p:nvPr/>
          </p:nvSpPr>
          <p:spPr>
            <a:xfrm rot="19525768" flipH="1">
              <a:off x="6248550" y="2336685"/>
              <a:ext cx="185330" cy="100633"/>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grpSp>
      <p:grpSp>
        <p:nvGrpSpPr>
          <p:cNvPr id="74" name="Gruppieren 73">
            <a:extLst>
              <a:ext uri="{FF2B5EF4-FFF2-40B4-BE49-F238E27FC236}">
                <a16:creationId xmlns:a16="http://schemas.microsoft.com/office/drawing/2014/main" xmlns="" id="{482A04EB-4C85-49FD-86C8-E85B12B51546}"/>
              </a:ext>
            </a:extLst>
          </p:cNvPr>
          <p:cNvGrpSpPr/>
          <p:nvPr/>
        </p:nvGrpSpPr>
        <p:grpSpPr>
          <a:xfrm>
            <a:off x="1994014" y="3853300"/>
            <a:ext cx="360040" cy="360040"/>
            <a:chOff x="6145915" y="2204864"/>
            <a:chExt cx="360040" cy="360040"/>
          </a:xfrm>
        </p:grpSpPr>
        <p:sp>
          <p:nvSpPr>
            <p:cNvPr id="75" name="Ellipse 74">
              <a:extLst>
                <a:ext uri="{FF2B5EF4-FFF2-40B4-BE49-F238E27FC236}">
                  <a16:creationId xmlns:a16="http://schemas.microsoft.com/office/drawing/2014/main" xmlns="" id="{197609D2-67C9-47BC-A79B-F827B49E6EBD}"/>
                </a:ext>
              </a:extLst>
            </p:cNvPr>
            <p:cNvSpPr/>
            <p:nvPr/>
          </p:nvSpPr>
          <p:spPr>
            <a:xfrm>
              <a:off x="6145915" y="22048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endParaRPr lang="de-DE" sz="1600" b="1" dirty="0">
                <a:solidFill>
                  <a:schemeClr val="accent5"/>
                </a:solidFill>
              </a:endParaRPr>
            </a:p>
          </p:txBody>
        </p:sp>
        <p:sp>
          <p:nvSpPr>
            <p:cNvPr id="76" name="Abgerundetes Rechteck 41">
              <a:extLst>
                <a:ext uri="{FF2B5EF4-FFF2-40B4-BE49-F238E27FC236}">
                  <a16:creationId xmlns:a16="http://schemas.microsoft.com/office/drawing/2014/main" xmlns="" id="{4FEE6EE0-7F62-45DC-92E3-B90C15A4EC74}"/>
                </a:ext>
              </a:extLst>
            </p:cNvPr>
            <p:cNvSpPr/>
            <p:nvPr/>
          </p:nvSpPr>
          <p:spPr>
            <a:xfrm rot="19525768" flipH="1">
              <a:off x="6248550" y="2336685"/>
              <a:ext cx="185330" cy="100633"/>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grpSp>
      <p:sp>
        <p:nvSpPr>
          <p:cNvPr id="77" name="Ellipse 76">
            <a:extLst>
              <a:ext uri="{FF2B5EF4-FFF2-40B4-BE49-F238E27FC236}">
                <a16:creationId xmlns:a16="http://schemas.microsoft.com/office/drawing/2014/main" xmlns="" id="{7D83023F-5D7E-4EE0-BC35-5F53DB3EB2F0}"/>
              </a:ext>
            </a:extLst>
          </p:cNvPr>
          <p:cNvSpPr/>
          <p:nvPr/>
        </p:nvSpPr>
        <p:spPr>
          <a:xfrm>
            <a:off x="6127249" y="399101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r>
              <a:rPr lang="de-DE" sz="1600" b="1" dirty="0">
                <a:solidFill>
                  <a:schemeClr val="accent5"/>
                </a:solidFill>
              </a:rPr>
              <a:t>§</a:t>
            </a:r>
          </a:p>
        </p:txBody>
      </p:sp>
      <p:sp>
        <p:nvSpPr>
          <p:cNvPr id="78" name="Ellipse 77">
            <a:extLst>
              <a:ext uri="{FF2B5EF4-FFF2-40B4-BE49-F238E27FC236}">
                <a16:creationId xmlns:a16="http://schemas.microsoft.com/office/drawing/2014/main" xmlns="" id="{1FF1FB24-6EBA-4451-AB33-CDE314215D29}"/>
              </a:ext>
            </a:extLst>
          </p:cNvPr>
          <p:cNvSpPr/>
          <p:nvPr/>
        </p:nvSpPr>
        <p:spPr>
          <a:xfrm>
            <a:off x="551696" y="5900693"/>
            <a:ext cx="181359" cy="181359"/>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r>
              <a:rPr lang="de-DE" sz="1050" b="1" dirty="0">
                <a:solidFill>
                  <a:schemeClr val="accent5"/>
                </a:solidFill>
              </a:rPr>
              <a:t>§</a:t>
            </a:r>
          </a:p>
        </p:txBody>
      </p:sp>
      <p:grpSp>
        <p:nvGrpSpPr>
          <p:cNvPr id="79" name="Gruppieren 78">
            <a:extLst>
              <a:ext uri="{FF2B5EF4-FFF2-40B4-BE49-F238E27FC236}">
                <a16:creationId xmlns:a16="http://schemas.microsoft.com/office/drawing/2014/main" xmlns="" id="{AC40D1FD-92AF-4B15-ADBE-D10384FF9669}"/>
              </a:ext>
            </a:extLst>
          </p:cNvPr>
          <p:cNvGrpSpPr/>
          <p:nvPr/>
        </p:nvGrpSpPr>
        <p:grpSpPr>
          <a:xfrm>
            <a:off x="2749440" y="5900693"/>
            <a:ext cx="181359" cy="181359"/>
            <a:chOff x="6145915" y="2204864"/>
            <a:chExt cx="360040" cy="360040"/>
          </a:xfrm>
        </p:grpSpPr>
        <p:sp>
          <p:nvSpPr>
            <p:cNvPr id="80" name="Ellipse 79">
              <a:extLst>
                <a:ext uri="{FF2B5EF4-FFF2-40B4-BE49-F238E27FC236}">
                  <a16:creationId xmlns:a16="http://schemas.microsoft.com/office/drawing/2014/main" xmlns="" id="{32BE4D25-3C24-44AC-BDD2-AAD9A9851C06}"/>
                </a:ext>
              </a:extLst>
            </p:cNvPr>
            <p:cNvSpPr/>
            <p:nvPr/>
          </p:nvSpPr>
          <p:spPr>
            <a:xfrm>
              <a:off x="6145915" y="22048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endParaRPr lang="de-DE" sz="1600" b="1" dirty="0">
                <a:solidFill>
                  <a:schemeClr val="accent5"/>
                </a:solidFill>
              </a:endParaRPr>
            </a:p>
          </p:txBody>
        </p:sp>
        <p:sp>
          <p:nvSpPr>
            <p:cNvPr id="81" name="Abgerundetes Rechteck 41">
              <a:extLst>
                <a:ext uri="{FF2B5EF4-FFF2-40B4-BE49-F238E27FC236}">
                  <a16:creationId xmlns:a16="http://schemas.microsoft.com/office/drawing/2014/main" xmlns="" id="{221F6C54-37BF-4F01-AF30-26EB0BD37135}"/>
                </a:ext>
              </a:extLst>
            </p:cNvPr>
            <p:cNvSpPr/>
            <p:nvPr/>
          </p:nvSpPr>
          <p:spPr>
            <a:xfrm rot="19525768" flipH="1">
              <a:off x="6248550" y="2336685"/>
              <a:ext cx="185330" cy="100633"/>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grpSp>
      <p:cxnSp>
        <p:nvCxnSpPr>
          <p:cNvPr id="82" name="Gerade Verbindung 6">
            <a:extLst>
              <a:ext uri="{FF2B5EF4-FFF2-40B4-BE49-F238E27FC236}">
                <a16:creationId xmlns:a16="http://schemas.microsoft.com/office/drawing/2014/main" xmlns="" id="{9352D5C9-A320-41B4-8F4A-DF1C266061EE}"/>
              </a:ext>
            </a:extLst>
          </p:cNvPr>
          <p:cNvCxnSpPr/>
          <p:nvPr>
            <p:custDataLst>
              <p:tags r:id="rId15"/>
            </p:custDataLst>
          </p:nvPr>
        </p:nvCxnSpPr>
        <p:spPr>
          <a:xfrm>
            <a:off x="539552" y="5865320"/>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3" name="Rechteck 82">
            <a:extLst>
              <a:ext uri="{FF2B5EF4-FFF2-40B4-BE49-F238E27FC236}">
                <a16:creationId xmlns:a16="http://schemas.microsoft.com/office/drawing/2014/main" xmlns="" id="{65FA2EB3-1895-44C9-B2F0-9A46BEDD6590}"/>
              </a:ext>
            </a:extLst>
          </p:cNvPr>
          <p:cNvSpPr/>
          <p:nvPr/>
        </p:nvSpPr>
        <p:spPr>
          <a:xfrm>
            <a:off x="699407" y="5865320"/>
            <a:ext cx="2216410"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Anpassung Gesetze erforderlich</a:t>
            </a:r>
          </a:p>
        </p:txBody>
      </p:sp>
      <p:sp>
        <p:nvSpPr>
          <p:cNvPr id="84" name="Rechteck 83">
            <a:extLst>
              <a:ext uri="{FF2B5EF4-FFF2-40B4-BE49-F238E27FC236}">
                <a16:creationId xmlns:a16="http://schemas.microsoft.com/office/drawing/2014/main" xmlns="" id="{0D9FEC84-A12B-425D-A474-FFC7258D4D35}"/>
              </a:ext>
            </a:extLst>
          </p:cNvPr>
          <p:cNvSpPr/>
          <p:nvPr/>
        </p:nvSpPr>
        <p:spPr>
          <a:xfrm>
            <a:off x="2982532" y="5865320"/>
            <a:ext cx="2216410"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umsetzbar</a:t>
            </a:r>
          </a:p>
        </p:txBody>
      </p:sp>
      <p:sp>
        <p:nvSpPr>
          <p:cNvPr id="61" name="Textfeld 60">
            <a:extLst>
              <a:ext uri="{FF2B5EF4-FFF2-40B4-BE49-F238E27FC236}">
                <a16:creationId xmlns:a16="http://schemas.microsoft.com/office/drawing/2014/main" xmlns="" id="{93256AF7-314C-4D4D-B960-17D5938D1043}"/>
              </a:ext>
            </a:extLst>
          </p:cNvPr>
          <p:cNvSpPr txBox="1"/>
          <p:nvPr/>
        </p:nvSpPr>
        <p:spPr>
          <a:xfrm>
            <a:off x="-3060848" y="1105583"/>
            <a:ext cx="1296144" cy="5016758"/>
          </a:xfrm>
          <a:prstGeom prst="rect">
            <a:avLst/>
          </a:prstGeom>
          <a:solidFill>
            <a:schemeClr val="tx2"/>
          </a:solidFill>
        </p:spPr>
        <p:txBody>
          <a:bodyPr wrap="square" rtlCol="0">
            <a:spAutoFit/>
          </a:bodyPr>
          <a:lstStyle/>
          <a:p>
            <a:r>
              <a:rPr lang="de-DE" sz="1600" dirty="0"/>
              <a:t>@Stefan Weigele: </a:t>
            </a:r>
          </a:p>
          <a:p>
            <a:endParaRPr lang="de-DE" sz="1600" dirty="0"/>
          </a:p>
          <a:p>
            <a:r>
              <a:rPr lang="de-DE" sz="1600" dirty="0"/>
              <a:t>Hier würde ich recht offen diskutieren wie es mit: </a:t>
            </a:r>
          </a:p>
          <a:p>
            <a:endParaRPr lang="de-DE" sz="1600" dirty="0"/>
          </a:p>
          <a:p>
            <a:r>
              <a:rPr lang="de-DE" sz="1600" dirty="0"/>
              <a:t>Umsetzungsgeschwindigkeit und politische Spielräume im Hinblick auf die jeweiligen Maßnahmen </a:t>
            </a:r>
            <a:r>
              <a:rPr lang="de-DE" sz="1600" dirty="0" err="1"/>
              <a:t>aussschaut</a:t>
            </a:r>
            <a:r>
              <a:rPr lang="de-DE" sz="1600" dirty="0"/>
              <a:t>.  </a:t>
            </a:r>
          </a:p>
        </p:txBody>
      </p:sp>
    </p:spTree>
    <p:extLst>
      <p:ext uri="{BB962C8B-B14F-4D97-AF65-F5344CB8AC3E}">
        <p14:creationId xmlns:p14="http://schemas.microsoft.com/office/powerpoint/2010/main" val="565576050"/>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230A9E63-2D6A-4592-98FA-5FDD681F15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995" name="think-cell Folie" r:id="rId18" imgW="530" imgH="531" progId="TCLayout.ActiveDocument.1">
                  <p:embed/>
                </p:oleObj>
              </mc:Choice>
              <mc:Fallback>
                <p:oleObj name="think-cell Folie" r:id="rId18" imgW="530" imgH="531" progId="TCLayout.ActiveDocument.1">
                  <p:embed/>
                  <p:pic>
                    <p:nvPicPr>
                      <p:cNvPr id="6" name="Objekt 5" hidden="1">
                        <a:extLst>
                          <a:ext uri="{FF2B5EF4-FFF2-40B4-BE49-F238E27FC236}">
                            <a16:creationId xmlns:a16="http://schemas.microsoft.com/office/drawing/2014/main" xmlns="" id="{230A9E63-2D6A-4592-98FA-5FDD681F153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xmlns="" id="{74F4EC4F-65E1-491E-9104-CECC015C8596}"/>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E6A574C6-2BA1-4490-996E-6F04ED79B445}"/>
              </a:ext>
            </a:extLst>
          </p:cNvPr>
          <p:cNvSpPr>
            <a:spLocks noGrp="1"/>
          </p:cNvSpPr>
          <p:nvPr>
            <p:ph type="title"/>
          </p:nvPr>
        </p:nvSpPr>
        <p:spPr/>
        <p:txBody>
          <a:bodyPr/>
          <a:lstStyle/>
          <a:p>
            <a:r>
              <a:rPr lang="de-DE" dirty="0"/>
              <a:t>Die Instrumente können einen zusätzlichen Finanzierungs-beitrag von über 100 Mio. € p.a. für den ÖPNV generieren</a:t>
            </a:r>
          </a:p>
        </p:txBody>
      </p:sp>
      <p:sp>
        <p:nvSpPr>
          <p:cNvPr id="3" name="Inhaltsplatzhalter 2">
            <a:extLst>
              <a:ext uri="{FF2B5EF4-FFF2-40B4-BE49-F238E27FC236}">
                <a16:creationId xmlns:a16="http://schemas.microsoft.com/office/drawing/2014/main" xmlns="" id="{43047E8C-2A43-4548-A996-5A0BF41CDFE7}"/>
              </a:ext>
            </a:extLst>
          </p:cNvPr>
          <p:cNvSpPr>
            <a:spLocks noGrp="1"/>
          </p:cNvSpPr>
          <p:nvPr>
            <p:ph idx="1"/>
          </p:nvPr>
        </p:nvSpPr>
        <p:spPr/>
        <p:txBody>
          <a:bodyPr/>
          <a:lstStyle/>
          <a:p>
            <a:r>
              <a:rPr lang="de-DE" dirty="0"/>
              <a:t>Prognostizierte Effekte: Jährlicher Finanzierungsbeitrag</a:t>
            </a:r>
          </a:p>
        </p:txBody>
      </p:sp>
      <p:sp>
        <p:nvSpPr>
          <p:cNvPr id="4" name="Foliennummernplatzhalter 3">
            <a:extLst>
              <a:ext uri="{FF2B5EF4-FFF2-40B4-BE49-F238E27FC236}">
                <a16:creationId xmlns:a16="http://schemas.microsoft.com/office/drawing/2014/main" xmlns="" id="{1AA90881-8872-4AB6-8A78-8D30194A1AC5}"/>
              </a:ext>
            </a:extLst>
          </p:cNvPr>
          <p:cNvSpPr>
            <a:spLocks noGrp="1"/>
          </p:cNvSpPr>
          <p:nvPr>
            <p:ph type="sldNum" sz="quarter" idx="11"/>
          </p:nvPr>
        </p:nvSpPr>
        <p:spPr>
          <a:xfrm>
            <a:off x="519428" y="6295779"/>
            <a:ext cx="212366" cy="246221"/>
          </a:xfrm>
        </p:spPr>
        <p:txBody>
          <a:bodyPr/>
          <a:lstStyle/>
          <a:p>
            <a:fld id="{CD21EFEB-933F-4F46-A5AD-B6372944D9E5}" type="slidenum">
              <a:rPr lang="de-DE" smtClean="0"/>
              <a:pPr/>
              <a:t>26</a:t>
            </a:fld>
            <a:endParaRPr lang="de-DE" dirty="0"/>
          </a:p>
        </p:txBody>
      </p:sp>
      <p:graphicFrame>
        <p:nvGraphicFramePr>
          <p:cNvPr id="41" name="Chart 3">
            <a:extLst>
              <a:ext uri="{FF2B5EF4-FFF2-40B4-BE49-F238E27FC236}">
                <a16:creationId xmlns:a16="http://schemas.microsoft.com/office/drawing/2014/main" xmlns="" id="{A3CB543E-081B-475B-8E34-64D7017899F6}"/>
              </a:ext>
            </a:extLst>
          </p:cNvPr>
          <p:cNvGraphicFramePr/>
          <p:nvPr>
            <p:custDataLst>
              <p:tags r:id="rId4"/>
            </p:custDataLst>
          </p:nvPr>
        </p:nvGraphicFramePr>
        <p:xfrm>
          <a:off x="2719388" y="1906588"/>
          <a:ext cx="3705225" cy="3659187"/>
        </p:xfrm>
        <a:graphic>
          <a:graphicData uri="http://schemas.openxmlformats.org/drawingml/2006/chart">
            <c:chart xmlns:c="http://schemas.openxmlformats.org/drawingml/2006/chart" xmlns:r="http://schemas.openxmlformats.org/officeDocument/2006/relationships" r:id="rId20"/>
          </a:graphicData>
        </a:graphic>
      </p:graphicFrame>
      <p:sp>
        <p:nvSpPr>
          <p:cNvPr id="26" name="Textplatzhalter 2">
            <a:extLst>
              <a:ext uri="{FF2B5EF4-FFF2-40B4-BE49-F238E27FC236}">
                <a16:creationId xmlns:a16="http://schemas.microsoft.com/office/drawing/2014/main" xmlns="" id="{F5453344-DF63-43D0-83D2-9A65550D187C}"/>
              </a:ext>
            </a:extLst>
          </p:cNvPr>
          <p:cNvSpPr>
            <a:spLocks noGrp="1"/>
          </p:cNvSpPr>
          <p:nvPr>
            <p:custDataLst>
              <p:tags r:id="rId5"/>
            </p:custDataLst>
          </p:nvPr>
        </p:nvSpPr>
        <p:spPr bwMode="auto">
          <a:xfrm>
            <a:off x="674688" y="3921125"/>
            <a:ext cx="18923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A0C5D59C-079B-4F83-877C-AC82E34468EC}" type="datetime'S''''tädteb''''aul''i''c''''h''''e'''' V''''''e''rtr''ä''g''e'">
              <a:rPr lang="de-DE" altLang="en-US" sz="1400" smtClean="0"/>
              <a:pPr lvl="1">
                <a:spcBef>
                  <a:spcPct val="0"/>
                </a:spcBef>
                <a:spcAft>
                  <a:spcPct val="0"/>
                </a:spcAft>
              </a:pPr>
              <a:t>Städtebauliche Verträge</a:t>
            </a:fld>
            <a:endParaRPr lang="de-DE" sz="1400" dirty="0">
              <a:sym typeface="+mn-lt"/>
            </a:endParaRPr>
          </a:p>
        </p:txBody>
      </p:sp>
      <p:sp>
        <p:nvSpPr>
          <p:cNvPr id="48" name="Textplatzhalter 2">
            <a:extLst>
              <a:ext uri="{FF2B5EF4-FFF2-40B4-BE49-F238E27FC236}">
                <a16:creationId xmlns:a16="http://schemas.microsoft.com/office/drawing/2014/main" xmlns="" id="{80133E4F-8E84-428F-A7D9-EAEE09048BD5}"/>
              </a:ext>
            </a:extLst>
          </p:cNvPr>
          <p:cNvSpPr>
            <a:spLocks noGrp="1"/>
          </p:cNvSpPr>
          <p:nvPr>
            <p:custDataLst>
              <p:tags r:id="rId6"/>
            </p:custDataLst>
          </p:nvPr>
        </p:nvSpPr>
        <p:spPr bwMode="auto">
          <a:xfrm>
            <a:off x="674689" y="2755900"/>
            <a:ext cx="2009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r>
              <a:rPr lang="de-DE" altLang="en-US" sz="1400" dirty="0"/>
              <a:t>Parkraumbewirtschaftung</a:t>
            </a:r>
            <a:endParaRPr lang="de-DE" sz="1400" dirty="0">
              <a:sym typeface="+mn-lt"/>
            </a:endParaRPr>
          </a:p>
        </p:txBody>
      </p:sp>
      <p:sp>
        <p:nvSpPr>
          <p:cNvPr id="33" name="Textplatzhalter 2">
            <a:extLst>
              <a:ext uri="{FF2B5EF4-FFF2-40B4-BE49-F238E27FC236}">
                <a16:creationId xmlns:a16="http://schemas.microsoft.com/office/drawing/2014/main" xmlns="" id="{C32BA69E-0F82-456A-AF88-8BC5F7D60546}"/>
              </a:ext>
            </a:extLst>
          </p:cNvPr>
          <p:cNvSpPr>
            <a:spLocks noGrp="1"/>
          </p:cNvSpPr>
          <p:nvPr>
            <p:custDataLst>
              <p:tags r:id="rId7"/>
            </p:custDataLst>
          </p:nvPr>
        </p:nvSpPr>
        <p:spPr bwMode="auto">
          <a:xfrm>
            <a:off x="674688" y="2066925"/>
            <a:ext cx="1506538"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r>
              <a:rPr lang="de-DE" sz="1400" dirty="0">
                <a:sym typeface="+mn-lt"/>
              </a:rPr>
              <a:t>Anrechenbare</a:t>
            </a:r>
            <a:br>
              <a:rPr lang="de-DE" sz="1400" dirty="0">
                <a:sym typeface="+mn-lt"/>
              </a:rPr>
            </a:br>
            <a:r>
              <a:rPr lang="de-DE" sz="1400" dirty="0">
                <a:sym typeface="+mn-lt"/>
              </a:rPr>
              <a:t>Arbeitgeberabgabe</a:t>
            </a:r>
          </a:p>
        </p:txBody>
      </p:sp>
      <p:sp>
        <p:nvSpPr>
          <p:cNvPr id="11" name="Textplatzhalter 2">
            <a:extLst>
              <a:ext uri="{FF2B5EF4-FFF2-40B4-BE49-F238E27FC236}">
                <a16:creationId xmlns:a16="http://schemas.microsoft.com/office/drawing/2014/main" xmlns="" id="{032A6923-D38E-43BA-9652-3C4633522379}"/>
              </a:ext>
            </a:extLst>
          </p:cNvPr>
          <p:cNvSpPr>
            <a:spLocks noGrp="1"/>
          </p:cNvSpPr>
          <p:nvPr>
            <p:custDataLst>
              <p:tags r:id="rId8"/>
            </p:custDataLst>
          </p:nvPr>
        </p:nvSpPr>
        <p:spPr bwMode="auto">
          <a:xfrm>
            <a:off x="674688" y="3232150"/>
            <a:ext cx="2009775"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r>
              <a:rPr lang="de-DE" altLang="en-US" sz="1400" dirty="0"/>
              <a:t>Übernachtungspauschale</a:t>
            </a:r>
            <a:br>
              <a:rPr lang="de-DE" altLang="en-US" sz="1400" dirty="0"/>
            </a:br>
            <a:r>
              <a:rPr lang="de-DE" altLang="en-US" sz="1400" dirty="0"/>
              <a:t>inkl. Besucherticket</a:t>
            </a:r>
            <a:endParaRPr lang="de-DE" sz="1400" dirty="0">
              <a:sym typeface="+mn-lt"/>
            </a:endParaRPr>
          </a:p>
        </p:txBody>
      </p:sp>
      <p:sp>
        <p:nvSpPr>
          <p:cNvPr id="28" name="Textplatzhalter 2">
            <a:extLst>
              <a:ext uri="{FF2B5EF4-FFF2-40B4-BE49-F238E27FC236}">
                <a16:creationId xmlns:a16="http://schemas.microsoft.com/office/drawing/2014/main" xmlns="" id="{B3CC23B1-F76B-4AD4-B94F-095044C470B9}"/>
              </a:ext>
            </a:extLst>
          </p:cNvPr>
          <p:cNvSpPr>
            <a:spLocks noGrp="1"/>
          </p:cNvSpPr>
          <p:nvPr>
            <p:custDataLst>
              <p:tags r:id="rId9"/>
            </p:custDataLst>
          </p:nvPr>
        </p:nvSpPr>
        <p:spPr bwMode="auto">
          <a:xfrm>
            <a:off x="674688" y="4502150"/>
            <a:ext cx="12430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r>
              <a:rPr lang="de-DE" sz="1400" dirty="0">
                <a:sym typeface="+mn-lt"/>
              </a:rPr>
              <a:t>Stellplatzablöse</a:t>
            </a:r>
          </a:p>
        </p:txBody>
      </p:sp>
      <p:sp>
        <p:nvSpPr>
          <p:cNvPr id="45" name="Textplatzhalter 2">
            <a:extLst>
              <a:ext uri="{FF2B5EF4-FFF2-40B4-BE49-F238E27FC236}">
                <a16:creationId xmlns:a16="http://schemas.microsoft.com/office/drawing/2014/main" xmlns="" id="{B3B59ACC-ADA9-496B-A93F-CFD3C5C38E47}"/>
              </a:ext>
            </a:extLst>
          </p:cNvPr>
          <p:cNvSpPr>
            <a:spLocks noGrp="1"/>
          </p:cNvSpPr>
          <p:nvPr>
            <p:custDataLst>
              <p:tags r:id="rId10"/>
            </p:custDataLst>
          </p:nvPr>
        </p:nvSpPr>
        <p:spPr bwMode="auto">
          <a:xfrm>
            <a:off x="674688" y="4978400"/>
            <a:ext cx="1597025"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r>
              <a:rPr lang="de-DE" altLang="en-US" sz="1400" dirty="0"/>
              <a:t>Konzessionsabgabe</a:t>
            </a:r>
            <a:br>
              <a:rPr lang="de-DE" altLang="en-US" sz="1400" dirty="0"/>
            </a:br>
            <a:r>
              <a:rPr lang="de-DE" altLang="en-US" sz="1400" dirty="0"/>
              <a:t>“New Mobility”</a:t>
            </a:r>
            <a:endParaRPr lang="de-DE" sz="1400" dirty="0">
              <a:sym typeface="+mn-lt"/>
            </a:endParaRPr>
          </a:p>
        </p:txBody>
      </p:sp>
      <p:sp>
        <p:nvSpPr>
          <p:cNvPr id="98" name="Sprechblase: rechteckig 97">
            <a:extLst>
              <a:ext uri="{FF2B5EF4-FFF2-40B4-BE49-F238E27FC236}">
                <a16:creationId xmlns:a16="http://schemas.microsoft.com/office/drawing/2014/main" xmlns="" id="{33B3C7FB-6F72-4174-801B-7F37D2EC357D}"/>
              </a:ext>
            </a:extLst>
          </p:cNvPr>
          <p:cNvSpPr/>
          <p:nvPr/>
        </p:nvSpPr>
        <p:spPr>
          <a:xfrm>
            <a:off x="3833842" y="3732213"/>
            <a:ext cx="1800196" cy="625475"/>
          </a:xfrm>
          <a:prstGeom prst="wedgeRectCallout">
            <a:avLst>
              <a:gd name="adj1" fmla="val -67304"/>
              <a:gd name="adj2" fmla="val -1112"/>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accent1"/>
                </a:solidFill>
              </a:rPr>
              <a:t>Projektabhängig, kein regelmäßiges Aufkommen</a:t>
            </a:r>
          </a:p>
        </p:txBody>
      </p:sp>
      <p:grpSp>
        <p:nvGrpSpPr>
          <p:cNvPr id="99" name="Gruppieren 98">
            <a:extLst>
              <a:ext uri="{FF2B5EF4-FFF2-40B4-BE49-F238E27FC236}">
                <a16:creationId xmlns:a16="http://schemas.microsoft.com/office/drawing/2014/main" xmlns="" id="{8A6366AD-0A00-48A6-8E2A-8F142F4C0932}"/>
              </a:ext>
            </a:extLst>
          </p:cNvPr>
          <p:cNvGrpSpPr/>
          <p:nvPr>
            <p:custDataLst>
              <p:tags r:id="rId11"/>
            </p:custDataLst>
          </p:nvPr>
        </p:nvGrpSpPr>
        <p:grpSpPr>
          <a:xfrm flipV="1">
            <a:off x="6516216" y="1989138"/>
            <a:ext cx="502345" cy="3470275"/>
            <a:chOff x="6444208" y="2492375"/>
            <a:chExt cx="502345" cy="3168650"/>
          </a:xfrm>
        </p:grpSpPr>
        <p:sp>
          <p:nvSpPr>
            <p:cNvPr id="100" name="Freeform 7">
              <a:extLst>
                <a:ext uri="{FF2B5EF4-FFF2-40B4-BE49-F238E27FC236}">
                  <a16:creationId xmlns:a16="http://schemas.microsoft.com/office/drawing/2014/main" xmlns="" id="{E730397F-7B4C-4C68-B55B-481F7D15ADD7}"/>
                </a:ext>
              </a:extLst>
            </p:cNvPr>
            <p:cNvSpPr>
              <a:spLocks/>
            </p:cNvSpPr>
            <p:nvPr>
              <p:custDataLst>
                <p:tags r:id="rId14"/>
              </p:custDataLst>
            </p:nvPr>
          </p:nvSpPr>
          <p:spPr bwMode="auto">
            <a:xfrm>
              <a:off x="6658521" y="3396554"/>
              <a:ext cx="288032" cy="1366736"/>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1"/>
            </a:solidFill>
            <a:ln w="12700" cap="rnd">
              <a:noFill/>
              <a:round/>
              <a:headEnd type="none" w="sm" len="sm"/>
              <a:tailEnd type="none" w="sm" len="sm"/>
            </a:ln>
            <a:effectLst/>
          </p:spPr>
          <p:txBody>
            <a:bodyPr/>
            <a:lstStyle/>
            <a:p>
              <a:endParaRPr lang="de-DE" dirty="0"/>
            </a:p>
          </p:txBody>
        </p:sp>
        <p:sp>
          <p:nvSpPr>
            <p:cNvPr id="101" name="Freeform 183">
              <a:extLst>
                <a:ext uri="{FF2B5EF4-FFF2-40B4-BE49-F238E27FC236}">
                  <a16:creationId xmlns:a16="http://schemas.microsoft.com/office/drawing/2014/main" xmlns="" id="{27761BF6-818C-489B-8D51-7D721241714B}"/>
                </a:ext>
              </a:extLst>
            </p:cNvPr>
            <p:cNvSpPr>
              <a:spLocks/>
            </p:cNvSpPr>
            <p:nvPr>
              <p:custDataLst>
                <p:tags r:id="rId15"/>
              </p:custDataLst>
            </p:nvPr>
          </p:nvSpPr>
          <p:spPr bwMode="auto">
            <a:xfrm>
              <a:off x="6444208" y="2492375"/>
              <a:ext cx="214313" cy="3168650"/>
            </a:xfrm>
            <a:custGeom>
              <a:avLst/>
              <a:gdLst/>
              <a:ahLst/>
              <a:cxnLst>
                <a:cxn ang="0">
                  <a:pos x="0" y="0"/>
                </a:cxn>
                <a:cxn ang="0">
                  <a:pos x="181" y="0"/>
                </a:cxn>
                <a:cxn ang="0">
                  <a:pos x="181" y="816"/>
                </a:cxn>
                <a:cxn ang="0">
                  <a:pos x="0" y="816"/>
                </a:cxn>
              </a:cxnLst>
              <a:rect l="0" t="0" r="r" b="b"/>
              <a:pathLst>
                <a:path w="181" h="816">
                  <a:moveTo>
                    <a:pt x="0" y="0"/>
                  </a:moveTo>
                  <a:lnTo>
                    <a:pt x="181" y="0"/>
                  </a:lnTo>
                  <a:lnTo>
                    <a:pt x="181" y="816"/>
                  </a:lnTo>
                  <a:lnTo>
                    <a:pt x="0" y="816"/>
                  </a:lnTo>
                </a:path>
              </a:pathLst>
            </a:custGeom>
            <a:noFill/>
            <a:ln w="9525" cap="flat" cmpd="sng">
              <a:solidFill>
                <a:schemeClr val="accent1"/>
              </a:solidFill>
              <a:prstDash val="solid"/>
              <a:round/>
              <a:headEnd/>
              <a:tailEnd/>
            </a:ln>
            <a:effectLst/>
          </p:spPr>
          <p:txBody>
            <a:bodyPr lIns="0" rIns="0" anchor="ctr">
              <a:noAutofit/>
            </a:bodyPr>
            <a:lstStyle/>
            <a:p>
              <a:endParaRPr lang="de-DE" dirty="0"/>
            </a:p>
          </p:txBody>
        </p:sp>
      </p:grpSp>
      <p:sp>
        <p:nvSpPr>
          <p:cNvPr id="102" name="Inhaltsplatzhalter 2">
            <a:extLst>
              <a:ext uri="{FF2B5EF4-FFF2-40B4-BE49-F238E27FC236}">
                <a16:creationId xmlns:a16="http://schemas.microsoft.com/office/drawing/2014/main" xmlns="" id="{FF23B28C-4EE4-4C3E-B16B-FABA9953E7B8}"/>
              </a:ext>
            </a:extLst>
          </p:cNvPr>
          <p:cNvSpPr txBox="1">
            <a:spLocks/>
          </p:cNvSpPr>
          <p:nvPr>
            <p:custDataLst>
              <p:tags r:id="rId12"/>
            </p:custDataLst>
          </p:nvPr>
        </p:nvSpPr>
        <p:spPr>
          <a:xfrm>
            <a:off x="7083424" y="2854325"/>
            <a:ext cx="1955997" cy="1727200"/>
          </a:xfrm>
          <a:prstGeom prst="rect">
            <a:avLst/>
          </a:prstGeom>
          <a:solidFill>
            <a:schemeClr val="bg1"/>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r>
              <a:rPr lang="de-DE" dirty="0"/>
              <a:t>∑ ~ 100 Mio. € p.a.</a:t>
            </a:r>
          </a:p>
        </p:txBody>
      </p:sp>
      <p:sp>
        <p:nvSpPr>
          <p:cNvPr id="34" name="Abgerundetes Rechteck 9">
            <a:extLst>
              <a:ext uri="{FF2B5EF4-FFF2-40B4-BE49-F238E27FC236}">
                <a16:creationId xmlns:a16="http://schemas.microsoft.com/office/drawing/2014/main" xmlns="" id="{A104B1BF-00BD-4386-B533-7149927C9082}"/>
              </a:ext>
            </a:extLst>
          </p:cNvPr>
          <p:cNvSpPr/>
          <p:nvPr>
            <p:custDataLst>
              <p:tags r:id="rId13"/>
            </p:custDataLst>
          </p:nvPr>
        </p:nvSpPr>
        <p:spPr>
          <a:xfrm>
            <a:off x="6491424" y="1105583"/>
            <a:ext cx="2094556" cy="24628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4000" tIns="18000" rIns="234000" bIns="0" rtlCol="0" anchor="ctr">
            <a:spAutoFit/>
          </a:bodyPr>
          <a:lstStyle/>
          <a:p>
            <a:pPr algn="r">
              <a:lnSpc>
                <a:spcPct val="85000"/>
              </a:lnSpc>
            </a:pPr>
            <a:r>
              <a:rPr lang="de-DE" sz="1200" b="1" cap="all" dirty="0">
                <a:solidFill>
                  <a:schemeClr val="tx1"/>
                </a:solidFill>
              </a:rPr>
              <a:t>Rechenskizze VRR</a:t>
            </a:r>
          </a:p>
        </p:txBody>
      </p:sp>
      <p:sp>
        <p:nvSpPr>
          <p:cNvPr id="7" name="Textfeld 6">
            <a:extLst>
              <a:ext uri="{FF2B5EF4-FFF2-40B4-BE49-F238E27FC236}">
                <a16:creationId xmlns:a16="http://schemas.microsoft.com/office/drawing/2014/main" xmlns="" id="{7760BD17-56C6-4BBB-B0DD-1D1D2C564178}"/>
              </a:ext>
            </a:extLst>
          </p:cNvPr>
          <p:cNvSpPr txBox="1"/>
          <p:nvPr/>
        </p:nvSpPr>
        <p:spPr>
          <a:xfrm>
            <a:off x="-3060848" y="1105583"/>
            <a:ext cx="1296144" cy="9694962"/>
          </a:xfrm>
          <a:prstGeom prst="rect">
            <a:avLst/>
          </a:prstGeom>
          <a:solidFill>
            <a:schemeClr val="tx2"/>
          </a:solidFill>
        </p:spPr>
        <p:txBody>
          <a:bodyPr wrap="square" rtlCol="0">
            <a:spAutoFit/>
          </a:bodyPr>
          <a:lstStyle/>
          <a:p>
            <a:r>
              <a:rPr lang="de-DE" sz="1600" dirty="0"/>
              <a:t>@Stefan Weigele: </a:t>
            </a:r>
          </a:p>
          <a:p>
            <a:endParaRPr lang="de-DE" sz="1600" dirty="0"/>
          </a:p>
          <a:p>
            <a:r>
              <a:rPr lang="de-DE" sz="1600" dirty="0"/>
              <a:t>Ich gehe davon aus, dass das der VRR als </a:t>
            </a:r>
            <a:r>
              <a:rPr lang="de-DE" sz="1600" dirty="0" err="1"/>
              <a:t>Projektbeispeil</a:t>
            </a:r>
            <a:r>
              <a:rPr lang="de-DE" sz="1600" dirty="0"/>
              <a:t> ist. Würde ja zu Gelsenkirchen als Vortragsort passen</a:t>
            </a:r>
            <a:r>
              <a:rPr lang="de-DE" sz="1600" dirty="0">
                <a:sym typeface="Wingdings" panose="05000000000000000000" pitchFamily="2" charset="2"/>
              </a:rPr>
              <a:t></a:t>
            </a:r>
          </a:p>
          <a:p>
            <a:endParaRPr lang="de-DE" sz="1600" dirty="0">
              <a:sym typeface="Wingdings" panose="05000000000000000000" pitchFamily="2" charset="2"/>
            </a:endParaRPr>
          </a:p>
          <a:p>
            <a:endParaRPr lang="de-DE" sz="1600" dirty="0">
              <a:sym typeface="Wingdings" panose="05000000000000000000" pitchFamily="2" charset="2"/>
            </a:endParaRPr>
          </a:p>
          <a:p>
            <a:r>
              <a:rPr lang="de-DE" sz="1600" b="1" dirty="0">
                <a:sym typeface="Wingdings" panose="05000000000000000000" pitchFamily="2" charset="2"/>
              </a:rPr>
              <a:t>Nebenbemerkung</a:t>
            </a:r>
            <a:r>
              <a:rPr lang="de-DE" sz="1600" dirty="0">
                <a:sym typeface="Wingdings" panose="05000000000000000000" pitchFamily="2" charset="2"/>
              </a:rPr>
              <a:t>: Interessant wären aus grüner Sicht auch die direkten Effekte der Instrumente auf Emissionen, auch wenn natürlich eine Finanzierung der ÖV erwartbar Emissionen reduziert (allerdings halt erst im zweiten Schritt) </a:t>
            </a:r>
            <a:endParaRPr lang="de-DE" sz="1600" dirty="0"/>
          </a:p>
        </p:txBody>
      </p:sp>
    </p:spTree>
    <p:extLst>
      <p:ext uri="{BB962C8B-B14F-4D97-AF65-F5344CB8AC3E}">
        <p14:creationId xmlns:p14="http://schemas.microsoft.com/office/powerpoint/2010/main" val="3360393975"/>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FDD99A54-21FF-434C-89AB-F76C7CBA00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150" name="think-cell Folie" r:id="rId5" imgW="530" imgH="531" progId="TCLayout.ActiveDocument.1">
                  <p:embed/>
                </p:oleObj>
              </mc:Choice>
              <mc:Fallback>
                <p:oleObj name="think-cell Folie" r:id="rId5" imgW="530" imgH="531" progId="TCLayout.ActiveDocument.1">
                  <p:embed/>
                  <p:pic>
                    <p:nvPicPr>
                      <p:cNvPr id="5" name="Objekt 4" hidden="1">
                        <a:extLst>
                          <a:ext uri="{FF2B5EF4-FFF2-40B4-BE49-F238E27FC236}">
                            <a16:creationId xmlns:a16="http://schemas.microsoft.com/office/drawing/2014/main" xmlns="" id="{FDD99A54-21FF-434C-89AB-F76C7CBA00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 id="{8D84530B-CEDB-4E7E-8FD5-2315A994D6FC}"/>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D39C3078-6784-44BD-B62A-78CC358B755A}"/>
              </a:ext>
            </a:extLst>
          </p:cNvPr>
          <p:cNvSpPr>
            <a:spLocks noGrp="1"/>
          </p:cNvSpPr>
          <p:nvPr>
            <p:ph type="title"/>
          </p:nvPr>
        </p:nvSpPr>
        <p:spPr/>
        <p:txBody>
          <a:bodyPr/>
          <a:lstStyle/>
          <a:p>
            <a:r>
              <a:rPr lang="de-DE" dirty="0"/>
              <a:t>Eine Analyse </a:t>
            </a:r>
            <a:r>
              <a:rPr lang="de-DE"/>
              <a:t>des Wiener </a:t>
            </a:r>
            <a:r>
              <a:rPr lang="de-DE" dirty="0"/>
              <a:t>Modells inklusive der Wiener Finanzierungsinstrumente finden Sie in unserer Studie</a:t>
            </a:r>
          </a:p>
        </p:txBody>
      </p:sp>
      <p:sp>
        <p:nvSpPr>
          <p:cNvPr id="4" name="Foliennummernplatzhalter 3">
            <a:extLst>
              <a:ext uri="{FF2B5EF4-FFF2-40B4-BE49-F238E27FC236}">
                <a16:creationId xmlns:a16="http://schemas.microsoft.com/office/drawing/2014/main" xmlns="" id="{C96E01E0-9613-405E-B574-CA6D081498DC}"/>
              </a:ext>
            </a:extLst>
          </p:cNvPr>
          <p:cNvSpPr>
            <a:spLocks noGrp="1"/>
          </p:cNvSpPr>
          <p:nvPr>
            <p:ph type="sldNum" sz="quarter" idx="11"/>
          </p:nvPr>
        </p:nvSpPr>
        <p:spPr/>
        <p:txBody>
          <a:bodyPr/>
          <a:lstStyle/>
          <a:p>
            <a:fld id="{CD21EFEB-933F-4F46-A5AD-B6372944D9E5}" type="slidenum">
              <a:rPr lang="de-DE" smtClean="0"/>
              <a:pPr/>
              <a:t>27</a:t>
            </a:fld>
            <a:endParaRPr lang="de-DE" dirty="0"/>
          </a:p>
        </p:txBody>
      </p:sp>
      <p:sp>
        <p:nvSpPr>
          <p:cNvPr id="8" name="Inhaltsplatzhalter 7">
            <a:extLst>
              <a:ext uri="{FF2B5EF4-FFF2-40B4-BE49-F238E27FC236}">
                <a16:creationId xmlns:a16="http://schemas.microsoft.com/office/drawing/2014/main" xmlns="" id="{A9538F81-CF77-4DBA-AA33-444CBD343428}"/>
              </a:ext>
            </a:extLst>
          </p:cNvPr>
          <p:cNvSpPr>
            <a:spLocks noGrp="1"/>
          </p:cNvSpPr>
          <p:nvPr>
            <p:ph idx="1"/>
          </p:nvPr>
        </p:nvSpPr>
        <p:spPr/>
        <p:txBody>
          <a:bodyPr/>
          <a:lstStyle/>
          <a:p>
            <a:r>
              <a:rPr lang="de-DE" dirty="0"/>
              <a:t>Das beste Angebot ist nicht der Preis</a:t>
            </a:r>
          </a:p>
        </p:txBody>
      </p:sp>
      <p:pic>
        <p:nvPicPr>
          <p:cNvPr id="9" name="Grafik 8">
            <a:extLst>
              <a:ext uri="{FF2B5EF4-FFF2-40B4-BE49-F238E27FC236}">
                <a16:creationId xmlns:a16="http://schemas.microsoft.com/office/drawing/2014/main" xmlns="" id="{5F742C69-7C1F-4825-BA7F-1493216F90FA}"/>
              </a:ext>
            </a:extLst>
          </p:cNvPr>
          <p:cNvPicPr>
            <a:picLocks noChangeAspect="1"/>
          </p:cNvPicPr>
          <p:nvPr/>
        </p:nvPicPr>
        <p:blipFill>
          <a:blip r:embed="rId7"/>
          <a:stretch>
            <a:fillRect/>
          </a:stretch>
        </p:blipFill>
        <p:spPr>
          <a:xfrm>
            <a:off x="827584" y="1628775"/>
            <a:ext cx="3178376" cy="4392613"/>
          </a:xfrm>
          <a:prstGeom prst="rect">
            <a:avLst/>
          </a:prstGeom>
        </p:spPr>
      </p:pic>
      <p:sp>
        <p:nvSpPr>
          <p:cNvPr id="10" name="Inhaltsplatzhalter 2">
            <a:extLst>
              <a:ext uri="{FF2B5EF4-FFF2-40B4-BE49-F238E27FC236}">
                <a16:creationId xmlns:a16="http://schemas.microsoft.com/office/drawing/2014/main" xmlns="" id="{BCA38975-F730-4EB5-A93B-4141DC689543}"/>
              </a:ext>
            </a:extLst>
          </p:cNvPr>
          <p:cNvSpPr txBox="1">
            <a:spLocks/>
          </p:cNvSpPr>
          <p:nvPr/>
        </p:nvSpPr>
        <p:spPr>
          <a:xfrm>
            <a:off x="5138042" y="3276795"/>
            <a:ext cx="3466208" cy="1096572"/>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latin typeface="Arial" panose="020B0604020202020204" pitchFamily="34" charset="0"/>
                <a:cs typeface="Arial" panose="020B0604020202020204" pitchFamily="34" charset="0"/>
                <a:sym typeface="Arial" panose="020B0604020202020204" pitchFamily="34" charset="0"/>
              </a:rPr>
              <a:t>Hier können Sie unsere ausführliche Studie kostenfrei bestellen: </a:t>
            </a:r>
            <a:r>
              <a:rPr lang="de-DE" sz="1400" dirty="0">
                <a:latin typeface="Arial" panose="020B0604020202020204" pitchFamily="34" charset="0"/>
                <a:cs typeface="Arial" panose="020B0604020202020204" pitchFamily="34" charset="0"/>
                <a:sym typeface="Arial" panose="020B0604020202020204" pitchFamily="34" charset="0"/>
                <a:hlinkClick r:id="rId8"/>
              </a:rPr>
              <a:t>https://civity.de/de/matters/das-beste-angebot-ist-nicht-der-preis/</a:t>
            </a:r>
            <a:endParaRPr lang="de-DE" sz="140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98837925"/>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6058" name="think-cell Folie" r:id="rId10" imgW="270" imgH="270" progId="TCLayout.ActiveDocument.1">
                  <p:embed/>
                </p:oleObj>
              </mc:Choice>
              <mc:Fallback>
                <p:oleObj name="think-cell Folie" r:id="rId10" imgW="270" imgH="270" progId="TCLayout.ActiveDocument.1">
                  <p:embed/>
                  <p:pic>
                    <p:nvPicPr>
                      <p:cNvPr id="2" name="Objekt 1" hidden="1"/>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3" name="Titel 2"/>
          <p:cNvSpPr>
            <a:spLocks noGrp="1"/>
          </p:cNvSpPr>
          <p:nvPr>
            <p:ph type="title"/>
            <p:custDataLst>
              <p:tags r:id="rId3"/>
            </p:custDataLst>
          </p:nvPr>
        </p:nvSpPr>
        <p:spPr/>
        <p:txBody>
          <a:bodyPr/>
          <a:lstStyle/>
          <a:p>
            <a:r>
              <a:rPr lang="de-DE" dirty="0"/>
              <a:t>Vielen Dank für Ihre Aufmerksamkeit!</a:t>
            </a:r>
          </a:p>
        </p:txBody>
      </p:sp>
      <p:sp>
        <p:nvSpPr>
          <p:cNvPr id="4" name="Foliennummernplatzhalter 3"/>
          <p:cNvSpPr>
            <a:spLocks noGrp="1"/>
          </p:cNvSpPr>
          <p:nvPr>
            <p:ph type="sldNum" sz="quarter" idx="12"/>
            <p:custDataLst>
              <p:tags r:id="rId4"/>
            </p:custDataLst>
          </p:nvPr>
        </p:nvSpPr>
        <p:spPr/>
        <p:txBody>
          <a:bodyPr/>
          <a:lstStyle/>
          <a:p>
            <a:fld id="{CD21EFEB-933F-4F46-A5AD-B6372944D9E5}" type="slidenum">
              <a:rPr lang="de-DE" smtClean="0"/>
              <a:pPr/>
              <a:t>28</a:t>
            </a:fld>
            <a:endParaRPr lang="de-DE"/>
          </a:p>
        </p:txBody>
      </p:sp>
      <p:sp>
        <p:nvSpPr>
          <p:cNvPr id="14" name="Inhaltsplatzhalter 2"/>
          <p:cNvSpPr txBox="1">
            <a:spLocks/>
          </p:cNvSpPr>
          <p:nvPr>
            <p:custDataLst>
              <p:tags r:id="rId5"/>
            </p:custDataLst>
          </p:nvPr>
        </p:nvSpPr>
        <p:spPr>
          <a:xfrm>
            <a:off x="458240" y="4076206"/>
            <a:ext cx="3059832" cy="1441026"/>
          </a:xfrm>
          <a:prstGeom prst="rect">
            <a:avLst/>
          </a:prstGeom>
          <a:noFill/>
          <a:ln>
            <a:solidFill>
              <a:srgbClr val="FFFFFF">
                <a:alpha val="0"/>
              </a:srgbClr>
            </a:solidFill>
          </a:ln>
        </p:spPr>
        <p:txBody>
          <a:bodyPr vert="horz" wrap="none"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400" dirty="0"/>
              <a:t>Große Reichenstraße 27</a:t>
            </a:r>
          </a:p>
          <a:p>
            <a:pPr lvl="1">
              <a:spcBef>
                <a:spcPts val="0"/>
              </a:spcBef>
            </a:pPr>
            <a:r>
              <a:rPr lang="de-DE" sz="1400" dirty="0"/>
              <a:t>20457 Hamburg</a:t>
            </a:r>
          </a:p>
          <a:p>
            <a:pPr lvl="1">
              <a:spcBef>
                <a:spcPts val="0"/>
              </a:spcBef>
            </a:pPr>
            <a:r>
              <a:rPr lang="de-DE" sz="1400" dirty="0"/>
              <a:t>Telefon: +49 (0)40 181 22 36 62</a:t>
            </a:r>
            <a:br>
              <a:rPr lang="de-DE" sz="1400" dirty="0"/>
            </a:br>
            <a:r>
              <a:rPr lang="de-DE" sz="1400" dirty="0"/>
              <a:t>Mobil: +49 (0)175 526 57 99</a:t>
            </a:r>
          </a:p>
          <a:p>
            <a:pPr lvl="1">
              <a:spcBef>
                <a:spcPts val="0"/>
              </a:spcBef>
            </a:pPr>
            <a:r>
              <a:rPr lang="de-DE" sz="1400" dirty="0"/>
              <a:t>Email: stefan.weigele@civity.de</a:t>
            </a:r>
          </a:p>
          <a:p>
            <a:pPr lvl="1">
              <a:spcBef>
                <a:spcPts val="0"/>
              </a:spcBef>
            </a:pPr>
            <a:r>
              <a:rPr lang="de-DE" sz="1400" dirty="0"/>
              <a:t>www.civity.de</a:t>
            </a:r>
          </a:p>
        </p:txBody>
      </p:sp>
      <p:sp>
        <p:nvSpPr>
          <p:cNvPr id="18" name="Inhaltsplatzhalter 2"/>
          <p:cNvSpPr txBox="1">
            <a:spLocks/>
          </p:cNvSpPr>
          <p:nvPr>
            <p:custDataLst>
              <p:tags r:id="rId6"/>
            </p:custDataLst>
          </p:nvPr>
        </p:nvSpPr>
        <p:spPr>
          <a:xfrm>
            <a:off x="458240" y="1772816"/>
            <a:ext cx="3059832" cy="288032"/>
          </a:xfrm>
          <a:prstGeom prst="rect">
            <a:avLst/>
          </a:prstGeom>
          <a:noFill/>
          <a:ln>
            <a:solidFill>
              <a:srgbClr val="FFFFFF">
                <a:alpha val="0"/>
              </a:srgbClr>
            </a:solidFill>
          </a:ln>
        </p:spPr>
        <p:txBody>
          <a:bodyPr vert="horz" wrap="none"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400" b="1" dirty="0"/>
              <a:t>Stefan Weigele</a:t>
            </a:r>
          </a:p>
        </p:txBody>
      </p:sp>
      <p:pic>
        <p:nvPicPr>
          <p:cNvPr id="12" name="Picture 2"/>
          <p:cNvPicPr>
            <a:picLocks noChangeAspect="1" noChangeArrowheads="1"/>
          </p:cNvPicPr>
          <p:nvPr>
            <p:custDataLst>
              <p:tags r:id="rId7"/>
            </p:custDataLst>
          </p:nvPr>
        </p:nvPicPr>
        <p:blipFill rotWithShape="1">
          <a:blip r:embed="rId12">
            <a:extLst>
              <a:ext uri="{28A0092B-C50C-407E-A947-70E740481C1C}">
                <a14:useLocalDpi xmlns:a14="http://schemas.microsoft.com/office/drawing/2010/main" val="0"/>
              </a:ext>
            </a:extLst>
          </a:blip>
          <a:srcRect t="4744" r="13853" b="8993"/>
          <a:stretch/>
        </p:blipFill>
        <p:spPr bwMode="auto">
          <a:xfrm>
            <a:off x="539750" y="2205037"/>
            <a:ext cx="2159727" cy="1725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Inhaltsplatzhalter 2"/>
          <p:cNvSpPr txBox="1">
            <a:spLocks/>
          </p:cNvSpPr>
          <p:nvPr/>
        </p:nvSpPr>
        <p:spPr>
          <a:xfrm>
            <a:off x="451758" y="1083558"/>
            <a:ext cx="7288594" cy="292316"/>
          </a:xfrm>
          <a:prstGeom prst="rect">
            <a:avLst/>
          </a:prstGeom>
        </p:spPr>
        <p:txBody>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r>
              <a:rPr lang="de-DE" dirty="0"/>
              <a:t>Ansprechpartner</a:t>
            </a:r>
          </a:p>
        </p:txBody>
      </p:sp>
      <p:sp>
        <p:nvSpPr>
          <p:cNvPr id="10" name="Inhaltsplatzhalter 2">
            <a:extLst>
              <a:ext uri="{FF2B5EF4-FFF2-40B4-BE49-F238E27FC236}">
                <a16:creationId xmlns:a16="http://schemas.microsoft.com/office/drawing/2014/main" xmlns="" id="{78FFCA08-84FA-40A2-9E4C-26144BC4E297}"/>
              </a:ext>
            </a:extLst>
          </p:cNvPr>
          <p:cNvSpPr txBox="1">
            <a:spLocks/>
          </p:cNvSpPr>
          <p:nvPr/>
        </p:nvSpPr>
        <p:spPr>
          <a:xfrm>
            <a:off x="4764171" y="4076206"/>
            <a:ext cx="3059832" cy="1441026"/>
          </a:xfrm>
          <a:prstGeom prst="rect">
            <a:avLst/>
          </a:prstGeom>
          <a:noFill/>
          <a:ln>
            <a:solidFill>
              <a:srgbClr val="FFFFFF">
                <a:alpha val="0"/>
              </a:srgbClr>
            </a:solidFill>
          </a:ln>
        </p:spPr>
        <p:txBody>
          <a:bodyPr vert="horz" wrap="none"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400" dirty="0"/>
              <a:t>Wallstraße 	27</a:t>
            </a:r>
          </a:p>
          <a:p>
            <a:pPr lvl="1">
              <a:spcBef>
                <a:spcPts val="0"/>
              </a:spcBef>
            </a:pPr>
            <a:r>
              <a:rPr lang="de-DE" sz="1400" dirty="0"/>
              <a:t>10179 Berlin-Mitte</a:t>
            </a:r>
          </a:p>
          <a:p>
            <a:pPr lvl="1">
              <a:spcBef>
                <a:spcPts val="0"/>
              </a:spcBef>
            </a:pPr>
            <a:r>
              <a:rPr lang="de-DE" sz="1400" dirty="0"/>
              <a:t>Telefon: +49 (0)30 688 135 22 30</a:t>
            </a:r>
          </a:p>
          <a:p>
            <a:pPr lvl="1">
              <a:spcBef>
                <a:spcPts val="0"/>
              </a:spcBef>
            </a:pPr>
            <a:r>
              <a:rPr lang="de-DE" sz="1400" dirty="0"/>
              <a:t>Mobil: +49 (0)163 756 05 00</a:t>
            </a:r>
          </a:p>
          <a:p>
            <a:pPr lvl="1">
              <a:spcBef>
                <a:spcPts val="0"/>
              </a:spcBef>
            </a:pPr>
            <a:r>
              <a:rPr lang="de-DE" sz="1400" dirty="0"/>
              <a:t>Email: julian.zuber@civity.de</a:t>
            </a:r>
          </a:p>
          <a:p>
            <a:pPr lvl="1">
              <a:spcBef>
                <a:spcPts val="0"/>
              </a:spcBef>
            </a:pPr>
            <a:r>
              <a:rPr lang="de-DE" sz="1400" dirty="0"/>
              <a:t>www.civity.de</a:t>
            </a:r>
          </a:p>
        </p:txBody>
      </p:sp>
      <p:sp>
        <p:nvSpPr>
          <p:cNvPr id="13" name="Inhaltsplatzhalter 2">
            <a:extLst>
              <a:ext uri="{FF2B5EF4-FFF2-40B4-BE49-F238E27FC236}">
                <a16:creationId xmlns:a16="http://schemas.microsoft.com/office/drawing/2014/main" xmlns="" id="{79E920A6-3C44-45EC-A762-CE8E829E1EC7}"/>
              </a:ext>
            </a:extLst>
          </p:cNvPr>
          <p:cNvSpPr txBox="1">
            <a:spLocks/>
          </p:cNvSpPr>
          <p:nvPr/>
        </p:nvSpPr>
        <p:spPr>
          <a:xfrm>
            <a:off x="4764171" y="1772816"/>
            <a:ext cx="3059832" cy="288032"/>
          </a:xfrm>
          <a:prstGeom prst="rect">
            <a:avLst/>
          </a:prstGeom>
          <a:noFill/>
          <a:ln>
            <a:solidFill>
              <a:srgbClr val="FFFFFF">
                <a:alpha val="0"/>
              </a:srgbClr>
            </a:solidFill>
          </a:ln>
        </p:spPr>
        <p:txBody>
          <a:bodyPr vert="horz" wrap="none"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400" b="1" dirty="0"/>
              <a:t>Dr. Julian Zuber</a:t>
            </a:r>
          </a:p>
        </p:txBody>
      </p:sp>
      <p:pic>
        <p:nvPicPr>
          <p:cNvPr id="16" name="Picture 3">
            <a:extLst>
              <a:ext uri="{FF2B5EF4-FFF2-40B4-BE49-F238E27FC236}">
                <a16:creationId xmlns:a16="http://schemas.microsoft.com/office/drawing/2014/main" xmlns="" id="{8BF44E54-2B84-4985-BD62-7CBA406A7B91}"/>
              </a:ext>
            </a:extLst>
          </p:cNvPr>
          <p:cNvPicPr/>
          <p:nvPr/>
        </p:nvPicPr>
        <p:blipFill>
          <a:blip r:embed="rId13" cstate="hqprint">
            <a:extLst>
              <a:ext uri="{28A0092B-C50C-407E-A947-70E740481C1C}">
                <a14:useLocalDpi xmlns:a14="http://schemas.microsoft.com/office/drawing/2010/main"/>
              </a:ext>
            </a:extLst>
          </a:blip>
          <a:stretch>
            <a:fillRect/>
          </a:stretch>
        </p:blipFill>
        <p:spPr bwMode="auto">
          <a:xfrm>
            <a:off x="4795797" y="2205037"/>
            <a:ext cx="2159727" cy="1725452"/>
          </a:xfrm>
          <a:prstGeom prst="rect">
            <a:avLst/>
          </a:prstGeom>
          <a:noFill/>
          <a:ln>
            <a:noFill/>
          </a:ln>
          <a:effectLst/>
        </p:spPr>
      </p:pic>
      <p:sp>
        <p:nvSpPr>
          <p:cNvPr id="15" name="Textfeld 14">
            <a:extLst>
              <a:ext uri="{FF2B5EF4-FFF2-40B4-BE49-F238E27FC236}">
                <a16:creationId xmlns:a16="http://schemas.microsoft.com/office/drawing/2014/main" xmlns="" id="{EF2279E6-3634-4BBB-8910-66B6086064D5}"/>
              </a:ext>
            </a:extLst>
          </p:cNvPr>
          <p:cNvSpPr txBox="1"/>
          <p:nvPr/>
        </p:nvSpPr>
        <p:spPr>
          <a:xfrm>
            <a:off x="-3060848" y="1105583"/>
            <a:ext cx="1296144" cy="2308324"/>
          </a:xfrm>
          <a:prstGeom prst="rect">
            <a:avLst/>
          </a:prstGeom>
          <a:solidFill>
            <a:schemeClr val="tx2"/>
          </a:solidFill>
        </p:spPr>
        <p:txBody>
          <a:bodyPr wrap="square" rtlCol="0">
            <a:spAutoFit/>
          </a:bodyPr>
          <a:lstStyle/>
          <a:p>
            <a:r>
              <a:rPr lang="de-DE" sz="1600" dirty="0"/>
              <a:t>@Stefan Weigele: </a:t>
            </a:r>
          </a:p>
          <a:p>
            <a:endParaRPr lang="de-DE" sz="1600" dirty="0"/>
          </a:p>
          <a:p>
            <a:endParaRPr lang="de-DE" sz="1600" dirty="0"/>
          </a:p>
          <a:p>
            <a:r>
              <a:rPr lang="de-DE" sz="1600" dirty="0"/>
              <a:t>Sollen hier noch  weitere Ansprechpartner drauf? </a:t>
            </a:r>
          </a:p>
        </p:txBody>
      </p:sp>
    </p:spTree>
    <p:extLst>
      <p:ext uri="{BB962C8B-B14F-4D97-AF65-F5344CB8AC3E}">
        <p14:creationId xmlns:p14="http://schemas.microsoft.com/office/powerpoint/2010/main" val="3928182334"/>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1"/>
          </p:nvPr>
        </p:nvSpPr>
        <p:spPr>
          <a:xfrm>
            <a:off x="519428" y="6295779"/>
            <a:ext cx="227626" cy="246221"/>
          </a:xfrm>
        </p:spPr>
        <p:txBody>
          <a:bodyPr/>
          <a:lstStyle/>
          <a:p>
            <a:fld id="{CD21EFEB-933F-4F46-A5AD-B6372944D9E5}" type="slidenum">
              <a:rPr lang="de-DE" smtClean="0"/>
              <a:pPr/>
              <a:t>29</a:t>
            </a:fld>
            <a:endParaRPr lang="de-DE"/>
          </a:p>
        </p:txBody>
      </p:sp>
      <p:pic>
        <p:nvPicPr>
          <p:cNvPr id="5" name="Bild 4" descr="becivity.j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39552" y="552449"/>
            <a:ext cx="8045080" cy="3394829"/>
          </a:xfrm>
          <a:prstGeom prst="rect">
            <a:avLst/>
          </a:prstGeom>
        </p:spPr>
      </p:pic>
    </p:spTree>
    <p:extLst>
      <p:ext uri="{BB962C8B-B14F-4D97-AF65-F5344CB8AC3E}">
        <p14:creationId xmlns:p14="http://schemas.microsoft.com/office/powerpoint/2010/main" val="2587234364"/>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9" name="Rectangle 2"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47915" name="think-cell Folie" r:id="rId7" imgW="0" imgH="0" progId="TCLayout.ActiveDocument.1">
                  <p:embed/>
                </p:oleObj>
              </mc:Choice>
              <mc:Fallback>
                <p:oleObj name="think-cell Folie" r:id="rId7" imgW="0" imgH="0" progId="TCLayout.ActiveDocument.1">
                  <p:embed/>
                  <p:pic>
                    <p:nvPicPr>
                      <p:cNvPr id="4099"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hteck 5" hidden="1">
            <a:extLst>
              <a:ext uri="{FF2B5EF4-FFF2-40B4-BE49-F238E27FC236}">
                <a16:creationId xmlns:a16="http://schemas.microsoft.com/office/drawing/2014/main" xmlns="" id="{0C07709D-A30F-4F89-9928-3F8088822D17}"/>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101" name="Rectangle 4"/>
          <p:cNvSpPr>
            <a:spLocks noGrp="1" noChangeArrowheads="1"/>
          </p:cNvSpPr>
          <p:nvPr>
            <p:ph type="title"/>
          </p:nvPr>
        </p:nvSpPr>
        <p:spPr bwMode="gray">
          <a:xfrm>
            <a:off x="446996" y="281196"/>
            <a:ext cx="8373476" cy="648072"/>
          </a:xfrm>
        </p:spPr>
        <p:txBody>
          <a:bodyPr/>
          <a:lstStyle/>
          <a:p>
            <a:r>
              <a:rPr lang="de-DE" dirty="0">
                <a:latin typeface="Arial" panose="020B0604020202020204" pitchFamily="34" charset="0"/>
                <a:cs typeface="Arial" panose="020B0604020202020204" pitchFamily="34" charset="0"/>
                <a:sym typeface="Arial" panose="020B0604020202020204" pitchFamily="34" charset="0"/>
              </a:rPr>
              <a:t>civity berät die führenden Unternehmen der Daseinsvorsorge in strategischen und organisatorischen Fragestellungen</a:t>
            </a:r>
            <a:endParaRPr lang="de-DE" altLang="de-DE" dirty="0">
              <a:latin typeface="Arial" panose="020B0604020202020204" pitchFamily="34" charset="0"/>
              <a:cs typeface="Arial" panose="020B0604020202020204" pitchFamily="34" charset="0"/>
              <a:sym typeface="Arial" panose="020B0604020202020204" pitchFamily="34" charset="0"/>
            </a:endParaRPr>
          </a:p>
        </p:txBody>
      </p:sp>
      <p:sp>
        <p:nvSpPr>
          <p:cNvPr id="4100" name="Rectangle 3"/>
          <p:cNvSpPr>
            <a:spLocks noGrp="1" noChangeArrowheads="1"/>
          </p:cNvSpPr>
          <p:nvPr>
            <p:ph idx="1"/>
          </p:nvPr>
        </p:nvSpPr>
        <p:spPr bwMode="gray">
          <a:extLst>
            <a:ext uri="{909E8E84-426E-40dd-AFC4-6F175D3DCCD1}">
              <a14:hiddenFill xmlns:a14="http://schemas.microsoft.com/office/drawing/2010/main">
                <a:solidFill>
                  <a:schemeClr val="bg1"/>
                </a:solidFill>
              </a14:hiddenFill>
            </a:ext>
          </a:extLst>
        </p:spPr>
        <p:txBody>
          <a:bodyPr/>
          <a:lstStyle/>
          <a:p>
            <a:pPr>
              <a:lnSpc>
                <a:spcPct val="95000"/>
              </a:lnSpc>
              <a:spcBef>
                <a:spcPct val="45000"/>
              </a:spcBef>
            </a:pPr>
            <a:r>
              <a:rPr lang="en-GB" altLang="de-DE" dirty="0" err="1"/>
              <a:t>Kunden</a:t>
            </a:r>
            <a:endParaRPr lang="en-GB" altLang="de-DE" dirty="0"/>
          </a:p>
        </p:txBody>
      </p:sp>
      <p:sp>
        <p:nvSpPr>
          <p:cNvPr id="2" name="Foliennummernplatzhalter 1"/>
          <p:cNvSpPr>
            <a:spLocks noGrp="1"/>
          </p:cNvSpPr>
          <p:nvPr>
            <p:ph type="sldNum" sz="quarter" idx="11"/>
          </p:nvPr>
        </p:nvSpPr>
        <p:spPr bwMode="gray">
          <a:xfrm>
            <a:off x="519428" y="6295779"/>
            <a:ext cx="113814" cy="246221"/>
          </a:xfrm>
        </p:spPr>
        <p:txBody>
          <a:bodyPr/>
          <a:lstStyle/>
          <a:p>
            <a:fld id="{CD21EFEB-933F-4F46-A5AD-B6372944D9E5}" type="slidenum">
              <a:rPr lang="de-DE" smtClean="0">
                <a:latin typeface="Arial" panose="020B0604020202020204" pitchFamily="34" charset="0"/>
                <a:cs typeface="Arial" panose="020B0604020202020204" pitchFamily="34" charset="0"/>
                <a:sym typeface="Arial" panose="020B0604020202020204" pitchFamily="34" charset="0"/>
              </a:rPr>
              <a:pPr/>
              <a:t>3</a:t>
            </a:fld>
            <a:endParaRPr lang="de-DE">
              <a:latin typeface="Arial" panose="020B0604020202020204" pitchFamily="34" charset="0"/>
              <a:cs typeface="Arial" panose="020B0604020202020204" pitchFamily="34" charset="0"/>
              <a:sym typeface="Arial" panose="020B0604020202020204" pitchFamily="34" charset="0"/>
            </a:endParaRPr>
          </a:p>
        </p:txBody>
      </p:sp>
      <p:sp>
        <p:nvSpPr>
          <p:cNvPr id="4106" name="AutoShape 14"/>
          <p:cNvSpPr>
            <a:spLocks noChangeAspect="1" noChangeArrowheads="1" noTextEdit="1"/>
          </p:cNvSpPr>
          <p:nvPr/>
        </p:nvSpPr>
        <p:spPr bwMode="gray">
          <a:xfrm>
            <a:off x="2724593" y="1336229"/>
            <a:ext cx="3487545" cy="1669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atin typeface="Arial" panose="020B0604020202020204" pitchFamily="34" charset="0"/>
              <a:cs typeface="Arial" panose="020B0604020202020204" pitchFamily="34" charset="0"/>
              <a:sym typeface="Arial" panose="020B0604020202020204" pitchFamily="34" charset="0"/>
            </a:endParaRPr>
          </a:p>
        </p:txBody>
      </p:sp>
      <p:sp>
        <p:nvSpPr>
          <p:cNvPr id="4" name="Rechteck 3"/>
          <p:cNvSpPr/>
          <p:nvPr/>
        </p:nvSpPr>
        <p:spPr bwMode="gray">
          <a:xfrm>
            <a:off x="539750" y="2364552"/>
            <a:ext cx="7461250" cy="115212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6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5" name="Rectangle 17"/>
          <p:cNvSpPr>
            <a:spLocks noChangeArrowheads="1"/>
          </p:cNvSpPr>
          <p:nvPr/>
        </p:nvSpPr>
        <p:spPr bwMode="gray">
          <a:xfrm>
            <a:off x="3849821" y="1830346"/>
            <a:ext cx="1444360" cy="215444"/>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100000"/>
              </a:lnSpc>
              <a:spcBef>
                <a:spcPct val="20000"/>
              </a:spcBef>
              <a:spcAft>
                <a:spcPct val="20000"/>
              </a:spcAft>
              <a:buClr>
                <a:srgbClr val="6696B5"/>
              </a:buClr>
              <a:buSzPct val="120000"/>
            </a:pPr>
            <a:r>
              <a:rPr lang="de-DE" altLang="de-DE" sz="1400" b="1" dirty="0">
                <a:solidFill>
                  <a:schemeClr val="tx1"/>
                </a:solidFill>
                <a:latin typeface="Arial" panose="020B0604020202020204" pitchFamily="34" charset="0"/>
                <a:cs typeface="Arial" panose="020B0604020202020204" pitchFamily="34" charset="0"/>
                <a:sym typeface="Arial" panose="020B0604020202020204" pitchFamily="34" charset="0"/>
              </a:rPr>
              <a:t>Mobilität</a:t>
            </a:r>
          </a:p>
        </p:txBody>
      </p:sp>
      <p:sp>
        <p:nvSpPr>
          <p:cNvPr id="26" name="Rectangle 18"/>
          <p:cNvSpPr>
            <a:spLocks noChangeArrowheads="1"/>
          </p:cNvSpPr>
          <p:nvPr/>
        </p:nvSpPr>
        <p:spPr bwMode="gray">
          <a:xfrm>
            <a:off x="5502957" y="1830346"/>
            <a:ext cx="1446257" cy="215444"/>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100000"/>
              </a:lnSpc>
            </a:pPr>
            <a:r>
              <a:rPr lang="de-DE" altLang="de-DE" sz="1400" b="1">
                <a:solidFill>
                  <a:srgbClr val="000000"/>
                </a:solidFill>
                <a:latin typeface="Arial" panose="020B0604020202020204" pitchFamily="34" charset="0"/>
                <a:cs typeface="Arial" panose="020B0604020202020204" pitchFamily="34" charset="0"/>
                <a:sym typeface="Arial" panose="020B0604020202020204" pitchFamily="34" charset="0"/>
              </a:rPr>
              <a:t>Versorgung</a:t>
            </a:r>
          </a:p>
        </p:txBody>
      </p:sp>
      <p:sp>
        <p:nvSpPr>
          <p:cNvPr id="28" name="Rectangle 19"/>
          <p:cNvSpPr>
            <a:spLocks noChangeArrowheads="1"/>
          </p:cNvSpPr>
          <p:nvPr/>
        </p:nvSpPr>
        <p:spPr bwMode="gray">
          <a:xfrm>
            <a:off x="539750" y="1614903"/>
            <a:ext cx="1446257" cy="430887"/>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100000"/>
              </a:lnSpc>
            </a:pPr>
            <a:r>
              <a:rPr lang="de-DE" altLang="de-DE" sz="1400" b="1">
                <a:solidFill>
                  <a:srgbClr val="000000"/>
                </a:solidFill>
                <a:latin typeface="Arial" panose="020B0604020202020204" pitchFamily="34" charset="0"/>
                <a:cs typeface="Arial" panose="020B0604020202020204" pitchFamily="34" charset="0"/>
                <a:sym typeface="Arial" panose="020B0604020202020204" pitchFamily="34" charset="0"/>
              </a:rPr>
              <a:t>Öffentlicher Verkehr</a:t>
            </a:r>
          </a:p>
        </p:txBody>
      </p:sp>
      <p:sp>
        <p:nvSpPr>
          <p:cNvPr id="30" name="Rectangle 20"/>
          <p:cNvSpPr>
            <a:spLocks noChangeArrowheads="1"/>
          </p:cNvSpPr>
          <p:nvPr/>
        </p:nvSpPr>
        <p:spPr bwMode="gray">
          <a:xfrm>
            <a:off x="7157993" y="1830346"/>
            <a:ext cx="1446257" cy="215444"/>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100000"/>
              </a:lnSpc>
            </a:pPr>
            <a:r>
              <a:rPr lang="de-DE" altLang="de-DE" sz="1400" b="1" dirty="0">
                <a:solidFill>
                  <a:srgbClr val="000000"/>
                </a:solidFill>
                <a:latin typeface="Arial" panose="020B0604020202020204" pitchFamily="34" charset="0"/>
                <a:cs typeface="Arial" panose="020B0604020202020204" pitchFamily="34" charset="0"/>
                <a:sym typeface="Arial" panose="020B0604020202020204" pitchFamily="34" charset="0"/>
              </a:rPr>
              <a:t>Entsorgung</a:t>
            </a:r>
          </a:p>
        </p:txBody>
      </p:sp>
      <p:sp>
        <p:nvSpPr>
          <p:cNvPr id="31" name="Rectangle 21"/>
          <p:cNvSpPr>
            <a:spLocks noChangeArrowheads="1"/>
          </p:cNvSpPr>
          <p:nvPr/>
        </p:nvSpPr>
        <p:spPr bwMode="gray">
          <a:xfrm>
            <a:off x="2192887" y="1851891"/>
            <a:ext cx="1446257" cy="193899"/>
          </a:xfrm>
          <a:prstGeom prst="rect">
            <a:avLst/>
          </a:prstGeom>
          <a:noFill/>
          <a:ln w="3175" algn="ctr">
            <a:noFill/>
            <a:miter lim="800000"/>
            <a:headEnd/>
            <a:tailEnd/>
          </a:ln>
          <a:effectLst/>
        </p:spPr>
        <p:txBody>
          <a:bodyPr lIns="0" tIns="0" rIns="0" bIns="0" anchor="b">
            <a:spAutoFit/>
          </a:bodyPr>
          <a:lstStyle>
            <a:lvl1pPr indent="1588" eaLnBrk="0" hangingPunct="0">
              <a:defRPr sz="1200">
                <a:solidFill>
                  <a:schemeClr val="tx2"/>
                </a:solidFill>
                <a:latin typeface="Verdana" pitchFamily="34" charset="0"/>
              </a:defRPr>
            </a:lvl1pPr>
            <a:lvl2pPr marL="742950" indent="-285750" eaLnBrk="0" hangingPunct="0">
              <a:defRPr sz="1200">
                <a:solidFill>
                  <a:schemeClr val="tx2"/>
                </a:solidFill>
                <a:latin typeface="Verdana" pitchFamily="34" charset="0"/>
              </a:defRPr>
            </a:lvl2pPr>
            <a:lvl3pPr marL="1143000" indent="-228600" eaLnBrk="0" hangingPunct="0">
              <a:defRPr sz="1200">
                <a:solidFill>
                  <a:schemeClr val="tx2"/>
                </a:solidFill>
                <a:latin typeface="Verdana" pitchFamily="34" charset="0"/>
              </a:defRPr>
            </a:lvl3pPr>
            <a:lvl4pPr marL="1600200" indent="-228600" eaLnBrk="0" hangingPunct="0">
              <a:defRPr sz="1200">
                <a:solidFill>
                  <a:schemeClr val="tx2"/>
                </a:solidFill>
                <a:latin typeface="Verdana" pitchFamily="34" charset="0"/>
              </a:defRPr>
            </a:lvl4pPr>
            <a:lvl5pPr marL="2057400" indent="-228600" eaLnBrk="0" hangingPunct="0">
              <a:defRPr sz="1200">
                <a:solidFill>
                  <a:schemeClr val="tx2"/>
                </a:solidFill>
                <a:latin typeface="Verdana" pitchFamily="34" charset="0"/>
              </a:defRPr>
            </a:lvl5pPr>
            <a:lvl6pPr marL="25146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6pPr>
            <a:lvl7pPr marL="29718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7pPr>
            <a:lvl8pPr marL="34290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8pPr>
            <a:lvl9pPr marL="3886200" indent="-228600" eaLnBrk="0" fontAlgn="base" hangingPunct="0">
              <a:lnSpc>
                <a:spcPct val="110000"/>
              </a:lnSpc>
              <a:spcBef>
                <a:spcPct val="50000"/>
              </a:spcBef>
              <a:spcAft>
                <a:spcPct val="0"/>
              </a:spcAft>
              <a:buClr>
                <a:schemeClr val="tx2"/>
              </a:buClr>
              <a:buFont typeface="Wingdings" pitchFamily="2" charset="2"/>
              <a:defRPr sz="1200">
                <a:solidFill>
                  <a:schemeClr val="tx2"/>
                </a:solidFill>
                <a:latin typeface="Verdana" pitchFamily="34" charset="0"/>
              </a:defRPr>
            </a:lvl9pPr>
          </a:lstStyle>
          <a:p>
            <a:pPr algn="ctr" eaLnBrk="1" hangingPunct="1">
              <a:lnSpc>
                <a:spcPct val="90000"/>
              </a:lnSpc>
              <a:spcBef>
                <a:spcPct val="20000"/>
              </a:spcBef>
              <a:spcAft>
                <a:spcPct val="20000"/>
              </a:spcAft>
              <a:buClr>
                <a:srgbClr val="6696B5"/>
              </a:buClr>
              <a:buSzPct val="120000"/>
            </a:pPr>
            <a:r>
              <a:rPr lang="de-DE" altLang="de-DE" sz="1400" b="1">
                <a:solidFill>
                  <a:schemeClr val="tx1"/>
                </a:solidFill>
                <a:latin typeface="Arial" panose="020B0604020202020204" pitchFamily="34" charset="0"/>
                <a:cs typeface="Arial" panose="020B0604020202020204" pitchFamily="34" charset="0"/>
                <a:sym typeface="Arial" panose="020B0604020202020204" pitchFamily="34" charset="0"/>
              </a:rPr>
              <a:t>Eisenbahn</a:t>
            </a:r>
          </a:p>
        </p:txBody>
      </p:sp>
      <p:sp>
        <p:nvSpPr>
          <p:cNvPr id="5" name="Freihandform 4"/>
          <p:cNvSpPr/>
          <p:nvPr/>
        </p:nvSpPr>
        <p:spPr bwMode="gray">
          <a:xfrm>
            <a:off x="540653" y="2114551"/>
            <a:ext cx="8058150" cy="3906838"/>
          </a:xfrm>
          <a:custGeom>
            <a:avLst/>
            <a:gdLst>
              <a:gd name="connsiteX0" fmla="*/ 0 w 8058150"/>
              <a:gd name="connsiteY0" fmla="*/ 3933825 h 3933825"/>
              <a:gd name="connsiteX1" fmla="*/ 0 w 8058150"/>
              <a:gd name="connsiteY1" fmla="*/ 0 h 3933825"/>
              <a:gd name="connsiteX2" fmla="*/ 8058150 w 8058150"/>
              <a:gd name="connsiteY2" fmla="*/ 0 h 3933825"/>
            </a:gdLst>
            <a:ahLst/>
            <a:cxnLst>
              <a:cxn ang="0">
                <a:pos x="connsiteX0" y="connsiteY0"/>
              </a:cxn>
              <a:cxn ang="0">
                <a:pos x="connsiteX1" y="connsiteY1"/>
              </a:cxn>
              <a:cxn ang="0">
                <a:pos x="connsiteX2" y="connsiteY2"/>
              </a:cxn>
            </a:cxnLst>
            <a:rect l="l" t="t" r="r" b="b"/>
            <a:pathLst>
              <a:path w="8058150" h="3933825">
                <a:moveTo>
                  <a:pt x="0" y="3933825"/>
                </a:moveTo>
                <a:lnTo>
                  <a:pt x="0" y="0"/>
                </a:lnTo>
                <a:lnTo>
                  <a:pt x="8058150" y="0"/>
                </a:lnTo>
              </a:path>
            </a:pathLst>
          </a:custGeom>
          <a:noFill/>
          <a:ln w="19050">
            <a:solidFill>
              <a:schemeClr val="accent6"/>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pic>
        <p:nvPicPr>
          <p:cNvPr id="27" name="Picture 4"/>
          <p:cNvPicPr>
            <a:picLocks noChangeAspect="1" noChangeArrowheads="1"/>
          </p:cNvPicPr>
          <p:nvPr/>
        </p:nvPicPr>
        <p:blipFill rotWithShape="1">
          <a:blip r:embed="rId8" cstate="screen">
            <a:clrChange>
              <a:clrFrom>
                <a:srgbClr val="F9F9F9"/>
              </a:clrFrom>
              <a:clrTo>
                <a:srgbClr val="F9F9F9">
                  <a:alpha val="0"/>
                </a:srgbClr>
              </a:clrTo>
            </a:clrChange>
            <a:extLst>
              <a:ext uri="{28A0092B-C50C-407E-A947-70E740481C1C}">
                <a14:useLocalDpi xmlns:a14="http://schemas.microsoft.com/office/drawing/2010/main"/>
              </a:ext>
            </a:extLst>
          </a:blip>
          <a:srcRect l="2622" t="3943" r="2981" b="4960"/>
          <a:stretch/>
        </p:blipFill>
        <p:spPr bwMode="auto">
          <a:xfrm>
            <a:off x="2699644" y="5679033"/>
            <a:ext cx="529103" cy="354617"/>
          </a:xfrm>
          <a:prstGeom prst="rect">
            <a:avLst/>
          </a:prstGeom>
          <a:noFill/>
          <a:ln w="9525">
            <a:solidFill>
              <a:srgbClr val="FFFFFF">
                <a:alpha val="0"/>
              </a:srgb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3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01045" y="4010374"/>
            <a:ext cx="1207162" cy="197051"/>
          </a:xfrm>
          <a:prstGeom prst="rect">
            <a:avLst/>
          </a:prstGeom>
          <a:noFill/>
          <a:ln w="9525">
            <a:solidFill>
              <a:srgbClr val="FFFFFF">
                <a:alpha val="0"/>
              </a:srgbClr>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Grafik 4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308160" y="5328846"/>
            <a:ext cx="1312070" cy="136066"/>
          </a:xfrm>
          <a:prstGeom prst="rect">
            <a:avLst/>
          </a:prstGeom>
          <a:ln>
            <a:solidFill>
              <a:srgbClr val="FFFFFF">
                <a:alpha val="0"/>
              </a:srgbClr>
            </a:solidFill>
          </a:ln>
        </p:spPr>
      </p:pic>
      <p:pic>
        <p:nvPicPr>
          <p:cNvPr id="44" name="Grafik 4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725828" y="4424154"/>
            <a:ext cx="476735" cy="159846"/>
          </a:xfrm>
          <a:prstGeom prst="rect">
            <a:avLst/>
          </a:prstGeom>
        </p:spPr>
      </p:pic>
      <p:pic>
        <p:nvPicPr>
          <p:cNvPr id="45" name="Picture 12" descr="http://www.iqst.de/cms/fileadmin/templates/img/sncf-logo.gif"/>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660948" y="4798120"/>
            <a:ext cx="606494" cy="316606"/>
          </a:xfrm>
          <a:prstGeom prst="rect">
            <a:avLst/>
          </a:prstGeom>
          <a:noFill/>
          <a:ln>
            <a:solidFill>
              <a:srgbClr val="FFFFFF">
                <a:alpha val="0"/>
              </a:srgbClr>
            </a:solidFill>
          </a:ln>
          <a:extLst>
            <a:ext uri="{909E8E84-426E-40dd-AFC4-6F175D3DCCD1}">
              <a14:hiddenFill xmlns:a14="http://schemas.microsoft.com/office/drawing/2010/main">
                <a:solidFill>
                  <a:srgbClr val="FFFFFF"/>
                </a:solidFill>
              </a14:hiddenFill>
            </a:ext>
          </a:extLst>
        </p:spPr>
      </p:pic>
      <p:pic>
        <p:nvPicPr>
          <p:cNvPr id="47" name="Grafik 46"/>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735363" y="3800022"/>
            <a:ext cx="457665" cy="410012"/>
          </a:xfrm>
          <a:prstGeom prst="rect">
            <a:avLst/>
          </a:prstGeom>
        </p:spPr>
      </p:pic>
      <p:pic>
        <p:nvPicPr>
          <p:cNvPr id="51" name="Grafik 50"/>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7524001" y="4337049"/>
            <a:ext cx="670158" cy="444334"/>
          </a:xfrm>
          <a:prstGeom prst="rect">
            <a:avLst/>
          </a:prstGeom>
        </p:spPr>
      </p:pic>
      <p:pic>
        <p:nvPicPr>
          <p:cNvPr id="52" name="Grafik 5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373308" y="5022128"/>
            <a:ext cx="971544" cy="314133"/>
          </a:xfrm>
          <a:prstGeom prst="rect">
            <a:avLst/>
          </a:prstGeom>
        </p:spPr>
      </p:pic>
      <p:pic>
        <p:nvPicPr>
          <p:cNvPr id="53" name="Grafik 5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490626" y="3801540"/>
            <a:ext cx="736908" cy="294764"/>
          </a:xfrm>
          <a:prstGeom prst="rect">
            <a:avLst/>
          </a:prstGeom>
        </p:spPr>
      </p:pic>
      <p:pic>
        <p:nvPicPr>
          <p:cNvPr id="54" name="Grafik 53"/>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640097" y="5577007"/>
            <a:ext cx="437966" cy="437966"/>
          </a:xfrm>
          <a:prstGeom prst="rect">
            <a:avLst/>
          </a:prstGeom>
        </p:spPr>
      </p:pic>
      <p:pic>
        <p:nvPicPr>
          <p:cNvPr id="55" name="Grafik 54"/>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831986" y="5337545"/>
            <a:ext cx="909675" cy="501458"/>
          </a:xfrm>
          <a:prstGeom prst="rect">
            <a:avLst/>
          </a:prstGeom>
        </p:spPr>
      </p:pic>
      <p:pic>
        <p:nvPicPr>
          <p:cNvPr id="56" name="Grafik 55"/>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561283" y="4905183"/>
            <a:ext cx="1486645" cy="353078"/>
          </a:xfrm>
          <a:prstGeom prst="rect">
            <a:avLst/>
          </a:prstGeom>
        </p:spPr>
      </p:pic>
      <p:pic>
        <p:nvPicPr>
          <p:cNvPr id="57" name="Picture 7" descr="bdew_signet_4c"/>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5918481" y="3921831"/>
            <a:ext cx="736685" cy="383889"/>
          </a:xfrm>
          <a:prstGeom prst="rect">
            <a:avLst/>
          </a:prstGeom>
          <a:noFill/>
          <a:ln>
            <a:solidFill>
              <a:srgbClr val="FFFFFF">
                <a:alpha val="0"/>
              </a:srgbClr>
            </a:solidFill>
          </a:ln>
          <a:extLst>
            <a:ext uri="{909E8E84-426E-40dd-AFC4-6F175D3DCCD1}">
              <a14:hiddenFill xmlns:a14="http://schemas.microsoft.com/office/drawing/2010/main">
                <a:solidFill>
                  <a:srgbClr val="FFFFFF"/>
                </a:solidFill>
              </a14:hiddenFill>
            </a:ext>
          </a:extLst>
        </p:spPr>
      </p:pic>
      <p:pic>
        <p:nvPicPr>
          <p:cNvPr id="61" name="Picture 31"/>
          <p:cNvPicPr>
            <a:picLocks noChangeAspect="1" noChangeArrowheads="1"/>
          </p:cNvPicPr>
          <p:nvPr>
            <p:custDataLst>
              <p:tags r:id="rId4"/>
            </p:custDataLst>
          </p:nvPr>
        </p:nvPicPr>
        <p:blipFill>
          <a:blip r:embed="rId21" cstate="screen">
            <a:extLst>
              <a:ext uri="{28A0092B-C50C-407E-A947-70E740481C1C}">
                <a14:useLocalDpi xmlns:a14="http://schemas.microsoft.com/office/drawing/2010/main"/>
              </a:ext>
            </a:extLst>
          </a:blip>
          <a:srcRect/>
          <a:stretch>
            <a:fillRect/>
          </a:stretch>
        </p:blipFill>
        <p:spPr bwMode="auto">
          <a:xfrm>
            <a:off x="741858" y="5732741"/>
            <a:ext cx="1125537" cy="304800"/>
          </a:xfrm>
          <a:prstGeom prst="rect">
            <a:avLst/>
          </a:prstGeom>
          <a:noFill/>
          <a:ln w="9525">
            <a:solidFill>
              <a:srgbClr val="FFFFFF">
                <a:alpha val="0"/>
              </a:srgb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900" name="Picture 28" descr="https://pbs.twimg.com/profile_images/666952128108363777/FL78g9n-.png"/>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a:stretch/>
        </p:blipFill>
        <p:spPr bwMode="auto">
          <a:xfrm>
            <a:off x="3987688" y="4386593"/>
            <a:ext cx="1143108" cy="346147"/>
          </a:xfrm>
          <a:prstGeom prst="rect">
            <a:avLst/>
          </a:prstGeom>
          <a:noFill/>
          <a:extLst>
            <a:ext uri="{909E8E84-426E-40dd-AFC4-6F175D3DCCD1}">
              <a14:hiddenFill xmlns:a14="http://schemas.microsoft.com/office/drawing/2010/main">
                <a:solidFill>
                  <a:srgbClr val="FFFFFF"/>
                </a:solidFill>
              </a14:hiddenFill>
            </a:ext>
          </a:extLst>
        </p:spPr>
      </p:pic>
      <p:pic>
        <p:nvPicPr>
          <p:cNvPr id="126983" name="Picture 7" descr="https://upload.wikimedia.org/wikipedia/de/thumb/9/94/Berliner-wasserbetriebe.svg/2000px-Berliner-wasserbetriebe.svg.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5606041" y="4458535"/>
            <a:ext cx="1199116" cy="370664"/>
          </a:xfrm>
          <a:prstGeom prst="rect">
            <a:avLst/>
          </a:prstGeom>
          <a:noFill/>
          <a:extLst>
            <a:ext uri="{909E8E84-426E-40dd-AFC4-6F175D3DCCD1}">
              <a14:hiddenFill xmlns:a14="http://schemas.microsoft.com/office/drawing/2010/main">
                <a:solidFill>
                  <a:srgbClr val="FFFFFF"/>
                </a:solidFill>
              </a14:hiddenFill>
            </a:ext>
          </a:extLst>
        </p:spPr>
      </p:pic>
      <p:pic>
        <p:nvPicPr>
          <p:cNvPr id="166914" name="Picture 2" descr="https://gett.com/wp-content/uploads/2015/11/logo.png"/>
          <p:cNvPicPr>
            <a:picLocks noChangeAspect="1" noChangeArrowheads="1"/>
          </p:cNvPicPr>
          <p:nvPr/>
        </p:nvPicPr>
        <p:blipFill>
          <a:blip r:embed="rId24">
            <a:extLst>
              <a:ext uri="{28A0092B-C50C-407E-A947-70E740481C1C}">
                <a14:useLocalDpi xmlns:a14="http://schemas.microsoft.com/office/drawing/2010/main"/>
              </a:ext>
            </a:extLst>
          </a:blip>
          <a:srcRect/>
          <a:stretch>
            <a:fillRect/>
          </a:stretch>
        </p:blipFill>
        <p:spPr bwMode="auto">
          <a:xfrm>
            <a:off x="4170954" y="5644254"/>
            <a:ext cx="776577" cy="37703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6"/>
          <p:cNvPicPr>
            <a:picLocks noChangeArrowheads="1"/>
          </p:cNvPicPr>
          <p:nvPr/>
        </p:nvPicPr>
        <p:blipFill rotWithShape="1">
          <a:blip r:embed="rId25" cstate="print">
            <a:extLst>
              <a:ext uri="{BEBA8EAE-BF5A-486C-A8C5-ECC9F3942E4B}">
                <a14:imgProps xmlns:a14="http://schemas.microsoft.com/office/drawing/2010/main">
                  <a14:imgLayer r:embed="rId26">
                    <a14:imgEffect>
                      <a14:saturation sat="0"/>
                    </a14:imgEffect>
                  </a14:imgLayer>
                </a14:imgProps>
              </a:ext>
              <a:ext uri="{28A0092B-C50C-407E-A947-70E740481C1C}">
                <a14:useLocalDpi xmlns:a14="http://schemas.microsoft.com/office/drawing/2010/main"/>
              </a:ext>
            </a:extLst>
          </a:blip>
          <a:srcRect/>
          <a:stretch/>
        </p:blipFill>
        <p:spPr bwMode="gray">
          <a:xfrm>
            <a:off x="2246939"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48" name="Picture 22"/>
          <p:cNvPicPr>
            <a:picLocks noChangeArrowheads="1"/>
          </p:cNvPicPr>
          <p:nvPr/>
        </p:nvPicPr>
        <p:blipFill rotWithShape="1">
          <a:blip r:embed="rId27" cstate="print">
            <a:extLst>
              <a:ext uri="{BEBA8EAE-BF5A-486C-A8C5-ECC9F3942E4B}">
                <a14:imgProps xmlns:a14="http://schemas.microsoft.com/office/drawing/2010/main">
                  <a14:imgLayer r:embed="rId28">
                    <a14:imgEffect>
                      <a14:saturation sat="0"/>
                    </a14:imgEffect>
                  </a14:imgLayer>
                </a14:imgProps>
              </a:ext>
              <a:ext uri="{28A0092B-C50C-407E-A947-70E740481C1C}">
                <a14:useLocalDpi xmlns:a14="http://schemas.microsoft.com/office/drawing/2010/main"/>
              </a:ext>
            </a:extLst>
          </a:blip>
          <a:srcRect/>
          <a:stretch/>
        </p:blipFill>
        <p:spPr bwMode="gray">
          <a:xfrm>
            <a:off x="7157993"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49" name="Picture 24"/>
          <p:cNvPicPr>
            <a:picLocks noChangeArrowheads="1"/>
          </p:cNvPicPr>
          <p:nvPr/>
        </p:nvPicPr>
        <p:blipFill rotWithShape="1">
          <a:blip r:embed="rId29" cstate="print">
            <a:extLst>
              <a:ext uri="{BEBA8EAE-BF5A-486C-A8C5-ECC9F3942E4B}">
                <a14:imgProps xmlns:a14="http://schemas.microsoft.com/office/drawing/2010/main">
                  <a14:imgLayer r:embed="rId30">
                    <a14:imgEffect>
                      <a14:saturation sat="0"/>
                    </a14:imgEffect>
                  </a14:imgLayer>
                </a14:imgProps>
              </a:ext>
              <a:ext uri="{28A0092B-C50C-407E-A947-70E740481C1C}">
                <a14:useLocalDpi xmlns:a14="http://schemas.microsoft.com/office/drawing/2010/main"/>
              </a:ext>
            </a:extLst>
          </a:blip>
          <a:srcRect b="-1"/>
          <a:stretch/>
        </p:blipFill>
        <p:spPr bwMode="gray">
          <a:xfrm>
            <a:off x="5521075"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50" name="Picture 23" descr="Oberleitungsbus"/>
          <p:cNvPicPr>
            <a:picLocks noChangeArrowheads="1"/>
          </p:cNvPicPr>
          <p:nvPr/>
        </p:nvPicPr>
        <p:blipFill rotWithShape="1">
          <a:blip r:embed="rId31" cstate="print">
            <a:extLst>
              <a:ext uri="{BEBA8EAE-BF5A-486C-A8C5-ECC9F3942E4B}">
                <a14:imgProps xmlns:a14="http://schemas.microsoft.com/office/drawing/2010/main">
                  <a14:imgLayer r:embed="rId32">
                    <a14:imgEffect>
                      <a14:saturation sat="0"/>
                    </a14:imgEffect>
                  </a14:imgLayer>
                </a14:imgProps>
              </a:ext>
              <a:ext uri="{28A0092B-C50C-407E-A947-70E740481C1C}">
                <a14:useLocalDpi xmlns:a14="http://schemas.microsoft.com/office/drawing/2010/main"/>
              </a:ext>
            </a:extLst>
          </a:blip>
          <a:srcRect b="-1"/>
          <a:stretch/>
        </p:blipFill>
        <p:spPr bwMode="gray">
          <a:xfrm>
            <a:off x="610022"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43015" name="Picture 7" descr="Logo"/>
          <p:cNvPicPr>
            <a:picLocks noChangeAspect="1" noChangeArrowheads="1"/>
          </p:cNvPicPr>
          <p:nvPr/>
        </p:nvPicPr>
        <p:blipFill>
          <a:blip r:embed="rId33">
            <a:extLst>
              <a:ext uri="{28A0092B-C50C-407E-A947-70E740481C1C}">
                <a14:useLocalDpi xmlns:a14="http://schemas.microsoft.com/office/drawing/2010/main"/>
              </a:ext>
            </a:extLst>
          </a:blip>
          <a:srcRect/>
          <a:stretch>
            <a:fillRect/>
          </a:stretch>
        </p:blipFill>
        <p:spPr bwMode="auto">
          <a:xfrm>
            <a:off x="3945680" y="5328846"/>
            <a:ext cx="1208875" cy="149901"/>
          </a:xfrm>
          <a:prstGeom prst="rect">
            <a:avLst/>
          </a:prstGeom>
          <a:noFill/>
          <a:extLst>
            <a:ext uri="{909E8E84-426E-40dd-AFC4-6F175D3DCCD1}">
              <a14:hiddenFill xmlns:a14="http://schemas.microsoft.com/office/drawing/2010/main">
                <a:solidFill>
                  <a:srgbClr val="FFFFFF"/>
                </a:solidFill>
              </a14:hiddenFill>
            </a:ext>
          </a:extLst>
        </p:spPr>
      </p:pic>
      <p:pic>
        <p:nvPicPr>
          <p:cNvPr id="43017" name="Picture 9" descr="https://upload.wikimedia.org/wikipedia/commons/thumb/2/2b/Logo_ZVV.svg/200px-Logo_ZVV.svg.png"/>
          <p:cNvPicPr>
            <a:picLocks noChangeAspect="1" noChangeArrowheads="1"/>
          </p:cNvPicPr>
          <p:nvPr/>
        </p:nvPicPr>
        <p:blipFill>
          <a:blip r:embed="rId34">
            <a:extLst>
              <a:ext uri="{28A0092B-C50C-407E-A947-70E740481C1C}">
                <a14:useLocalDpi xmlns:a14="http://schemas.microsoft.com/office/drawing/2010/main"/>
              </a:ext>
            </a:extLst>
          </a:blip>
          <a:srcRect/>
          <a:stretch>
            <a:fillRect/>
          </a:stretch>
        </p:blipFill>
        <p:spPr bwMode="auto">
          <a:xfrm>
            <a:off x="683223" y="4832688"/>
            <a:ext cx="968896" cy="319736"/>
          </a:xfrm>
          <a:prstGeom prst="rect">
            <a:avLst/>
          </a:prstGeom>
          <a:noFill/>
          <a:extLst>
            <a:ext uri="{909E8E84-426E-40dd-AFC4-6F175D3DCCD1}">
              <a14:hiddenFill xmlns:a14="http://schemas.microsoft.com/office/drawing/2010/main">
                <a:solidFill>
                  <a:srgbClr val="FFFFFF"/>
                </a:solidFill>
              </a14:hiddenFill>
            </a:ext>
          </a:extLst>
        </p:spPr>
      </p:pic>
      <p:pic>
        <p:nvPicPr>
          <p:cNvPr id="43019" name="Picture 11" descr="Logo von Movia"/>
          <p:cNvPicPr>
            <a:picLocks noChangeAspect="1" noChangeArrowheads="1"/>
          </p:cNvPicPr>
          <p:nvPr/>
        </p:nvPicPr>
        <p:blipFill>
          <a:blip r:embed="rId35">
            <a:extLst>
              <a:ext uri="{28A0092B-C50C-407E-A947-70E740481C1C}">
                <a14:useLocalDpi xmlns:a14="http://schemas.microsoft.com/office/drawing/2010/main"/>
              </a:ext>
            </a:extLst>
          </a:blip>
          <a:srcRect/>
          <a:stretch>
            <a:fillRect/>
          </a:stretch>
        </p:blipFill>
        <p:spPr bwMode="auto">
          <a:xfrm>
            <a:off x="710939" y="5264459"/>
            <a:ext cx="968896" cy="319736"/>
          </a:xfrm>
          <a:prstGeom prst="rect">
            <a:avLst/>
          </a:prstGeom>
          <a:noFill/>
          <a:extLst>
            <a:ext uri="{909E8E84-426E-40dd-AFC4-6F175D3DCCD1}">
              <a14:hiddenFill xmlns:a14="http://schemas.microsoft.com/office/drawing/2010/main">
                <a:solidFill>
                  <a:srgbClr val="FFFFFF"/>
                </a:solidFill>
              </a14:hiddenFill>
            </a:ext>
          </a:extLst>
        </p:spPr>
      </p:pic>
      <p:pic>
        <p:nvPicPr>
          <p:cNvPr id="59" name="Graphic 4">
            <a:extLst>
              <a:ext uri="{FF2B5EF4-FFF2-40B4-BE49-F238E27FC236}">
                <a16:creationId xmlns:a16="http://schemas.microsoft.com/office/drawing/2014/main" xmlns="" id="{C28936AE-ED90-4BC7-87F6-F70D9874B301}"/>
              </a:ext>
            </a:extLst>
          </p:cNvPr>
          <p:cNvPicPr>
            <a:picLocks noChangeAspect="1"/>
          </p:cNvPicPr>
          <p:nvPr/>
        </p:nvPicPr>
        <p:blipFill>
          <a:blip r:embed="rId36" cstate="print">
            <a:extLst>
              <a:ext uri="{28A0092B-C50C-407E-A947-70E740481C1C}">
                <a14:useLocalDpi xmlns:a14="http://schemas.microsoft.com/office/drawing/2010/main"/>
              </a:ext>
              <a:ext uri="{96DAC541-7B7A-43D3-8B79-37D633B846F1}">
                <asvg:svgBlip xmlns:asvg="http://schemas.microsoft.com/office/drawing/2016/SVG/main" xmlns="" r:embed="rId37"/>
              </a:ext>
            </a:extLst>
          </a:blip>
          <a:stretch>
            <a:fillRect/>
          </a:stretch>
        </p:blipFill>
        <p:spPr bwMode="gray">
          <a:xfrm>
            <a:off x="4193013" y="4870235"/>
            <a:ext cx="770001" cy="172375"/>
          </a:xfrm>
          <a:prstGeom prst="rect">
            <a:avLst/>
          </a:prstGeom>
        </p:spPr>
      </p:pic>
      <p:pic>
        <p:nvPicPr>
          <p:cNvPr id="58" name="Grafik 57">
            <a:extLst>
              <a:ext uri="{FF2B5EF4-FFF2-40B4-BE49-F238E27FC236}">
                <a16:creationId xmlns:a16="http://schemas.microsoft.com/office/drawing/2014/main" xmlns="" id="{BC7D5B40-775B-4C93-B252-27F40A8050E7}"/>
              </a:ext>
            </a:extLst>
          </p:cNvPr>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4270698" y="3843951"/>
            <a:ext cx="602603" cy="395609"/>
          </a:xfrm>
          <a:prstGeom prst="rect">
            <a:avLst/>
          </a:prstGeom>
        </p:spPr>
      </p:pic>
      <p:pic>
        <p:nvPicPr>
          <p:cNvPr id="62" name="Grafik 61">
            <a:extLst>
              <a:ext uri="{FF2B5EF4-FFF2-40B4-BE49-F238E27FC236}">
                <a16:creationId xmlns:a16="http://schemas.microsoft.com/office/drawing/2014/main" xmlns="" id="{10322CE8-7E72-48D7-9ECF-A62F0F70E14D}"/>
              </a:ext>
            </a:extLst>
          </p:cNvPr>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956106" y="4272388"/>
            <a:ext cx="613544" cy="445778"/>
          </a:xfrm>
          <a:prstGeom prst="rect">
            <a:avLst/>
          </a:prstGeom>
        </p:spPr>
      </p:pic>
      <p:pic>
        <p:nvPicPr>
          <p:cNvPr id="60" name="Picture 16">
            <a:extLst>
              <a:ext uri="{FF2B5EF4-FFF2-40B4-BE49-F238E27FC236}">
                <a16:creationId xmlns:a16="http://schemas.microsoft.com/office/drawing/2014/main" xmlns="" id="{C30D6B09-A2DF-437B-B84D-4CC6ADE960C5}"/>
              </a:ext>
            </a:extLst>
          </p:cNvPr>
          <p:cNvPicPr>
            <a:picLocks noChangeArrowheads="1"/>
          </p:cNvPicPr>
          <p:nvPr/>
        </p:nvPicPr>
        <p:blipFill rotWithShape="1">
          <a:blip r:embed="rId40" cstate="print">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a:ext>
            </a:extLst>
          </a:blip>
          <a:srcRect l="4561" t="528" r="4952" b="137"/>
          <a:stretch/>
        </p:blipFill>
        <p:spPr bwMode="gray">
          <a:xfrm>
            <a:off x="3884008" y="2222491"/>
            <a:ext cx="1436250" cy="1436250"/>
          </a:xfrm>
          <a:prstGeom prst="teardrop">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63" name="Textfeld 62">
            <a:extLst>
              <a:ext uri="{FF2B5EF4-FFF2-40B4-BE49-F238E27FC236}">
                <a16:creationId xmlns:a16="http://schemas.microsoft.com/office/drawing/2014/main" xmlns="" id="{FCEC4FF5-AA2A-409C-996F-74BF22229364}"/>
              </a:ext>
            </a:extLst>
          </p:cNvPr>
          <p:cNvSpPr txBox="1"/>
          <p:nvPr/>
        </p:nvSpPr>
        <p:spPr>
          <a:xfrm>
            <a:off x="-3276872" y="1628800"/>
            <a:ext cx="2376264" cy="830997"/>
          </a:xfrm>
          <a:prstGeom prst="rect">
            <a:avLst/>
          </a:prstGeom>
          <a:solidFill>
            <a:srgbClr val="92D050"/>
          </a:solidFill>
        </p:spPr>
        <p:txBody>
          <a:bodyPr wrap="square" rtlCol="0">
            <a:spAutoFit/>
          </a:bodyPr>
          <a:lstStyle/>
          <a:p>
            <a:r>
              <a:rPr lang="de-DE" sz="1600" dirty="0"/>
              <a:t>Politisch relevante und  „grüne“ Projekte hervorheben</a:t>
            </a:r>
          </a:p>
        </p:txBody>
      </p:sp>
    </p:spTree>
    <p:extLst>
      <p:ext uri="{BB962C8B-B14F-4D97-AF65-F5344CB8AC3E}">
        <p14:creationId xmlns:p14="http://schemas.microsoft.com/office/powerpoint/2010/main" val="24666505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43044579-2AC7-44DA-90E3-D055FCA505B4}"/>
              </a:ext>
            </a:extLst>
          </p:cNvPr>
          <p:cNvGraphicFramePr>
            <a:graphicFrameLocks noChangeAspect="1"/>
          </p:cNvGraphicFramePr>
          <p:nvPr>
            <p:custDataLst>
              <p:tags r:id="rId2"/>
            </p:custDataLst>
            <p:extLst>
              <p:ext uri="{D42A27DB-BD31-4B8C-83A1-F6EECF244321}">
                <p14:modId xmlns:p14="http://schemas.microsoft.com/office/powerpoint/2010/main" val="2784752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1692" name="think-cell Folie" r:id="rId6" imgW="301" imgH="298" progId="TCLayout.ActiveDocument.1">
                  <p:embed/>
                </p:oleObj>
              </mc:Choice>
              <mc:Fallback>
                <p:oleObj name="think-cell Folie" r:id="rId6" imgW="301" imgH="298" progId="TCLayout.ActiveDocument.1">
                  <p:embed/>
                  <p:pic>
                    <p:nvPicPr>
                      <p:cNvPr id="5" name="Objekt 4" hidden="1">
                        <a:extLst>
                          <a:ext uri="{FF2B5EF4-FFF2-40B4-BE49-F238E27FC236}">
                            <a16:creationId xmlns:a16="http://schemas.microsoft.com/office/drawing/2014/main" xmlns="" id="{43044579-2AC7-44DA-90E3-D055FCA505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303CF371-C0B8-415A-928B-15ECACFF2EB0}"/>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4AC1B30E-53C3-40B9-9254-532B119F8E64}"/>
              </a:ext>
            </a:extLst>
          </p:cNvPr>
          <p:cNvSpPr>
            <a:spLocks noGrp="1"/>
          </p:cNvSpPr>
          <p:nvPr>
            <p:ph type="title"/>
          </p:nvPr>
        </p:nvSpPr>
        <p:spPr/>
        <p:txBody>
          <a:bodyPr/>
          <a:lstStyle/>
          <a:p>
            <a:r>
              <a:rPr lang="de-DE" dirty="0"/>
              <a:t>Die Bevölkerungsdichte Wiens ist deutlich höher als in den deutschen Vergleichsstädten</a:t>
            </a:r>
          </a:p>
        </p:txBody>
      </p:sp>
      <p:sp>
        <p:nvSpPr>
          <p:cNvPr id="3" name="Inhaltsplatzhalter 2">
            <a:extLst>
              <a:ext uri="{FF2B5EF4-FFF2-40B4-BE49-F238E27FC236}">
                <a16:creationId xmlns:a16="http://schemas.microsoft.com/office/drawing/2014/main" xmlns="" id="{D7D699FA-102D-459C-8C0C-743F2BB65993}"/>
              </a:ext>
            </a:extLst>
          </p:cNvPr>
          <p:cNvSpPr>
            <a:spLocks noGrp="1"/>
          </p:cNvSpPr>
          <p:nvPr>
            <p:ph idx="1"/>
          </p:nvPr>
        </p:nvSpPr>
        <p:spPr>
          <a:xfrm>
            <a:off x="451758" y="1083558"/>
            <a:ext cx="7720642" cy="292316"/>
          </a:xfrm>
        </p:spPr>
        <p:txBody>
          <a:bodyPr/>
          <a:lstStyle/>
          <a:p>
            <a:r>
              <a:rPr lang="de-DE" dirty="0"/>
              <a:t>Struktur: Einwohner in Mio. bei angenommener Bevölkerungsdichte Wiens</a:t>
            </a:r>
          </a:p>
        </p:txBody>
      </p:sp>
      <p:sp>
        <p:nvSpPr>
          <p:cNvPr id="4" name="Foliennummernplatzhalter 3">
            <a:extLst>
              <a:ext uri="{FF2B5EF4-FFF2-40B4-BE49-F238E27FC236}">
                <a16:creationId xmlns:a16="http://schemas.microsoft.com/office/drawing/2014/main" xmlns="" id="{5118C978-52E0-4BB1-85DF-112ADAB2EE7C}"/>
              </a:ext>
            </a:extLst>
          </p:cNvPr>
          <p:cNvSpPr>
            <a:spLocks noGrp="1"/>
          </p:cNvSpPr>
          <p:nvPr>
            <p:ph type="sldNum" sz="quarter" idx="11"/>
          </p:nvPr>
        </p:nvSpPr>
        <p:spPr/>
        <p:txBody>
          <a:bodyPr/>
          <a:lstStyle/>
          <a:p>
            <a:fld id="{CD21EFEB-933F-4F46-A5AD-B6372944D9E5}" type="slidenum">
              <a:rPr lang="de-DE" smtClean="0"/>
              <a:pPr/>
              <a:t>30</a:t>
            </a:fld>
            <a:endParaRPr lang="de-DE" dirty="0"/>
          </a:p>
        </p:txBody>
      </p:sp>
      <p:pic>
        <p:nvPicPr>
          <p:cNvPr id="7" name="Grafik 6">
            <a:extLst>
              <a:ext uri="{FF2B5EF4-FFF2-40B4-BE49-F238E27FC236}">
                <a16:creationId xmlns:a16="http://schemas.microsoft.com/office/drawing/2014/main" xmlns="" id="{C4410FAE-9114-4499-BD51-5033F1F3F438}"/>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39749" y="2132855"/>
            <a:ext cx="6480523" cy="3641587"/>
          </a:xfrm>
          <a:prstGeom prst="rect">
            <a:avLst/>
          </a:prstGeom>
        </p:spPr>
      </p:pic>
    </p:spTree>
    <p:extLst>
      <p:ext uri="{BB962C8B-B14F-4D97-AF65-F5344CB8AC3E}">
        <p14:creationId xmlns:p14="http://schemas.microsoft.com/office/powerpoint/2010/main" val="1679655998"/>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C80849F1-195F-4384-A340-981CCCA0E1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1" name="think-cell Folie" r:id="rId7" imgW="530" imgH="531" progId="TCLayout.ActiveDocument.1">
                  <p:embed/>
                </p:oleObj>
              </mc:Choice>
              <mc:Fallback>
                <p:oleObj name="think-cell Folie" r:id="rId7" imgW="530" imgH="531" progId="TCLayout.ActiveDocument.1">
                  <p:embed/>
                  <p:pic>
                    <p:nvPicPr>
                      <p:cNvPr id="6" name="Objekt 5" hidden="1">
                        <a:extLst>
                          <a:ext uri="{FF2B5EF4-FFF2-40B4-BE49-F238E27FC236}">
                            <a16:creationId xmlns:a16="http://schemas.microsoft.com/office/drawing/2014/main" xmlns="" id="{C80849F1-195F-4384-A340-981CCCA0E13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xmlns="" id="{7B9F65BB-F852-4FC3-8CB5-960FFE01B398}"/>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57646048-CF42-4CA7-B3D0-DE1725DF01A3}"/>
              </a:ext>
            </a:extLst>
          </p:cNvPr>
          <p:cNvSpPr>
            <a:spLocks noGrp="1"/>
          </p:cNvSpPr>
          <p:nvPr>
            <p:ph type="title"/>
          </p:nvPr>
        </p:nvSpPr>
        <p:spPr/>
        <p:txBody>
          <a:bodyPr/>
          <a:lstStyle/>
          <a:p>
            <a:r>
              <a:rPr lang="de-DE" dirty="0"/>
              <a:t>Im Quervergleich sind in Wien sowohl die Siedlungsfläche als auch die Einwohner am „besten“ erschlossen</a:t>
            </a:r>
          </a:p>
        </p:txBody>
      </p:sp>
      <p:sp>
        <p:nvSpPr>
          <p:cNvPr id="3" name="Inhaltsplatzhalter 2">
            <a:extLst>
              <a:ext uri="{FF2B5EF4-FFF2-40B4-BE49-F238E27FC236}">
                <a16:creationId xmlns:a16="http://schemas.microsoft.com/office/drawing/2014/main" xmlns="" id="{BAE49FD8-D13B-4F51-8F6C-CA2682C6FD4B}"/>
              </a:ext>
            </a:extLst>
          </p:cNvPr>
          <p:cNvSpPr>
            <a:spLocks noGrp="1"/>
          </p:cNvSpPr>
          <p:nvPr>
            <p:ph idx="1"/>
          </p:nvPr>
        </p:nvSpPr>
        <p:spPr>
          <a:xfrm>
            <a:off x="451758" y="1083558"/>
            <a:ext cx="6635010" cy="292316"/>
          </a:xfrm>
        </p:spPr>
        <p:txBody>
          <a:bodyPr/>
          <a:lstStyle/>
          <a:p>
            <a:r>
              <a:rPr lang="de-DE" dirty="0"/>
              <a:t>Angebot: Erschließungsgrad ÖPNV</a:t>
            </a:r>
          </a:p>
        </p:txBody>
      </p:sp>
      <p:sp>
        <p:nvSpPr>
          <p:cNvPr id="4" name="Foliennummernplatzhalter 3">
            <a:extLst>
              <a:ext uri="{FF2B5EF4-FFF2-40B4-BE49-F238E27FC236}">
                <a16:creationId xmlns:a16="http://schemas.microsoft.com/office/drawing/2014/main" xmlns="" id="{DCB13EC3-8669-44BD-97F9-80AF76DD20CA}"/>
              </a:ext>
            </a:extLst>
          </p:cNvPr>
          <p:cNvSpPr>
            <a:spLocks noGrp="1"/>
          </p:cNvSpPr>
          <p:nvPr>
            <p:ph type="sldNum" sz="quarter" idx="11"/>
          </p:nvPr>
        </p:nvSpPr>
        <p:spPr>
          <a:xfrm>
            <a:off x="519428" y="6295779"/>
            <a:ext cx="113814" cy="246221"/>
          </a:xfrm>
        </p:spPr>
        <p:txBody>
          <a:bodyPr/>
          <a:lstStyle/>
          <a:p>
            <a:fld id="{CD21EFEB-933F-4F46-A5AD-B6372944D9E5}" type="slidenum">
              <a:rPr lang="de-DE" smtClean="0"/>
              <a:pPr/>
              <a:t>31</a:t>
            </a:fld>
            <a:endParaRPr lang="de-DE" dirty="0"/>
          </a:p>
        </p:txBody>
      </p:sp>
      <p:pic>
        <p:nvPicPr>
          <p:cNvPr id="7" name="Grafik 6">
            <a:extLst>
              <a:ext uri="{FF2B5EF4-FFF2-40B4-BE49-F238E27FC236}">
                <a16:creationId xmlns:a16="http://schemas.microsoft.com/office/drawing/2014/main" xmlns="" id="{4139B609-A4C2-4AA0-B447-84B276247593}"/>
              </a:ext>
            </a:extLst>
          </p:cNvPr>
          <p:cNvPicPr>
            <a:picLocks noChangeAspect="1"/>
          </p:cNvPicPr>
          <p:nvPr/>
        </p:nvPicPr>
        <p:blipFill>
          <a:blip r:embed="rId9"/>
          <a:stretch>
            <a:fillRect/>
          </a:stretch>
        </p:blipFill>
        <p:spPr>
          <a:xfrm>
            <a:off x="6011863" y="2030563"/>
            <a:ext cx="1726284" cy="1657395"/>
          </a:xfrm>
          <a:prstGeom prst="rect">
            <a:avLst/>
          </a:prstGeom>
        </p:spPr>
      </p:pic>
      <p:pic>
        <p:nvPicPr>
          <p:cNvPr id="8" name="Grafik 7">
            <a:extLst>
              <a:ext uri="{FF2B5EF4-FFF2-40B4-BE49-F238E27FC236}">
                <a16:creationId xmlns:a16="http://schemas.microsoft.com/office/drawing/2014/main" xmlns="" id="{916B9788-62A9-4AB4-BF15-2808EF085E95}"/>
              </a:ext>
            </a:extLst>
          </p:cNvPr>
          <p:cNvPicPr>
            <a:picLocks noChangeAspect="1"/>
          </p:cNvPicPr>
          <p:nvPr/>
        </p:nvPicPr>
        <p:blipFill>
          <a:blip r:embed="rId10"/>
          <a:stretch>
            <a:fillRect/>
          </a:stretch>
        </p:blipFill>
        <p:spPr>
          <a:xfrm>
            <a:off x="3276399" y="2031476"/>
            <a:ext cx="1725022" cy="1656184"/>
          </a:xfrm>
          <a:prstGeom prst="rect">
            <a:avLst/>
          </a:prstGeom>
        </p:spPr>
      </p:pic>
      <p:pic>
        <p:nvPicPr>
          <p:cNvPr id="9" name="Grafik 8">
            <a:extLst>
              <a:ext uri="{FF2B5EF4-FFF2-40B4-BE49-F238E27FC236}">
                <a16:creationId xmlns:a16="http://schemas.microsoft.com/office/drawing/2014/main" xmlns="" id="{75F99035-796E-4CC0-B8E7-E0CC963E1772}"/>
              </a:ext>
            </a:extLst>
          </p:cNvPr>
          <p:cNvPicPr>
            <a:picLocks noChangeAspect="1"/>
          </p:cNvPicPr>
          <p:nvPr/>
        </p:nvPicPr>
        <p:blipFill>
          <a:blip r:embed="rId11"/>
          <a:stretch>
            <a:fillRect/>
          </a:stretch>
        </p:blipFill>
        <p:spPr>
          <a:xfrm>
            <a:off x="539551" y="2041797"/>
            <a:ext cx="1725022" cy="1656183"/>
          </a:xfrm>
          <a:prstGeom prst="rect">
            <a:avLst/>
          </a:prstGeom>
        </p:spPr>
      </p:pic>
      <p:pic>
        <p:nvPicPr>
          <p:cNvPr id="10" name="Grafik 9">
            <a:extLst>
              <a:ext uri="{FF2B5EF4-FFF2-40B4-BE49-F238E27FC236}">
                <a16:creationId xmlns:a16="http://schemas.microsoft.com/office/drawing/2014/main" xmlns="" id="{D3851134-992D-4475-820E-FA691ACD63A9}"/>
              </a:ext>
            </a:extLst>
          </p:cNvPr>
          <p:cNvPicPr>
            <a:picLocks noChangeAspect="1"/>
          </p:cNvPicPr>
          <p:nvPr/>
        </p:nvPicPr>
        <p:blipFill>
          <a:blip r:embed="rId12"/>
          <a:stretch>
            <a:fillRect/>
          </a:stretch>
        </p:blipFill>
        <p:spPr>
          <a:xfrm>
            <a:off x="3276400" y="4166898"/>
            <a:ext cx="1725021" cy="1656183"/>
          </a:xfrm>
          <a:prstGeom prst="rect">
            <a:avLst/>
          </a:prstGeom>
        </p:spPr>
      </p:pic>
      <p:pic>
        <p:nvPicPr>
          <p:cNvPr id="11" name="Grafik 10">
            <a:extLst>
              <a:ext uri="{FF2B5EF4-FFF2-40B4-BE49-F238E27FC236}">
                <a16:creationId xmlns:a16="http://schemas.microsoft.com/office/drawing/2014/main" xmlns="" id="{95A7A1AA-FB3C-48F6-BA59-CD2A810B1840}"/>
              </a:ext>
            </a:extLst>
          </p:cNvPr>
          <p:cNvPicPr>
            <a:picLocks noChangeAspect="1"/>
          </p:cNvPicPr>
          <p:nvPr/>
        </p:nvPicPr>
        <p:blipFill>
          <a:blip r:embed="rId13"/>
          <a:stretch>
            <a:fillRect/>
          </a:stretch>
        </p:blipFill>
        <p:spPr>
          <a:xfrm>
            <a:off x="539552" y="4177218"/>
            <a:ext cx="1725021" cy="1656182"/>
          </a:xfrm>
          <a:prstGeom prst="rect">
            <a:avLst/>
          </a:prstGeom>
        </p:spPr>
      </p:pic>
      <p:sp>
        <p:nvSpPr>
          <p:cNvPr id="12" name="Textfeld 11">
            <a:extLst>
              <a:ext uri="{FF2B5EF4-FFF2-40B4-BE49-F238E27FC236}">
                <a16:creationId xmlns:a16="http://schemas.microsoft.com/office/drawing/2014/main" xmlns="" id="{99C358BC-2977-44D3-9E0A-E797ED72D1AE}"/>
              </a:ext>
            </a:extLst>
          </p:cNvPr>
          <p:cNvSpPr txBox="1"/>
          <p:nvPr/>
        </p:nvSpPr>
        <p:spPr>
          <a:xfrm>
            <a:off x="3189290" y="1663396"/>
            <a:ext cx="971741" cy="325752"/>
          </a:xfrm>
          <a:prstGeom prst="rect">
            <a:avLst/>
          </a:prstGeom>
          <a:noFill/>
        </p:spPr>
        <p:txBody>
          <a:bodyPr wrap="none" rtlCol="0" anchor="ctr">
            <a:noAutofit/>
          </a:bodyPr>
          <a:lstStyle/>
          <a:p>
            <a:r>
              <a:rPr lang="de-DE" sz="1400" b="1" dirty="0"/>
              <a:t>Hamburg</a:t>
            </a:r>
          </a:p>
        </p:txBody>
      </p:sp>
      <p:sp>
        <p:nvSpPr>
          <p:cNvPr id="13" name="Textfeld 12">
            <a:extLst>
              <a:ext uri="{FF2B5EF4-FFF2-40B4-BE49-F238E27FC236}">
                <a16:creationId xmlns:a16="http://schemas.microsoft.com/office/drawing/2014/main" xmlns="" id="{9C7CA3DA-89D0-4CB4-84FB-07DE38A80ADF}"/>
              </a:ext>
            </a:extLst>
          </p:cNvPr>
          <p:cNvSpPr txBox="1"/>
          <p:nvPr/>
        </p:nvSpPr>
        <p:spPr>
          <a:xfrm>
            <a:off x="5936682" y="1663396"/>
            <a:ext cx="968534" cy="325752"/>
          </a:xfrm>
          <a:prstGeom prst="rect">
            <a:avLst/>
          </a:prstGeom>
          <a:noFill/>
        </p:spPr>
        <p:txBody>
          <a:bodyPr wrap="none" rtlCol="0" anchor="ctr">
            <a:noAutofit/>
          </a:bodyPr>
          <a:lstStyle/>
          <a:p>
            <a:r>
              <a:rPr lang="de-DE" sz="1400" b="1" dirty="0"/>
              <a:t>München</a:t>
            </a:r>
          </a:p>
        </p:txBody>
      </p:sp>
      <p:sp>
        <p:nvSpPr>
          <p:cNvPr id="15" name="Rechteck 14">
            <a:extLst>
              <a:ext uri="{FF2B5EF4-FFF2-40B4-BE49-F238E27FC236}">
                <a16:creationId xmlns:a16="http://schemas.microsoft.com/office/drawing/2014/main" xmlns="" id="{D9EC5BF1-B463-4D32-83A1-C47BB6BF5C97}"/>
              </a:ext>
            </a:extLst>
          </p:cNvPr>
          <p:cNvSpPr/>
          <p:nvPr/>
        </p:nvSpPr>
        <p:spPr>
          <a:xfrm>
            <a:off x="451758" y="1663396"/>
            <a:ext cx="1103462" cy="3256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Berlin</a:t>
            </a:r>
          </a:p>
        </p:txBody>
      </p:sp>
      <p:pic>
        <p:nvPicPr>
          <p:cNvPr id="16" name="Grafik 15">
            <a:extLst>
              <a:ext uri="{FF2B5EF4-FFF2-40B4-BE49-F238E27FC236}">
                <a16:creationId xmlns:a16="http://schemas.microsoft.com/office/drawing/2014/main" xmlns="" id="{0DC1438B-EDFE-4175-AFF9-4AF5BC3D8D08}"/>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5466985" y="1556792"/>
            <a:ext cx="257143" cy="360000"/>
          </a:xfrm>
          <a:prstGeom prst="rect">
            <a:avLst/>
          </a:prstGeom>
        </p:spPr>
      </p:pic>
      <p:pic>
        <p:nvPicPr>
          <p:cNvPr id="19" name="Grafik 18">
            <a:extLst>
              <a:ext uri="{FF2B5EF4-FFF2-40B4-BE49-F238E27FC236}">
                <a16:creationId xmlns:a16="http://schemas.microsoft.com/office/drawing/2014/main" xmlns="" id="{5589A50D-55A1-45E2-A39A-0E1BA9533B59}"/>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2768609" y="1556792"/>
            <a:ext cx="219215" cy="360000"/>
          </a:xfrm>
          <a:prstGeom prst="rect">
            <a:avLst/>
          </a:prstGeom>
        </p:spPr>
      </p:pic>
      <p:pic>
        <p:nvPicPr>
          <p:cNvPr id="20" name="Grafik 19">
            <a:extLst>
              <a:ext uri="{FF2B5EF4-FFF2-40B4-BE49-F238E27FC236}">
                <a16:creationId xmlns:a16="http://schemas.microsoft.com/office/drawing/2014/main" xmlns="" id="{84A5E2E0-CEE7-42C9-92FB-9AB67C0E7554}"/>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8244708" y="1556792"/>
            <a:ext cx="287732" cy="360000"/>
          </a:xfrm>
          <a:prstGeom prst="rect">
            <a:avLst/>
          </a:prstGeom>
        </p:spPr>
      </p:pic>
      <p:sp>
        <p:nvSpPr>
          <p:cNvPr id="21" name="Textfeld 20">
            <a:extLst>
              <a:ext uri="{FF2B5EF4-FFF2-40B4-BE49-F238E27FC236}">
                <a16:creationId xmlns:a16="http://schemas.microsoft.com/office/drawing/2014/main" xmlns="" id="{85F01585-F060-4227-9C1E-C6B77538D972}"/>
              </a:ext>
            </a:extLst>
          </p:cNvPr>
          <p:cNvSpPr txBox="1"/>
          <p:nvPr/>
        </p:nvSpPr>
        <p:spPr>
          <a:xfrm>
            <a:off x="3189290" y="3807505"/>
            <a:ext cx="611065" cy="325752"/>
          </a:xfrm>
          <a:prstGeom prst="rect">
            <a:avLst/>
          </a:prstGeom>
          <a:noFill/>
        </p:spPr>
        <p:txBody>
          <a:bodyPr wrap="none" rtlCol="0" anchor="ctr">
            <a:noAutofit/>
          </a:bodyPr>
          <a:lstStyle/>
          <a:p>
            <a:r>
              <a:rPr lang="de-DE" sz="1400" b="1" dirty="0"/>
              <a:t>Wien</a:t>
            </a:r>
          </a:p>
        </p:txBody>
      </p:sp>
      <p:sp>
        <p:nvSpPr>
          <p:cNvPr id="22" name="Rechteck 21">
            <a:extLst>
              <a:ext uri="{FF2B5EF4-FFF2-40B4-BE49-F238E27FC236}">
                <a16:creationId xmlns:a16="http://schemas.microsoft.com/office/drawing/2014/main" xmlns="" id="{6A9163E2-B2CC-4F69-BA1C-FFB6340DE692}"/>
              </a:ext>
            </a:extLst>
          </p:cNvPr>
          <p:cNvSpPr/>
          <p:nvPr/>
        </p:nvSpPr>
        <p:spPr>
          <a:xfrm>
            <a:off x="451758" y="3807505"/>
            <a:ext cx="1103462" cy="3256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Köln</a:t>
            </a:r>
          </a:p>
        </p:txBody>
      </p:sp>
      <p:sp>
        <p:nvSpPr>
          <p:cNvPr id="25" name="Textfeld 24">
            <a:extLst>
              <a:ext uri="{FF2B5EF4-FFF2-40B4-BE49-F238E27FC236}">
                <a16:creationId xmlns:a16="http://schemas.microsoft.com/office/drawing/2014/main" xmlns="" id="{5FFE3D30-710C-4234-A491-0EAC446CC798}"/>
              </a:ext>
            </a:extLst>
          </p:cNvPr>
          <p:cNvSpPr txBox="1"/>
          <p:nvPr/>
        </p:nvSpPr>
        <p:spPr>
          <a:xfrm>
            <a:off x="5207020" y="2938797"/>
            <a:ext cx="828000" cy="307777"/>
          </a:xfrm>
          <a:prstGeom prst="rect">
            <a:avLst/>
          </a:prstGeom>
          <a:noFill/>
        </p:spPr>
        <p:txBody>
          <a:bodyPr wrap="square" rtlCol="0">
            <a:spAutoFit/>
          </a:bodyPr>
          <a:lstStyle/>
          <a:p>
            <a:pPr algn="ctr"/>
            <a:r>
              <a:rPr lang="de-DE" sz="1400" dirty="0"/>
              <a:t>79 %</a:t>
            </a:r>
          </a:p>
        </p:txBody>
      </p:sp>
      <p:sp>
        <p:nvSpPr>
          <p:cNvPr id="26" name="Textfeld 25">
            <a:extLst>
              <a:ext uri="{FF2B5EF4-FFF2-40B4-BE49-F238E27FC236}">
                <a16:creationId xmlns:a16="http://schemas.microsoft.com/office/drawing/2014/main" xmlns="" id="{A23A7035-6EDC-480F-98BC-BBE7F30E6845}"/>
              </a:ext>
            </a:extLst>
          </p:cNvPr>
          <p:cNvSpPr txBox="1"/>
          <p:nvPr/>
        </p:nvSpPr>
        <p:spPr>
          <a:xfrm>
            <a:off x="2447856" y="2938797"/>
            <a:ext cx="828000" cy="307777"/>
          </a:xfrm>
          <a:prstGeom prst="rect">
            <a:avLst/>
          </a:prstGeom>
          <a:noFill/>
        </p:spPr>
        <p:txBody>
          <a:bodyPr wrap="square" rtlCol="0">
            <a:spAutoFit/>
          </a:bodyPr>
          <a:lstStyle/>
          <a:p>
            <a:pPr algn="ctr"/>
            <a:r>
              <a:rPr lang="de-DE" sz="1400" dirty="0"/>
              <a:t>83 %</a:t>
            </a:r>
          </a:p>
        </p:txBody>
      </p:sp>
      <p:sp>
        <p:nvSpPr>
          <p:cNvPr id="27" name="Textfeld 26">
            <a:extLst>
              <a:ext uri="{FF2B5EF4-FFF2-40B4-BE49-F238E27FC236}">
                <a16:creationId xmlns:a16="http://schemas.microsoft.com/office/drawing/2014/main" xmlns="" id="{BF3E9CA0-65D2-4E85-9DBE-5FAC05BF9B15}"/>
              </a:ext>
            </a:extLst>
          </p:cNvPr>
          <p:cNvSpPr txBox="1"/>
          <p:nvPr/>
        </p:nvSpPr>
        <p:spPr>
          <a:xfrm>
            <a:off x="7956376" y="2938797"/>
            <a:ext cx="828000" cy="307777"/>
          </a:xfrm>
          <a:prstGeom prst="rect">
            <a:avLst/>
          </a:prstGeom>
          <a:noFill/>
        </p:spPr>
        <p:txBody>
          <a:bodyPr wrap="square" rtlCol="0">
            <a:spAutoFit/>
          </a:bodyPr>
          <a:lstStyle/>
          <a:p>
            <a:pPr algn="ctr"/>
            <a:r>
              <a:rPr lang="de-DE" sz="1400" dirty="0"/>
              <a:t>83 %</a:t>
            </a:r>
          </a:p>
        </p:txBody>
      </p:sp>
      <p:sp>
        <p:nvSpPr>
          <p:cNvPr id="31" name="Textfeld 30">
            <a:extLst>
              <a:ext uri="{FF2B5EF4-FFF2-40B4-BE49-F238E27FC236}">
                <a16:creationId xmlns:a16="http://schemas.microsoft.com/office/drawing/2014/main" xmlns="" id="{91B7C6BA-2677-4FE8-8281-5A55A8ED1ADF}"/>
              </a:ext>
            </a:extLst>
          </p:cNvPr>
          <p:cNvSpPr txBox="1"/>
          <p:nvPr/>
        </p:nvSpPr>
        <p:spPr>
          <a:xfrm>
            <a:off x="5207020" y="5052048"/>
            <a:ext cx="828000" cy="307777"/>
          </a:xfrm>
          <a:prstGeom prst="rect">
            <a:avLst/>
          </a:prstGeom>
          <a:noFill/>
        </p:spPr>
        <p:txBody>
          <a:bodyPr wrap="square" rtlCol="0">
            <a:spAutoFit/>
          </a:bodyPr>
          <a:lstStyle/>
          <a:p>
            <a:pPr algn="ctr"/>
            <a:r>
              <a:rPr lang="de-DE" sz="1400" dirty="0"/>
              <a:t>86 %</a:t>
            </a:r>
          </a:p>
        </p:txBody>
      </p:sp>
      <p:sp>
        <p:nvSpPr>
          <p:cNvPr id="32" name="Textfeld 31">
            <a:extLst>
              <a:ext uri="{FF2B5EF4-FFF2-40B4-BE49-F238E27FC236}">
                <a16:creationId xmlns:a16="http://schemas.microsoft.com/office/drawing/2014/main" xmlns="" id="{C16A10B8-7B5A-49EE-9CBD-2D97B2E7DE04}"/>
              </a:ext>
            </a:extLst>
          </p:cNvPr>
          <p:cNvSpPr txBox="1"/>
          <p:nvPr/>
        </p:nvSpPr>
        <p:spPr>
          <a:xfrm>
            <a:off x="2447856" y="5052048"/>
            <a:ext cx="828000" cy="307777"/>
          </a:xfrm>
          <a:prstGeom prst="rect">
            <a:avLst/>
          </a:prstGeom>
          <a:noFill/>
        </p:spPr>
        <p:txBody>
          <a:bodyPr wrap="square" rtlCol="0">
            <a:spAutoFit/>
          </a:bodyPr>
          <a:lstStyle/>
          <a:p>
            <a:pPr algn="ctr"/>
            <a:r>
              <a:rPr lang="de-DE" sz="1400" dirty="0"/>
              <a:t>73 %</a:t>
            </a:r>
          </a:p>
        </p:txBody>
      </p:sp>
      <p:sp>
        <p:nvSpPr>
          <p:cNvPr id="35" name="Textfeld 34">
            <a:extLst>
              <a:ext uri="{FF2B5EF4-FFF2-40B4-BE49-F238E27FC236}">
                <a16:creationId xmlns:a16="http://schemas.microsoft.com/office/drawing/2014/main" xmlns="" id="{1795B0AF-A598-4DAE-81A0-AA1B511DC659}"/>
              </a:ext>
            </a:extLst>
          </p:cNvPr>
          <p:cNvSpPr txBox="1"/>
          <p:nvPr/>
        </p:nvSpPr>
        <p:spPr>
          <a:xfrm>
            <a:off x="6371418" y="4654985"/>
            <a:ext cx="2154366" cy="307777"/>
          </a:xfrm>
          <a:prstGeom prst="rect">
            <a:avLst/>
          </a:prstGeom>
          <a:noFill/>
        </p:spPr>
        <p:txBody>
          <a:bodyPr wrap="square" rtlCol="0">
            <a:spAutoFit/>
          </a:bodyPr>
          <a:lstStyle/>
          <a:p>
            <a:r>
              <a:rPr lang="de-DE" sz="1400" dirty="0"/>
              <a:t>Erschlossene Einwohner</a:t>
            </a:r>
          </a:p>
        </p:txBody>
      </p:sp>
      <p:sp>
        <p:nvSpPr>
          <p:cNvPr id="36" name="Textfeld 35">
            <a:extLst>
              <a:ext uri="{FF2B5EF4-FFF2-40B4-BE49-F238E27FC236}">
                <a16:creationId xmlns:a16="http://schemas.microsoft.com/office/drawing/2014/main" xmlns="" id="{D4D77DFF-C6BF-4282-8241-A53E9F7C8C40}"/>
              </a:ext>
            </a:extLst>
          </p:cNvPr>
          <p:cNvSpPr txBox="1"/>
          <p:nvPr/>
        </p:nvSpPr>
        <p:spPr>
          <a:xfrm>
            <a:off x="6371418" y="5052048"/>
            <a:ext cx="2147292" cy="307777"/>
          </a:xfrm>
          <a:prstGeom prst="rect">
            <a:avLst/>
          </a:prstGeom>
          <a:noFill/>
        </p:spPr>
        <p:txBody>
          <a:bodyPr wrap="square" rtlCol="0">
            <a:spAutoFit/>
          </a:bodyPr>
          <a:lstStyle/>
          <a:p>
            <a:r>
              <a:rPr lang="de-DE" sz="1400" dirty="0"/>
              <a:t>Erschlossene </a:t>
            </a:r>
            <a:r>
              <a:rPr lang="de-DE" sz="1400" dirty="0" err="1"/>
              <a:t>SuV</a:t>
            </a:r>
            <a:endParaRPr lang="de-DE" sz="1400" dirty="0"/>
          </a:p>
        </p:txBody>
      </p:sp>
      <p:cxnSp>
        <p:nvCxnSpPr>
          <p:cNvPr id="37" name="Gerade Verbindung 6">
            <a:extLst>
              <a:ext uri="{FF2B5EF4-FFF2-40B4-BE49-F238E27FC236}">
                <a16:creationId xmlns:a16="http://schemas.microsoft.com/office/drawing/2014/main" xmlns="" id="{F43ACC1F-14F5-49C0-804D-A75D294E3319}"/>
              </a:ext>
            </a:extLst>
          </p:cNvPr>
          <p:cNvCxnSpPr>
            <a:cxnSpLocks/>
          </p:cNvCxnSpPr>
          <p:nvPr/>
        </p:nvCxnSpPr>
        <p:spPr>
          <a:xfrm>
            <a:off x="6012160" y="4994990"/>
            <a:ext cx="25920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Gerade Verbindung 6">
            <a:extLst>
              <a:ext uri="{FF2B5EF4-FFF2-40B4-BE49-F238E27FC236}">
                <a16:creationId xmlns:a16="http://schemas.microsoft.com/office/drawing/2014/main" xmlns="" id="{267557D2-796F-46D7-B57D-19F04ECDCB25}"/>
              </a:ext>
            </a:extLst>
          </p:cNvPr>
          <p:cNvCxnSpPr>
            <a:cxnSpLocks/>
          </p:cNvCxnSpPr>
          <p:nvPr/>
        </p:nvCxnSpPr>
        <p:spPr>
          <a:xfrm>
            <a:off x="2634440" y="2884438"/>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 Verbindung 6">
            <a:extLst>
              <a:ext uri="{FF2B5EF4-FFF2-40B4-BE49-F238E27FC236}">
                <a16:creationId xmlns:a16="http://schemas.microsoft.com/office/drawing/2014/main" xmlns="" id="{296D7226-AF72-4B9E-97E9-4663BF7E3CE5}"/>
              </a:ext>
            </a:extLst>
          </p:cNvPr>
          <p:cNvCxnSpPr>
            <a:cxnSpLocks/>
          </p:cNvCxnSpPr>
          <p:nvPr/>
        </p:nvCxnSpPr>
        <p:spPr>
          <a:xfrm>
            <a:off x="2634440" y="4994990"/>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 Verbindung 6">
            <a:extLst>
              <a:ext uri="{FF2B5EF4-FFF2-40B4-BE49-F238E27FC236}">
                <a16:creationId xmlns:a16="http://schemas.microsoft.com/office/drawing/2014/main" xmlns="" id="{311EB223-A972-4082-B8F4-A118F3BCE38F}"/>
              </a:ext>
            </a:extLst>
          </p:cNvPr>
          <p:cNvCxnSpPr>
            <a:cxnSpLocks/>
          </p:cNvCxnSpPr>
          <p:nvPr/>
        </p:nvCxnSpPr>
        <p:spPr>
          <a:xfrm>
            <a:off x="5393604" y="2884438"/>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 Verbindung 6">
            <a:extLst>
              <a:ext uri="{FF2B5EF4-FFF2-40B4-BE49-F238E27FC236}">
                <a16:creationId xmlns:a16="http://schemas.microsoft.com/office/drawing/2014/main" xmlns="" id="{CAEF2C24-F483-441C-BA7D-2C0A7A1D6C92}"/>
              </a:ext>
            </a:extLst>
          </p:cNvPr>
          <p:cNvCxnSpPr>
            <a:cxnSpLocks/>
          </p:cNvCxnSpPr>
          <p:nvPr/>
        </p:nvCxnSpPr>
        <p:spPr>
          <a:xfrm>
            <a:off x="5393604" y="4994990"/>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 Verbindung 6">
            <a:extLst>
              <a:ext uri="{FF2B5EF4-FFF2-40B4-BE49-F238E27FC236}">
                <a16:creationId xmlns:a16="http://schemas.microsoft.com/office/drawing/2014/main" xmlns="" id="{89D75E81-A427-4194-AD2E-4A29A0982E2D}"/>
              </a:ext>
            </a:extLst>
          </p:cNvPr>
          <p:cNvCxnSpPr>
            <a:cxnSpLocks/>
          </p:cNvCxnSpPr>
          <p:nvPr/>
        </p:nvCxnSpPr>
        <p:spPr>
          <a:xfrm>
            <a:off x="8142960" y="2884438"/>
            <a:ext cx="4548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xmlns="" id="{B90B4293-E569-4ED3-9A43-0E4DAC7D330C}"/>
              </a:ext>
            </a:extLst>
          </p:cNvPr>
          <p:cNvSpPr txBox="1"/>
          <p:nvPr/>
        </p:nvSpPr>
        <p:spPr>
          <a:xfrm>
            <a:off x="5936682" y="3807505"/>
            <a:ext cx="918841" cy="325752"/>
          </a:xfrm>
          <a:prstGeom prst="rect">
            <a:avLst/>
          </a:prstGeom>
          <a:noFill/>
        </p:spPr>
        <p:txBody>
          <a:bodyPr wrap="none" rtlCol="0" anchor="ctr">
            <a:noAutofit/>
          </a:bodyPr>
          <a:lstStyle/>
          <a:p>
            <a:r>
              <a:rPr lang="de-DE" sz="1400" b="1" dirty="0"/>
              <a:t>Legende</a:t>
            </a:r>
          </a:p>
        </p:txBody>
      </p:sp>
      <p:sp>
        <p:nvSpPr>
          <p:cNvPr id="56" name="Ellipse 55">
            <a:extLst>
              <a:ext uri="{FF2B5EF4-FFF2-40B4-BE49-F238E27FC236}">
                <a16:creationId xmlns:a16="http://schemas.microsoft.com/office/drawing/2014/main" xmlns="" id="{2E74F872-0959-4862-9F1E-D601C8C788A7}"/>
              </a:ext>
            </a:extLst>
          </p:cNvPr>
          <p:cNvSpPr/>
          <p:nvPr/>
        </p:nvSpPr>
        <p:spPr>
          <a:xfrm>
            <a:off x="6012160" y="5041313"/>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nvGrpSpPr>
          <p:cNvPr id="57" name="Group 31">
            <a:extLst>
              <a:ext uri="{FF2B5EF4-FFF2-40B4-BE49-F238E27FC236}">
                <a16:creationId xmlns:a16="http://schemas.microsoft.com/office/drawing/2014/main" xmlns="" id="{587E7D63-C2C2-45B5-96F1-35EF18CC45E4}"/>
              </a:ext>
            </a:extLst>
          </p:cNvPr>
          <p:cNvGrpSpPr>
            <a:grpSpLocks/>
          </p:cNvGrpSpPr>
          <p:nvPr/>
        </p:nvGrpSpPr>
        <p:grpSpPr bwMode="auto">
          <a:xfrm>
            <a:off x="6059802" y="5099810"/>
            <a:ext cx="264757" cy="199884"/>
            <a:chOff x="1044" y="1284"/>
            <a:chExt cx="3576" cy="2700"/>
          </a:xfrm>
          <a:solidFill>
            <a:srgbClr val="A4A399"/>
          </a:solidFill>
        </p:grpSpPr>
        <p:grpSp>
          <p:nvGrpSpPr>
            <p:cNvPr id="58" name="Group 32">
              <a:extLst>
                <a:ext uri="{FF2B5EF4-FFF2-40B4-BE49-F238E27FC236}">
                  <a16:creationId xmlns:a16="http://schemas.microsoft.com/office/drawing/2014/main" xmlns="" id="{F44BB176-F567-473F-9726-EB7A4E3D6C1E}"/>
                </a:ext>
              </a:extLst>
            </p:cNvPr>
            <p:cNvGrpSpPr>
              <a:grpSpLocks/>
            </p:cNvGrpSpPr>
            <p:nvPr/>
          </p:nvGrpSpPr>
          <p:grpSpPr bwMode="auto">
            <a:xfrm>
              <a:off x="1044" y="1284"/>
              <a:ext cx="3576" cy="2700"/>
              <a:chOff x="1044" y="1284"/>
              <a:chExt cx="3576" cy="2700"/>
            </a:xfrm>
            <a:grpFill/>
          </p:grpSpPr>
          <p:sp>
            <p:nvSpPr>
              <p:cNvPr id="60" name="Freeform 33">
                <a:extLst>
                  <a:ext uri="{FF2B5EF4-FFF2-40B4-BE49-F238E27FC236}">
                    <a16:creationId xmlns:a16="http://schemas.microsoft.com/office/drawing/2014/main" xmlns="" id="{AF1B5701-A241-47DD-87D0-A434FB72C305}"/>
                  </a:ext>
                </a:extLst>
              </p:cNvPr>
              <p:cNvSpPr>
                <a:spLocks/>
              </p:cNvSpPr>
              <p:nvPr/>
            </p:nvSpPr>
            <p:spPr bwMode="auto">
              <a:xfrm>
                <a:off x="1677" y="1409"/>
                <a:ext cx="966" cy="940"/>
              </a:xfrm>
              <a:custGeom>
                <a:avLst/>
                <a:gdLst/>
                <a:ahLst/>
                <a:cxnLst>
                  <a:cxn ang="0">
                    <a:pos x="449" y="0"/>
                  </a:cxn>
                  <a:cxn ang="0">
                    <a:pos x="447" y="52"/>
                  </a:cxn>
                  <a:cxn ang="0">
                    <a:pos x="471" y="78"/>
                  </a:cxn>
                  <a:cxn ang="0">
                    <a:pos x="458" y="132"/>
                  </a:cxn>
                  <a:cxn ang="0">
                    <a:pos x="396" y="187"/>
                  </a:cxn>
                  <a:cxn ang="0">
                    <a:pos x="348" y="241"/>
                  </a:cxn>
                  <a:cxn ang="0">
                    <a:pos x="306" y="286"/>
                  </a:cxn>
                  <a:cxn ang="0">
                    <a:pos x="210" y="304"/>
                  </a:cxn>
                  <a:cxn ang="0">
                    <a:pos x="108" y="307"/>
                  </a:cxn>
                  <a:cxn ang="0">
                    <a:pos x="66" y="415"/>
                  </a:cxn>
                  <a:cxn ang="0">
                    <a:pos x="0" y="499"/>
                  </a:cxn>
                  <a:cxn ang="0">
                    <a:pos x="51" y="573"/>
                  </a:cxn>
                  <a:cxn ang="0">
                    <a:pos x="81" y="634"/>
                  </a:cxn>
                  <a:cxn ang="0">
                    <a:pos x="81" y="685"/>
                  </a:cxn>
                  <a:cxn ang="0">
                    <a:pos x="123" y="748"/>
                  </a:cxn>
                  <a:cxn ang="0">
                    <a:pos x="206" y="888"/>
                  </a:cxn>
                  <a:cxn ang="0">
                    <a:pos x="276" y="940"/>
                  </a:cxn>
                  <a:cxn ang="0">
                    <a:pos x="381" y="928"/>
                  </a:cxn>
                  <a:cxn ang="0">
                    <a:pos x="519" y="922"/>
                  </a:cxn>
                  <a:cxn ang="0">
                    <a:pos x="606" y="825"/>
                  </a:cxn>
                  <a:cxn ang="0">
                    <a:pos x="677" y="795"/>
                  </a:cxn>
                  <a:cxn ang="0">
                    <a:pos x="816" y="790"/>
                  </a:cxn>
                  <a:cxn ang="0">
                    <a:pos x="879" y="832"/>
                  </a:cxn>
                  <a:cxn ang="0">
                    <a:pos x="933" y="814"/>
                  </a:cxn>
                  <a:cxn ang="0">
                    <a:pos x="966" y="772"/>
                  </a:cxn>
                  <a:cxn ang="0">
                    <a:pos x="792" y="580"/>
                  </a:cxn>
                  <a:cxn ang="0">
                    <a:pos x="846" y="565"/>
                  </a:cxn>
                  <a:cxn ang="0">
                    <a:pos x="873" y="523"/>
                  </a:cxn>
                  <a:cxn ang="0">
                    <a:pos x="896" y="481"/>
                  </a:cxn>
                  <a:cxn ang="0">
                    <a:pos x="915" y="439"/>
                  </a:cxn>
                  <a:cxn ang="0">
                    <a:pos x="912" y="391"/>
                  </a:cxn>
                  <a:cxn ang="0">
                    <a:pos x="833" y="310"/>
                  </a:cxn>
                  <a:cxn ang="0">
                    <a:pos x="765" y="307"/>
                  </a:cxn>
                  <a:cxn ang="0">
                    <a:pos x="597" y="283"/>
                  </a:cxn>
                  <a:cxn ang="0">
                    <a:pos x="531" y="292"/>
                  </a:cxn>
                  <a:cxn ang="0">
                    <a:pos x="564" y="228"/>
                  </a:cxn>
                  <a:cxn ang="0">
                    <a:pos x="578" y="172"/>
                  </a:cxn>
                  <a:cxn ang="0">
                    <a:pos x="561" y="97"/>
                  </a:cxn>
                  <a:cxn ang="0">
                    <a:pos x="600" y="22"/>
                  </a:cxn>
                  <a:cxn ang="0">
                    <a:pos x="570" y="4"/>
                  </a:cxn>
                </a:cxnLst>
                <a:rect l="0" t="0" r="r" b="b"/>
                <a:pathLst>
                  <a:path w="966" h="940">
                    <a:moveTo>
                      <a:pt x="570" y="4"/>
                    </a:moveTo>
                    <a:lnTo>
                      <a:pt x="449" y="0"/>
                    </a:lnTo>
                    <a:lnTo>
                      <a:pt x="450" y="28"/>
                    </a:lnTo>
                    <a:lnTo>
                      <a:pt x="447" y="52"/>
                    </a:lnTo>
                    <a:lnTo>
                      <a:pt x="468" y="57"/>
                    </a:lnTo>
                    <a:lnTo>
                      <a:pt x="471" y="78"/>
                    </a:lnTo>
                    <a:lnTo>
                      <a:pt x="447" y="109"/>
                    </a:lnTo>
                    <a:lnTo>
                      <a:pt x="458" y="132"/>
                    </a:lnTo>
                    <a:lnTo>
                      <a:pt x="447" y="172"/>
                    </a:lnTo>
                    <a:lnTo>
                      <a:pt x="396" y="187"/>
                    </a:lnTo>
                    <a:lnTo>
                      <a:pt x="327" y="184"/>
                    </a:lnTo>
                    <a:lnTo>
                      <a:pt x="348" y="241"/>
                    </a:lnTo>
                    <a:lnTo>
                      <a:pt x="339" y="289"/>
                    </a:lnTo>
                    <a:lnTo>
                      <a:pt x="306" y="286"/>
                    </a:lnTo>
                    <a:lnTo>
                      <a:pt x="267" y="298"/>
                    </a:lnTo>
                    <a:lnTo>
                      <a:pt x="210" y="304"/>
                    </a:lnTo>
                    <a:lnTo>
                      <a:pt x="168" y="313"/>
                    </a:lnTo>
                    <a:lnTo>
                      <a:pt x="108" y="307"/>
                    </a:lnTo>
                    <a:lnTo>
                      <a:pt x="89" y="373"/>
                    </a:lnTo>
                    <a:lnTo>
                      <a:pt x="66" y="415"/>
                    </a:lnTo>
                    <a:lnTo>
                      <a:pt x="45" y="456"/>
                    </a:lnTo>
                    <a:lnTo>
                      <a:pt x="0" y="499"/>
                    </a:lnTo>
                    <a:lnTo>
                      <a:pt x="8" y="526"/>
                    </a:lnTo>
                    <a:lnTo>
                      <a:pt x="51" y="573"/>
                    </a:lnTo>
                    <a:lnTo>
                      <a:pt x="96" y="616"/>
                    </a:lnTo>
                    <a:lnTo>
                      <a:pt x="81" y="634"/>
                    </a:lnTo>
                    <a:lnTo>
                      <a:pt x="78" y="673"/>
                    </a:lnTo>
                    <a:lnTo>
                      <a:pt x="81" y="685"/>
                    </a:lnTo>
                    <a:lnTo>
                      <a:pt x="75" y="700"/>
                    </a:lnTo>
                    <a:lnTo>
                      <a:pt x="123" y="748"/>
                    </a:lnTo>
                    <a:lnTo>
                      <a:pt x="144" y="847"/>
                    </a:lnTo>
                    <a:lnTo>
                      <a:pt x="206" y="888"/>
                    </a:lnTo>
                    <a:lnTo>
                      <a:pt x="234" y="916"/>
                    </a:lnTo>
                    <a:lnTo>
                      <a:pt x="276" y="940"/>
                    </a:lnTo>
                    <a:lnTo>
                      <a:pt x="338" y="937"/>
                    </a:lnTo>
                    <a:lnTo>
                      <a:pt x="381" y="928"/>
                    </a:lnTo>
                    <a:lnTo>
                      <a:pt x="449" y="927"/>
                    </a:lnTo>
                    <a:lnTo>
                      <a:pt x="519" y="922"/>
                    </a:lnTo>
                    <a:lnTo>
                      <a:pt x="572" y="843"/>
                    </a:lnTo>
                    <a:lnTo>
                      <a:pt x="606" y="825"/>
                    </a:lnTo>
                    <a:lnTo>
                      <a:pt x="657" y="820"/>
                    </a:lnTo>
                    <a:lnTo>
                      <a:pt x="677" y="795"/>
                    </a:lnTo>
                    <a:lnTo>
                      <a:pt x="708" y="787"/>
                    </a:lnTo>
                    <a:lnTo>
                      <a:pt x="816" y="790"/>
                    </a:lnTo>
                    <a:lnTo>
                      <a:pt x="870" y="811"/>
                    </a:lnTo>
                    <a:lnTo>
                      <a:pt x="879" y="832"/>
                    </a:lnTo>
                    <a:lnTo>
                      <a:pt x="897" y="814"/>
                    </a:lnTo>
                    <a:lnTo>
                      <a:pt x="933" y="814"/>
                    </a:lnTo>
                    <a:lnTo>
                      <a:pt x="945" y="787"/>
                    </a:lnTo>
                    <a:lnTo>
                      <a:pt x="966" y="772"/>
                    </a:lnTo>
                    <a:lnTo>
                      <a:pt x="966" y="748"/>
                    </a:lnTo>
                    <a:lnTo>
                      <a:pt x="792" y="580"/>
                    </a:lnTo>
                    <a:lnTo>
                      <a:pt x="830" y="579"/>
                    </a:lnTo>
                    <a:lnTo>
                      <a:pt x="846" y="565"/>
                    </a:lnTo>
                    <a:lnTo>
                      <a:pt x="855" y="541"/>
                    </a:lnTo>
                    <a:lnTo>
                      <a:pt x="873" y="523"/>
                    </a:lnTo>
                    <a:lnTo>
                      <a:pt x="900" y="502"/>
                    </a:lnTo>
                    <a:lnTo>
                      <a:pt x="896" y="481"/>
                    </a:lnTo>
                    <a:lnTo>
                      <a:pt x="908" y="468"/>
                    </a:lnTo>
                    <a:lnTo>
                      <a:pt x="915" y="439"/>
                    </a:lnTo>
                    <a:lnTo>
                      <a:pt x="918" y="411"/>
                    </a:lnTo>
                    <a:lnTo>
                      <a:pt x="912" y="391"/>
                    </a:lnTo>
                    <a:lnTo>
                      <a:pt x="864" y="301"/>
                    </a:lnTo>
                    <a:lnTo>
                      <a:pt x="833" y="310"/>
                    </a:lnTo>
                    <a:lnTo>
                      <a:pt x="807" y="316"/>
                    </a:lnTo>
                    <a:lnTo>
                      <a:pt x="765" y="307"/>
                    </a:lnTo>
                    <a:lnTo>
                      <a:pt x="735" y="322"/>
                    </a:lnTo>
                    <a:lnTo>
                      <a:pt x="597" y="283"/>
                    </a:lnTo>
                    <a:lnTo>
                      <a:pt x="566" y="289"/>
                    </a:lnTo>
                    <a:lnTo>
                      <a:pt x="531" y="292"/>
                    </a:lnTo>
                    <a:lnTo>
                      <a:pt x="582" y="262"/>
                    </a:lnTo>
                    <a:lnTo>
                      <a:pt x="564" y="228"/>
                    </a:lnTo>
                    <a:lnTo>
                      <a:pt x="558" y="199"/>
                    </a:lnTo>
                    <a:lnTo>
                      <a:pt x="578" y="172"/>
                    </a:lnTo>
                    <a:lnTo>
                      <a:pt x="582" y="157"/>
                    </a:lnTo>
                    <a:lnTo>
                      <a:pt x="561" y="97"/>
                    </a:lnTo>
                    <a:lnTo>
                      <a:pt x="552" y="52"/>
                    </a:lnTo>
                    <a:lnTo>
                      <a:pt x="600" y="22"/>
                    </a:lnTo>
                    <a:lnTo>
                      <a:pt x="584" y="1"/>
                    </a:lnTo>
                    <a:lnTo>
                      <a:pt x="570" y="4"/>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61" name="Freeform 34">
                <a:extLst>
                  <a:ext uri="{FF2B5EF4-FFF2-40B4-BE49-F238E27FC236}">
                    <a16:creationId xmlns:a16="http://schemas.microsoft.com/office/drawing/2014/main" xmlns="" id="{657803BB-A7FF-41E8-9484-DC35E0C07906}"/>
                  </a:ext>
                </a:extLst>
              </p:cNvPr>
              <p:cNvSpPr>
                <a:spLocks/>
              </p:cNvSpPr>
              <p:nvPr/>
            </p:nvSpPr>
            <p:spPr bwMode="auto">
              <a:xfrm>
                <a:off x="1182" y="1983"/>
                <a:ext cx="918" cy="1320"/>
              </a:xfrm>
              <a:custGeom>
                <a:avLst/>
                <a:gdLst/>
                <a:ahLst/>
                <a:cxnLst>
                  <a:cxn ang="0">
                    <a:pos x="537" y="63"/>
                  </a:cxn>
                  <a:cxn ang="0">
                    <a:pos x="432" y="51"/>
                  </a:cxn>
                  <a:cxn ang="0">
                    <a:pos x="360" y="21"/>
                  </a:cxn>
                  <a:cxn ang="0">
                    <a:pos x="237" y="36"/>
                  </a:cxn>
                  <a:cxn ang="0">
                    <a:pos x="153" y="93"/>
                  </a:cxn>
                  <a:cxn ang="0">
                    <a:pos x="110" y="110"/>
                  </a:cxn>
                  <a:cxn ang="0">
                    <a:pos x="125" y="158"/>
                  </a:cxn>
                  <a:cxn ang="0">
                    <a:pos x="219" y="135"/>
                  </a:cxn>
                  <a:cxn ang="0">
                    <a:pos x="252" y="177"/>
                  </a:cxn>
                  <a:cxn ang="0">
                    <a:pos x="216" y="303"/>
                  </a:cxn>
                  <a:cxn ang="0">
                    <a:pos x="165" y="396"/>
                  </a:cxn>
                  <a:cxn ang="0">
                    <a:pos x="132" y="375"/>
                  </a:cxn>
                  <a:cxn ang="0">
                    <a:pos x="102" y="447"/>
                  </a:cxn>
                  <a:cxn ang="0">
                    <a:pos x="54" y="624"/>
                  </a:cxn>
                  <a:cxn ang="0">
                    <a:pos x="111" y="693"/>
                  </a:cxn>
                  <a:cxn ang="0">
                    <a:pos x="195" y="666"/>
                  </a:cxn>
                  <a:cxn ang="0">
                    <a:pos x="234" y="690"/>
                  </a:cxn>
                  <a:cxn ang="0">
                    <a:pos x="240" y="789"/>
                  </a:cxn>
                  <a:cxn ang="0">
                    <a:pos x="99" y="1005"/>
                  </a:cxn>
                  <a:cxn ang="0">
                    <a:pos x="54" y="1050"/>
                  </a:cxn>
                  <a:cxn ang="0">
                    <a:pos x="9" y="1116"/>
                  </a:cxn>
                  <a:cxn ang="0">
                    <a:pos x="18" y="1179"/>
                  </a:cxn>
                  <a:cxn ang="0">
                    <a:pos x="0" y="1236"/>
                  </a:cxn>
                  <a:cxn ang="0">
                    <a:pos x="18" y="1290"/>
                  </a:cxn>
                  <a:cxn ang="0">
                    <a:pos x="57" y="1320"/>
                  </a:cxn>
                  <a:cxn ang="0">
                    <a:pos x="96" y="1314"/>
                  </a:cxn>
                  <a:cxn ang="0">
                    <a:pos x="192" y="1281"/>
                  </a:cxn>
                  <a:cxn ang="0">
                    <a:pos x="351" y="1152"/>
                  </a:cxn>
                  <a:cxn ang="0">
                    <a:pos x="390" y="1104"/>
                  </a:cxn>
                  <a:cxn ang="0">
                    <a:pos x="414" y="996"/>
                  </a:cxn>
                  <a:cxn ang="0">
                    <a:pos x="426" y="909"/>
                  </a:cxn>
                  <a:cxn ang="0">
                    <a:pos x="417" y="861"/>
                  </a:cxn>
                  <a:cxn ang="0">
                    <a:pos x="429" y="801"/>
                  </a:cxn>
                  <a:cxn ang="0">
                    <a:pos x="531" y="762"/>
                  </a:cxn>
                  <a:cxn ang="0">
                    <a:pos x="528" y="750"/>
                  </a:cxn>
                  <a:cxn ang="0">
                    <a:pos x="543" y="711"/>
                  </a:cxn>
                  <a:cxn ang="0">
                    <a:pos x="561" y="684"/>
                  </a:cxn>
                  <a:cxn ang="0">
                    <a:pos x="594" y="660"/>
                  </a:cxn>
                  <a:cxn ang="0">
                    <a:pos x="573" y="609"/>
                  </a:cxn>
                  <a:cxn ang="0">
                    <a:pos x="639" y="567"/>
                  </a:cxn>
                  <a:cxn ang="0">
                    <a:pos x="726" y="570"/>
                  </a:cxn>
                  <a:cxn ang="0">
                    <a:pos x="774" y="546"/>
                  </a:cxn>
                  <a:cxn ang="0">
                    <a:pos x="875" y="527"/>
                  </a:cxn>
                  <a:cxn ang="0">
                    <a:pos x="918" y="504"/>
                  </a:cxn>
                  <a:cxn ang="0">
                    <a:pos x="891" y="468"/>
                  </a:cxn>
                  <a:cxn ang="0">
                    <a:pos x="869" y="440"/>
                  </a:cxn>
                  <a:cxn ang="0">
                    <a:pos x="855" y="363"/>
                  </a:cxn>
                  <a:cxn ang="0">
                    <a:pos x="696" y="309"/>
                  </a:cxn>
                  <a:cxn ang="0">
                    <a:pos x="630" y="227"/>
                  </a:cxn>
                  <a:cxn ang="0">
                    <a:pos x="569" y="131"/>
                  </a:cxn>
                  <a:cxn ang="0">
                    <a:pos x="573" y="57"/>
                  </a:cxn>
                </a:cxnLst>
                <a:rect l="0" t="0" r="r" b="b"/>
                <a:pathLst>
                  <a:path w="918" h="1320">
                    <a:moveTo>
                      <a:pt x="573" y="57"/>
                    </a:moveTo>
                    <a:lnTo>
                      <a:pt x="537" y="63"/>
                    </a:lnTo>
                    <a:lnTo>
                      <a:pt x="524" y="74"/>
                    </a:lnTo>
                    <a:lnTo>
                      <a:pt x="432" y="51"/>
                    </a:lnTo>
                    <a:lnTo>
                      <a:pt x="405" y="24"/>
                    </a:lnTo>
                    <a:lnTo>
                      <a:pt x="360" y="21"/>
                    </a:lnTo>
                    <a:lnTo>
                      <a:pt x="297" y="0"/>
                    </a:lnTo>
                    <a:lnTo>
                      <a:pt x="237" y="36"/>
                    </a:lnTo>
                    <a:lnTo>
                      <a:pt x="213" y="75"/>
                    </a:lnTo>
                    <a:lnTo>
                      <a:pt x="153" y="93"/>
                    </a:lnTo>
                    <a:lnTo>
                      <a:pt x="147" y="111"/>
                    </a:lnTo>
                    <a:lnTo>
                      <a:pt x="110" y="110"/>
                    </a:lnTo>
                    <a:lnTo>
                      <a:pt x="111" y="144"/>
                    </a:lnTo>
                    <a:lnTo>
                      <a:pt x="125" y="158"/>
                    </a:lnTo>
                    <a:lnTo>
                      <a:pt x="135" y="177"/>
                    </a:lnTo>
                    <a:lnTo>
                      <a:pt x="219" y="135"/>
                    </a:lnTo>
                    <a:cubicBezTo>
                      <a:pt x="234" y="142"/>
                      <a:pt x="228" y="138"/>
                      <a:pt x="237" y="147"/>
                    </a:cubicBezTo>
                    <a:lnTo>
                      <a:pt x="252" y="177"/>
                    </a:lnTo>
                    <a:lnTo>
                      <a:pt x="249" y="225"/>
                    </a:lnTo>
                    <a:lnTo>
                      <a:pt x="216" y="303"/>
                    </a:lnTo>
                    <a:lnTo>
                      <a:pt x="207" y="399"/>
                    </a:lnTo>
                    <a:lnTo>
                      <a:pt x="165" y="396"/>
                    </a:lnTo>
                    <a:lnTo>
                      <a:pt x="147" y="396"/>
                    </a:lnTo>
                    <a:lnTo>
                      <a:pt x="132" y="375"/>
                    </a:lnTo>
                    <a:lnTo>
                      <a:pt x="114" y="399"/>
                    </a:lnTo>
                    <a:lnTo>
                      <a:pt x="102" y="447"/>
                    </a:lnTo>
                    <a:lnTo>
                      <a:pt x="84" y="525"/>
                    </a:lnTo>
                    <a:lnTo>
                      <a:pt x="54" y="624"/>
                    </a:lnTo>
                    <a:lnTo>
                      <a:pt x="54" y="696"/>
                    </a:lnTo>
                    <a:lnTo>
                      <a:pt x="111" y="693"/>
                    </a:lnTo>
                    <a:lnTo>
                      <a:pt x="168" y="675"/>
                    </a:lnTo>
                    <a:lnTo>
                      <a:pt x="195" y="666"/>
                    </a:lnTo>
                    <a:lnTo>
                      <a:pt x="210" y="680"/>
                    </a:lnTo>
                    <a:lnTo>
                      <a:pt x="234" y="690"/>
                    </a:lnTo>
                    <a:lnTo>
                      <a:pt x="306" y="723"/>
                    </a:lnTo>
                    <a:lnTo>
                      <a:pt x="240" y="789"/>
                    </a:lnTo>
                    <a:lnTo>
                      <a:pt x="197" y="863"/>
                    </a:lnTo>
                    <a:lnTo>
                      <a:pt x="99" y="1005"/>
                    </a:lnTo>
                    <a:lnTo>
                      <a:pt x="48" y="1026"/>
                    </a:lnTo>
                    <a:lnTo>
                      <a:pt x="54" y="1050"/>
                    </a:lnTo>
                    <a:lnTo>
                      <a:pt x="39" y="1083"/>
                    </a:lnTo>
                    <a:lnTo>
                      <a:pt x="9" y="1116"/>
                    </a:lnTo>
                    <a:lnTo>
                      <a:pt x="12" y="1140"/>
                    </a:lnTo>
                    <a:lnTo>
                      <a:pt x="18" y="1179"/>
                    </a:lnTo>
                    <a:lnTo>
                      <a:pt x="12" y="1212"/>
                    </a:lnTo>
                    <a:lnTo>
                      <a:pt x="0" y="1236"/>
                    </a:lnTo>
                    <a:lnTo>
                      <a:pt x="3" y="1272"/>
                    </a:lnTo>
                    <a:lnTo>
                      <a:pt x="18" y="1290"/>
                    </a:lnTo>
                    <a:lnTo>
                      <a:pt x="41" y="1317"/>
                    </a:lnTo>
                    <a:lnTo>
                      <a:pt x="57" y="1320"/>
                    </a:lnTo>
                    <a:lnTo>
                      <a:pt x="69" y="1313"/>
                    </a:lnTo>
                    <a:lnTo>
                      <a:pt x="96" y="1314"/>
                    </a:lnTo>
                    <a:lnTo>
                      <a:pt x="108" y="1296"/>
                    </a:lnTo>
                    <a:lnTo>
                      <a:pt x="192" y="1281"/>
                    </a:lnTo>
                    <a:lnTo>
                      <a:pt x="324" y="1158"/>
                    </a:lnTo>
                    <a:lnTo>
                      <a:pt x="351" y="1152"/>
                    </a:lnTo>
                    <a:lnTo>
                      <a:pt x="372" y="1122"/>
                    </a:lnTo>
                    <a:lnTo>
                      <a:pt x="390" y="1104"/>
                    </a:lnTo>
                    <a:lnTo>
                      <a:pt x="405" y="1014"/>
                    </a:lnTo>
                    <a:lnTo>
                      <a:pt x="414" y="996"/>
                    </a:lnTo>
                    <a:lnTo>
                      <a:pt x="402" y="963"/>
                    </a:lnTo>
                    <a:lnTo>
                      <a:pt x="426" y="909"/>
                    </a:lnTo>
                    <a:lnTo>
                      <a:pt x="402" y="876"/>
                    </a:lnTo>
                    <a:lnTo>
                      <a:pt x="417" y="861"/>
                    </a:lnTo>
                    <a:cubicBezTo>
                      <a:pt x="432" y="835"/>
                      <a:pt x="429" y="848"/>
                      <a:pt x="429" y="822"/>
                    </a:cubicBezTo>
                    <a:lnTo>
                      <a:pt x="429" y="801"/>
                    </a:lnTo>
                    <a:lnTo>
                      <a:pt x="483" y="789"/>
                    </a:lnTo>
                    <a:lnTo>
                      <a:pt x="531" y="762"/>
                    </a:lnTo>
                    <a:lnTo>
                      <a:pt x="555" y="765"/>
                    </a:lnTo>
                    <a:lnTo>
                      <a:pt x="528" y="750"/>
                    </a:lnTo>
                    <a:lnTo>
                      <a:pt x="531" y="732"/>
                    </a:lnTo>
                    <a:lnTo>
                      <a:pt x="543" y="711"/>
                    </a:lnTo>
                    <a:lnTo>
                      <a:pt x="564" y="711"/>
                    </a:lnTo>
                    <a:lnTo>
                      <a:pt x="561" y="684"/>
                    </a:lnTo>
                    <a:lnTo>
                      <a:pt x="579" y="672"/>
                    </a:lnTo>
                    <a:lnTo>
                      <a:pt x="594" y="660"/>
                    </a:lnTo>
                    <a:lnTo>
                      <a:pt x="585" y="636"/>
                    </a:lnTo>
                    <a:lnTo>
                      <a:pt x="573" y="609"/>
                    </a:lnTo>
                    <a:lnTo>
                      <a:pt x="594" y="561"/>
                    </a:lnTo>
                    <a:lnTo>
                      <a:pt x="639" y="567"/>
                    </a:lnTo>
                    <a:lnTo>
                      <a:pt x="681" y="555"/>
                    </a:lnTo>
                    <a:lnTo>
                      <a:pt x="726" y="570"/>
                    </a:lnTo>
                    <a:lnTo>
                      <a:pt x="717" y="540"/>
                    </a:lnTo>
                    <a:lnTo>
                      <a:pt x="774" y="546"/>
                    </a:lnTo>
                    <a:lnTo>
                      <a:pt x="843" y="522"/>
                    </a:lnTo>
                    <a:lnTo>
                      <a:pt x="875" y="527"/>
                    </a:lnTo>
                    <a:lnTo>
                      <a:pt x="900" y="507"/>
                    </a:lnTo>
                    <a:lnTo>
                      <a:pt x="918" y="504"/>
                    </a:lnTo>
                    <a:lnTo>
                      <a:pt x="912" y="477"/>
                    </a:lnTo>
                    <a:lnTo>
                      <a:pt x="891" y="468"/>
                    </a:lnTo>
                    <a:lnTo>
                      <a:pt x="879" y="444"/>
                    </a:lnTo>
                    <a:lnTo>
                      <a:pt x="869" y="440"/>
                    </a:lnTo>
                    <a:lnTo>
                      <a:pt x="870" y="414"/>
                    </a:lnTo>
                    <a:lnTo>
                      <a:pt x="855" y="363"/>
                    </a:lnTo>
                    <a:lnTo>
                      <a:pt x="758" y="362"/>
                    </a:lnTo>
                    <a:lnTo>
                      <a:pt x="696" y="309"/>
                    </a:lnTo>
                    <a:lnTo>
                      <a:pt x="641" y="273"/>
                    </a:lnTo>
                    <a:lnTo>
                      <a:pt x="630" y="227"/>
                    </a:lnTo>
                    <a:lnTo>
                      <a:pt x="620" y="177"/>
                    </a:lnTo>
                    <a:lnTo>
                      <a:pt x="569" y="131"/>
                    </a:lnTo>
                    <a:lnTo>
                      <a:pt x="576" y="114"/>
                    </a:lnTo>
                    <a:lnTo>
                      <a:pt x="573" y="57"/>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62" name="Freeform 35">
                <a:extLst>
                  <a:ext uri="{FF2B5EF4-FFF2-40B4-BE49-F238E27FC236}">
                    <a16:creationId xmlns:a16="http://schemas.microsoft.com/office/drawing/2014/main" xmlns="" id="{5BEBAC1B-893E-4B64-933F-7C23C253D116}"/>
                  </a:ext>
                </a:extLst>
              </p:cNvPr>
              <p:cNvSpPr>
                <a:spLocks/>
              </p:cNvSpPr>
              <p:nvPr/>
            </p:nvSpPr>
            <p:spPr bwMode="auto">
              <a:xfrm>
                <a:off x="1583" y="2325"/>
                <a:ext cx="799" cy="705"/>
              </a:xfrm>
              <a:custGeom>
                <a:avLst/>
                <a:gdLst/>
                <a:ahLst/>
                <a:cxnLst>
                  <a:cxn ang="0">
                    <a:pos x="46" y="675"/>
                  </a:cxn>
                  <a:cxn ang="0">
                    <a:pos x="94" y="678"/>
                  </a:cxn>
                  <a:cxn ang="0">
                    <a:pos x="183" y="687"/>
                  </a:cxn>
                  <a:cxn ang="0">
                    <a:pos x="262" y="693"/>
                  </a:cxn>
                  <a:cxn ang="0">
                    <a:pos x="310" y="699"/>
                  </a:cxn>
                  <a:cxn ang="0">
                    <a:pos x="358" y="705"/>
                  </a:cxn>
                  <a:cxn ang="0">
                    <a:pos x="417" y="704"/>
                  </a:cxn>
                  <a:cxn ang="0">
                    <a:pos x="553" y="660"/>
                  </a:cxn>
                  <a:cxn ang="0">
                    <a:pos x="643" y="672"/>
                  </a:cxn>
                  <a:cxn ang="0">
                    <a:pos x="709" y="675"/>
                  </a:cxn>
                  <a:cxn ang="0">
                    <a:pos x="799" y="590"/>
                  </a:cxn>
                  <a:cxn ang="0">
                    <a:pos x="799" y="408"/>
                  </a:cxn>
                  <a:cxn ang="0">
                    <a:pos x="796" y="372"/>
                  </a:cxn>
                  <a:cxn ang="0">
                    <a:pos x="778" y="338"/>
                  </a:cxn>
                  <a:cxn ang="0">
                    <a:pos x="766" y="306"/>
                  </a:cxn>
                  <a:cxn ang="0">
                    <a:pos x="760" y="258"/>
                  </a:cxn>
                  <a:cxn ang="0">
                    <a:pos x="742" y="207"/>
                  </a:cxn>
                  <a:cxn ang="0">
                    <a:pos x="700" y="240"/>
                  </a:cxn>
                  <a:cxn ang="0">
                    <a:pos x="676" y="165"/>
                  </a:cxn>
                  <a:cxn ang="0">
                    <a:pos x="670" y="126"/>
                  </a:cxn>
                  <a:cxn ang="0">
                    <a:pos x="748" y="81"/>
                  </a:cxn>
                  <a:cxn ang="0">
                    <a:pos x="709" y="9"/>
                  </a:cxn>
                  <a:cxn ang="0">
                    <a:pos x="630" y="14"/>
                  </a:cxn>
                  <a:cxn ang="0">
                    <a:pos x="456" y="33"/>
                  </a:cxn>
                  <a:cxn ang="0">
                    <a:pos x="469" y="78"/>
                  </a:cxn>
                  <a:cxn ang="0">
                    <a:pos x="487" y="111"/>
                  </a:cxn>
                  <a:cxn ang="0">
                    <a:pos x="511" y="129"/>
                  </a:cxn>
                  <a:cxn ang="0">
                    <a:pos x="496" y="168"/>
                  </a:cxn>
                  <a:cxn ang="0">
                    <a:pos x="478" y="182"/>
                  </a:cxn>
                  <a:cxn ang="0">
                    <a:pos x="393" y="197"/>
                  </a:cxn>
                  <a:cxn ang="0">
                    <a:pos x="372" y="204"/>
                  </a:cxn>
                  <a:cxn ang="0">
                    <a:pos x="325" y="225"/>
                  </a:cxn>
                  <a:cxn ang="0">
                    <a:pos x="244" y="228"/>
                  </a:cxn>
                  <a:cxn ang="0">
                    <a:pos x="175" y="270"/>
                  </a:cxn>
                  <a:cxn ang="0">
                    <a:pos x="160" y="342"/>
                  </a:cxn>
                  <a:cxn ang="0">
                    <a:pos x="141" y="369"/>
                  </a:cxn>
                  <a:cxn ang="0">
                    <a:pos x="148" y="417"/>
                  </a:cxn>
                  <a:cxn ang="0">
                    <a:pos x="82" y="444"/>
                  </a:cxn>
                  <a:cxn ang="0">
                    <a:pos x="28" y="495"/>
                  </a:cxn>
                  <a:cxn ang="0">
                    <a:pos x="0" y="536"/>
                  </a:cxn>
                  <a:cxn ang="0">
                    <a:pos x="1" y="615"/>
                  </a:cxn>
                  <a:cxn ang="0">
                    <a:pos x="3" y="675"/>
                  </a:cxn>
                </a:cxnLst>
                <a:rect l="0" t="0" r="r" b="b"/>
                <a:pathLst>
                  <a:path w="799" h="705">
                    <a:moveTo>
                      <a:pt x="3" y="675"/>
                    </a:moveTo>
                    <a:lnTo>
                      <a:pt x="46" y="675"/>
                    </a:lnTo>
                    <a:lnTo>
                      <a:pt x="64" y="696"/>
                    </a:lnTo>
                    <a:lnTo>
                      <a:pt x="94" y="678"/>
                    </a:lnTo>
                    <a:lnTo>
                      <a:pt x="115" y="690"/>
                    </a:lnTo>
                    <a:lnTo>
                      <a:pt x="183" y="687"/>
                    </a:lnTo>
                    <a:lnTo>
                      <a:pt x="247" y="681"/>
                    </a:lnTo>
                    <a:lnTo>
                      <a:pt x="262" y="693"/>
                    </a:lnTo>
                    <a:lnTo>
                      <a:pt x="292" y="690"/>
                    </a:lnTo>
                    <a:lnTo>
                      <a:pt x="310" y="699"/>
                    </a:lnTo>
                    <a:lnTo>
                      <a:pt x="334" y="699"/>
                    </a:lnTo>
                    <a:lnTo>
                      <a:pt x="358" y="705"/>
                    </a:lnTo>
                    <a:lnTo>
                      <a:pt x="397" y="693"/>
                    </a:lnTo>
                    <a:lnTo>
                      <a:pt x="417" y="704"/>
                    </a:lnTo>
                    <a:lnTo>
                      <a:pt x="477" y="684"/>
                    </a:lnTo>
                    <a:lnTo>
                      <a:pt x="553" y="660"/>
                    </a:lnTo>
                    <a:lnTo>
                      <a:pt x="619" y="678"/>
                    </a:lnTo>
                    <a:lnTo>
                      <a:pt x="643" y="672"/>
                    </a:lnTo>
                    <a:lnTo>
                      <a:pt x="673" y="686"/>
                    </a:lnTo>
                    <a:lnTo>
                      <a:pt x="709" y="675"/>
                    </a:lnTo>
                    <a:lnTo>
                      <a:pt x="715" y="594"/>
                    </a:lnTo>
                    <a:lnTo>
                      <a:pt x="799" y="590"/>
                    </a:lnTo>
                    <a:lnTo>
                      <a:pt x="790" y="462"/>
                    </a:lnTo>
                    <a:lnTo>
                      <a:pt x="799" y="408"/>
                    </a:lnTo>
                    <a:lnTo>
                      <a:pt x="781" y="405"/>
                    </a:lnTo>
                    <a:lnTo>
                      <a:pt x="796" y="372"/>
                    </a:lnTo>
                    <a:lnTo>
                      <a:pt x="772" y="366"/>
                    </a:lnTo>
                    <a:lnTo>
                      <a:pt x="778" y="338"/>
                    </a:lnTo>
                    <a:lnTo>
                      <a:pt x="769" y="324"/>
                    </a:lnTo>
                    <a:lnTo>
                      <a:pt x="766" y="306"/>
                    </a:lnTo>
                    <a:lnTo>
                      <a:pt x="781" y="282"/>
                    </a:lnTo>
                    <a:lnTo>
                      <a:pt x="760" y="258"/>
                    </a:lnTo>
                    <a:lnTo>
                      <a:pt x="751" y="231"/>
                    </a:lnTo>
                    <a:lnTo>
                      <a:pt x="742" y="207"/>
                    </a:lnTo>
                    <a:lnTo>
                      <a:pt x="721" y="201"/>
                    </a:lnTo>
                    <a:lnTo>
                      <a:pt x="700" y="240"/>
                    </a:lnTo>
                    <a:lnTo>
                      <a:pt x="682" y="204"/>
                    </a:lnTo>
                    <a:lnTo>
                      <a:pt x="676" y="165"/>
                    </a:lnTo>
                    <a:lnTo>
                      <a:pt x="693" y="138"/>
                    </a:lnTo>
                    <a:lnTo>
                      <a:pt x="670" y="126"/>
                    </a:lnTo>
                    <a:lnTo>
                      <a:pt x="676" y="102"/>
                    </a:lnTo>
                    <a:lnTo>
                      <a:pt x="748" y="81"/>
                    </a:lnTo>
                    <a:lnTo>
                      <a:pt x="727" y="21"/>
                    </a:lnTo>
                    <a:lnTo>
                      <a:pt x="709" y="9"/>
                    </a:lnTo>
                    <a:lnTo>
                      <a:pt x="679" y="0"/>
                    </a:lnTo>
                    <a:lnTo>
                      <a:pt x="630" y="14"/>
                    </a:lnTo>
                    <a:lnTo>
                      <a:pt x="454" y="15"/>
                    </a:lnTo>
                    <a:lnTo>
                      <a:pt x="456" y="33"/>
                    </a:lnTo>
                    <a:lnTo>
                      <a:pt x="465" y="56"/>
                    </a:lnTo>
                    <a:lnTo>
                      <a:pt x="469" y="78"/>
                    </a:lnTo>
                    <a:lnTo>
                      <a:pt x="466" y="99"/>
                    </a:lnTo>
                    <a:lnTo>
                      <a:pt x="487" y="111"/>
                    </a:lnTo>
                    <a:lnTo>
                      <a:pt x="490" y="123"/>
                    </a:lnTo>
                    <a:lnTo>
                      <a:pt x="511" y="129"/>
                    </a:lnTo>
                    <a:lnTo>
                      <a:pt x="514" y="159"/>
                    </a:lnTo>
                    <a:lnTo>
                      <a:pt x="496" y="168"/>
                    </a:lnTo>
                    <a:lnTo>
                      <a:pt x="486" y="174"/>
                    </a:lnTo>
                    <a:lnTo>
                      <a:pt x="478" y="182"/>
                    </a:lnTo>
                    <a:lnTo>
                      <a:pt x="445" y="180"/>
                    </a:lnTo>
                    <a:lnTo>
                      <a:pt x="393" y="197"/>
                    </a:lnTo>
                    <a:lnTo>
                      <a:pt x="382" y="210"/>
                    </a:lnTo>
                    <a:lnTo>
                      <a:pt x="372" y="204"/>
                    </a:lnTo>
                    <a:lnTo>
                      <a:pt x="319" y="195"/>
                    </a:lnTo>
                    <a:lnTo>
                      <a:pt x="325" y="225"/>
                    </a:lnTo>
                    <a:lnTo>
                      <a:pt x="283" y="210"/>
                    </a:lnTo>
                    <a:lnTo>
                      <a:pt x="244" y="228"/>
                    </a:lnTo>
                    <a:lnTo>
                      <a:pt x="192" y="219"/>
                    </a:lnTo>
                    <a:lnTo>
                      <a:pt x="175" y="270"/>
                    </a:lnTo>
                    <a:lnTo>
                      <a:pt x="196" y="324"/>
                    </a:lnTo>
                    <a:lnTo>
                      <a:pt x="160" y="342"/>
                    </a:lnTo>
                    <a:lnTo>
                      <a:pt x="157" y="366"/>
                    </a:lnTo>
                    <a:lnTo>
                      <a:pt x="141" y="369"/>
                    </a:lnTo>
                    <a:lnTo>
                      <a:pt x="124" y="402"/>
                    </a:lnTo>
                    <a:lnTo>
                      <a:pt x="148" y="417"/>
                    </a:lnTo>
                    <a:lnTo>
                      <a:pt x="129" y="420"/>
                    </a:lnTo>
                    <a:lnTo>
                      <a:pt x="82" y="444"/>
                    </a:lnTo>
                    <a:lnTo>
                      <a:pt x="25" y="459"/>
                    </a:lnTo>
                    <a:lnTo>
                      <a:pt x="28" y="495"/>
                    </a:lnTo>
                    <a:lnTo>
                      <a:pt x="21" y="510"/>
                    </a:lnTo>
                    <a:lnTo>
                      <a:pt x="0" y="536"/>
                    </a:lnTo>
                    <a:lnTo>
                      <a:pt x="27" y="572"/>
                    </a:lnTo>
                    <a:lnTo>
                      <a:pt x="1" y="615"/>
                    </a:lnTo>
                    <a:lnTo>
                      <a:pt x="10" y="647"/>
                    </a:lnTo>
                    <a:lnTo>
                      <a:pt x="3" y="675"/>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63" name="Freeform 36">
                <a:extLst>
                  <a:ext uri="{FF2B5EF4-FFF2-40B4-BE49-F238E27FC236}">
                    <a16:creationId xmlns:a16="http://schemas.microsoft.com/office/drawing/2014/main" xmlns="" id="{3DFBBAA0-8C22-47FD-9011-D3AF18A55819}"/>
                  </a:ext>
                </a:extLst>
              </p:cNvPr>
              <p:cNvSpPr>
                <a:spLocks/>
              </p:cNvSpPr>
              <p:nvPr/>
            </p:nvSpPr>
            <p:spPr bwMode="auto">
              <a:xfrm>
                <a:off x="2195" y="2160"/>
                <a:ext cx="690" cy="587"/>
              </a:xfrm>
              <a:custGeom>
                <a:avLst/>
                <a:gdLst/>
                <a:ahLst/>
                <a:cxnLst>
                  <a:cxn ang="0">
                    <a:pos x="45" y="102"/>
                  </a:cxn>
                  <a:cxn ang="0">
                    <a:pos x="97" y="71"/>
                  </a:cxn>
                  <a:cxn ang="0">
                    <a:pos x="169" y="45"/>
                  </a:cxn>
                  <a:cxn ang="0">
                    <a:pos x="228" y="30"/>
                  </a:cxn>
                  <a:cxn ang="0">
                    <a:pos x="349" y="57"/>
                  </a:cxn>
                  <a:cxn ang="0">
                    <a:pos x="379" y="62"/>
                  </a:cxn>
                  <a:cxn ang="0">
                    <a:pos x="429" y="33"/>
                  </a:cxn>
                  <a:cxn ang="0">
                    <a:pos x="448" y="0"/>
                  </a:cxn>
                  <a:cxn ang="0">
                    <a:pos x="496" y="38"/>
                  </a:cxn>
                  <a:cxn ang="0">
                    <a:pos x="523" y="150"/>
                  </a:cxn>
                  <a:cxn ang="0">
                    <a:pos x="547" y="245"/>
                  </a:cxn>
                  <a:cxn ang="0">
                    <a:pos x="538" y="290"/>
                  </a:cxn>
                  <a:cxn ang="0">
                    <a:pos x="618" y="318"/>
                  </a:cxn>
                  <a:cxn ang="0">
                    <a:pos x="667" y="357"/>
                  </a:cxn>
                  <a:cxn ang="0">
                    <a:pos x="660" y="377"/>
                  </a:cxn>
                  <a:cxn ang="0">
                    <a:pos x="636" y="437"/>
                  </a:cxn>
                  <a:cxn ang="0">
                    <a:pos x="661" y="461"/>
                  </a:cxn>
                  <a:cxn ang="0">
                    <a:pos x="690" y="494"/>
                  </a:cxn>
                  <a:cxn ang="0">
                    <a:pos x="658" y="539"/>
                  </a:cxn>
                  <a:cxn ang="0">
                    <a:pos x="571" y="513"/>
                  </a:cxn>
                  <a:cxn ang="0">
                    <a:pos x="510" y="500"/>
                  </a:cxn>
                  <a:cxn ang="0">
                    <a:pos x="454" y="510"/>
                  </a:cxn>
                  <a:cxn ang="0">
                    <a:pos x="397" y="513"/>
                  </a:cxn>
                  <a:cxn ang="0">
                    <a:pos x="367" y="546"/>
                  </a:cxn>
                  <a:cxn ang="0">
                    <a:pos x="348" y="578"/>
                  </a:cxn>
                  <a:cxn ang="0">
                    <a:pos x="273" y="576"/>
                  </a:cxn>
                  <a:cxn ang="0">
                    <a:pos x="243" y="558"/>
                  </a:cxn>
                  <a:cxn ang="0">
                    <a:pos x="181" y="534"/>
                  </a:cxn>
                  <a:cxn ang="0">
                    <a:pos x="163" y="501"/>
                  </a:cxn>
                  <a:cxn ang="0">
                    <a:pos x="151" y="468"/>
                  </a:cxn>
                  <a:cxn ang="0">
                    <a:pos x="145" y="423"/>
                  </a:cxn>
                  <a:cxn ang="0">
                    <a:pos x="130" y="369"/>
                  </a:cxn>
                  <a:cxn ang="0">
                    <a:pos x="88" y="407"/>
                  </a:cxn>
                  <a:cxn ang="0">
                    <a:pos x="64" y="329"/>
                  </a:cxn>
                  <a:cxn ang="0">
                    <a:pos x="57" y="291"/>
                  </a:cxn>
                  <a:cxn ang="0">
                    <a:pos x="135" y="246"/>
                  </a:cxn>
                  <a:cxn ang="0">
                    <a:pos x="99" y="173"/>
                  </a:cxn>
                  <a:cxn ang="0">
                    <a:pos x="18" y="177"/>
                  </a:cxn>
                </a:cxnLst>
                <a:rect l="0" t="0" r="r" b="b"/>
                <a:pathLst>
                  <a:path w="690" h="587">
                    <a:moveTo>
                      <a:pt x="0" y="168"/>
                    </a:moveTo>
                    <a:lnTo>
                      <a:pt x="45" y="102"/>
                    </a:lnTo>
                    <a:lnTo>
                      <a:pt x="57" y="84"/>
                    </a:lnTo>
                    <a:lnTo>
                      <a:pt x="97" y="71"/>
                    </a:lnTo>
                    <a:lnTo>
                      <a:pt x="142" y="68"/>
                    </a:lnTo>
                    <a:lnTo>
                      <a:pt x="169" y="45"/>
                    </a:lnTo>
                    <a:lnTo>
                      <a:pt x="181" y="44"/>
                    </a:lnTo>
                    <a:lnTo>
                      <a:pt x="228" y="30"/>
                    </a:lnTo>
                    <a:lnTo>
                      <a:pt x="307" y="39"/>
                    </a:lnTo>
                    <a:lnTo>
                      <a:pt x="349" y="57"/>
                    </a:lnTo>
                    <a:lnTo>
                      <a:pt x="357" y="77"/>
                    </a:lnTo>
                    <a:lnTo>
                      <a:pt x="379" y="62"/>
                    </a:lnTo>
                    <a:lnTo>
                      <a:pt x="412" y="63"/>
                    </a:lnTo>
                    <a:lnTo>
                      <a:pt x="429" y="33"/>
                    </a:lnTo>
                    <a:lnTo>
                      <a:pt x="448" y="24"/>
                    </a:lnTo>
                    <a:lnTo>
                      <a:pt x="448" y="0"/>
                    </a:lnTo>
                    <a:lnTo>
                      <a:pt x="484" y="17"/>
                    </a:lnTo>
                    <a:lnTo>
                      <a:pt x="496" y="38"/>
                    </a:lnTo>
                    <a:lnTo>
                      <a:pt x="540" y="68"/>
                    </a:lnTo>
                    <a:lnTo>
                      <a:pt x="523" y="150"/>
                    </a:lnTo>
                    <a:lnTo>
                      <a:pt x="528" y="215"/>
                    </a:lnTo>
                    <a:lnTo>
                      <a:pt x="547" y="245"/>
                    </a:lnTo>
                    <a:lnTo>
                      <a:pt x="550" y="272"/>
                    </a:lnTo>
                    <a:lnTo>
                      <a:pt x="538" y="290"/>
                    </a:lnTo>
                    <a:lnTo>
                      <a:pt x="556" y="303"/>
                    </a:lnTo>
                    <a:lnTo>
                      <a:pt x="618" y="318"/>
                    </a:lnTo>
                    <a:lnTo>
                      <a:pt x="648" y="345"/>
                    </a:lnTo>
                    <a:lnTo>
                      <a:pt x="667" y="357"/>
                    </a:lnTo>
                    <a:lnTo>
                      <a:pt x="675" y="369"/>
                    </a:lnTo>
                    <a:lnTo>
                      <a:pt x="660" y="377"/>
                    </a:lnTo>
                    <a:lnTo>
                      <a:pt x="643" y="419"/>
                    </a:lnTo>
                    <a:lnTo>
                      <a:pt x="636" y="437"/>
                    </a:lnTo>
                    <a:lnTo>
                      <a:pt x="648" y="464"/>
                    </a:lnTo>
                    <a:lnTo>
                      <a:pt x="661" y="461"/>
                    </a:lnTo>
                    <a:lnTo>
                      <a:pt x="684" y="468"/>
                    </a:lnTo>
                    <a:lnTo>
                      <a:pt x="690" y="494"/>
                    </a:lnTo>
                    <a:lnTo>
                      <a:pt x="670" y="534"/>
                    </a:lnTo>
                    <a:lnTo>
                      <a:pt x="658" y="539"/>
                    </a:lnTo>
                    <a:lnTo>
                      <a:pt x="625" y="530"/>
                    </a:lnTo>
                    <a:lnTo>
                      <a:pt x="571" y="513"/>
                    </a:lnTo>
                    <a:lnTo>
                      <a:pt x="532" y="485"/>
                    </a:lnTo>
                    <a:lnTo>
                      <a:pt x="510" y="500"/>
                    </a:lnTo>
                    <a:lnTo>
                      <a:pt x="483" y="509"/>
                    </a:lnTo>
                    <a:lnTo>
                      <a:pt x="454" y="510"/>
                    </a:lnTo>
                    <a:lnTo>
                      <a:pt x="405" y="504"/>
                    </a:lnTo>
                    <a:lnTo>
                      <a:pt x="397" y="513"/>
                    </a:lnTo>
                    <a:lnTo>
                      <a:pt x="384" y="533"/>
                    </a:lnTo>
                    <a:lnTo>
                      <a:pt x="367" y="546"/>
                    </a:lnTo>
                    <a:lnTo>
                      <a:pt x="357" y="549"/>
                    </a:lnTo>
                    <a:lnTo>
                      <a:pt x="348" y="578"/>
                    </a:lnTo>
                    <a:lnTo>
                      <a:pt x="327" y="587"/>
                    </a:lnTo>
                    <a:lnTo>
                      <a:pt x="273" y="576"/>
                    </a:lnTo>
                    <a:lnTo>
                      <a:pt x="264" y="570"/>
                    </a:lnTo>
                    <a:lnTo>
                      <a:pt x="243" y="558"/>
                    </a:lnTo>
                    <a:lnTo>
                      <a:pt x="201" y="542"/>
                    </a:lnTo>
                    <a:lnTo>
                      <a:pt x="181" y="534"/>
                    </a:lnTo>
                    <a:lnTo>
                      <a:pt x="159" y="528"/>
                    </a:lnTo>
                    <a:lnTo>
                      <a:pt x="163" y="501"/>
                    </a:lnTo>
                    <a:lnTo>
                      <a:pt x="156" y="488"/>
                    </a:lnTo>
                    <a:lnTo>
                      <a:pt x="151" y="468"/>
                    </a:lnTo>
                    <a:lnTo>
                      <a:pt x="168" y="447"/>
                    </a:lnTo>
                    <a:lnTo>
                      <a:pt x="145" y="423"/>
                    </a:lnTo>
                    <a:lnTo>
                      <a:pt x="139" y="395"/>
                    </a:lnTo>
                    <a:lnTo>
                      <a:pt x="130" y="369"/>
                    </a:lnTo>
                    <a:lnTo>
                      <a:pt x="109" y="365"/>
                    </a:lnTo>
                    <a:lnTo>
                      <a:pt x="88" y="407"/>
                    </a:lnTo>
                    <a:lnTo>
                      <a:pt x="69" y="369"/>
                    </a:lnTo>
                    <a:lnTo>
                      <a:pt x="64" y="329"/>
                    </a:lnTo>
                    <a:lnTo>
                      <a:pt x="81" y="300"/>
                    </a:lnTo>
                    <a:lnTo>
                      <a:pt x="57" y="291"/>
                    </a:lnTo>
                    <a:lnTo>
                      <a:pt x="64" y="266"/>
                    </a:lnTo>
                    <a:lnTo>
                      <a:pt x="135" y="246"/>
                    </a:lnTo>
                    <a:lnTo>
                      <a:pt x="114" y="182"/>
                    </a:lnTo>
                    <a:lnTo>
                      <a:pt x="99" y="173"/>
                    </a:lnTo>
                    <a:lnTo>
                      <a:pt x="64" y="164"/>
                    </a:lnTo>
                    <a:lnTo>
                      <a:pt x="18" y="177"/>
                    </a:lnTo>
                    <a:lnTo>
                      <a:pt x="0" y="168"/>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64" name="Freeform 37">
                <a:extLst>
                  <a:ext uri="{FF2B5EF4-FFF2-40B4-BE49-F238E27FC236}">
                    <a16:creationId xmlns:a16="http://schemas.microsoft.com/office/drawing/2014/main" xmlns="" id="{7BC1CE18-23A4-430B-A200-D709D391B515}"/>
                  </a:ext>
                </a:extLst>
              </p:cNvPr>
              <p:cNvSpPr>
                <a:spLocks/>
              </p:cNvSpPr>
              <p:nvPr/>
            </p:nvSpPr>
            <p:spPr bwMode="auto">
              <a:xfrm>
                <a:off x="1044" y="2984"/>
                <a:ext cx="1509" cy="679"/>
              </a:xfrm>
              <a:custGeom>
                <a:avLst/>
                <a:gdLst/>
                <a:ahLst/>
                <a:cxnLst>
                  <a:cxn ang="0">
                    <a:pos x="443" y="648"/>
                  </a:cxn>
                  <a:cxn ang="0">
                    <a:pos x="422" y="679"/>
                  </a:cxn>
                  <a:cxn ang="0">
                    <a:pos x="294" y="670"/>
                  </a:cxn>
                  <a:cxn ang="0">
                    <a:pos x="252" y="669"/>
                  </a:cxn>
                  <a:cxn ang="0">
                    <a:pos x="246" y="652"/>
                  </a:cxn>
                  <a:cxn ang="0">
                    <a:pos x="209" y="675"/>
                  </a:cxn>
                  <a:cxn ang="0">
                    <a:pos x="173" y="672"/>
                  </a:cxn>
                  <a:cxn ang="0">
                    <a:pos x="108" y="618"/>
                  </a:cxn>
                  <a:cxn ang="0">
                    <a:pos x="117" y="574"/>
                  </a:cxn>
                  <a:cxn ang="0">
                    <a:pos x="99" y="550"/>
                  </a:cxn>
                  <a:cxn ang="0">
                    <a:pos x="57" y="574"/>
                  </a:cxn>
                  <a:cxn ang="0">
                    <a:pos x="33" y="558"/>
                  </a:cxn>
                  <a:cxn ang="0">
                    <a:pos x="35" y="588"/>
                  </a:cxn>
                  <a:cxn ang="0">
                    <a:pos x="9" y="534"/>
                  </a:cxn>
                  <a:cxn ang="0">
                    <a:pos x="54" y="462"/>
                  </a:cxn>
                  <a:cxn ang="0">
                    <a:pos x="122" y="417"/>
                  </a:cxn>
                  <a:cxn ang="0">
                    <a:pos x="194" y="321"/>
                  </a:cxn>
                  <a:cxn ang="0">
                    <a:pos x="233" y="312"/>
                  </a:cxn>
                  <a:cxn ang="0">
                    <a:pos x="330" y="280"/>
                  </a:cxn>
                  <a:cxn ang="0">
                    <a:pos x="491" y="148"/>
                  </a:cxn>
                  <a:cxn ang="0">
                    <a:pos x="542" y="19"/>
                  </a:cxn>
                  <a:cxn ang="0">
                    <a:pos x="602" y="37"/>
                  </a:cxn>
                  <a:cxn ang="0">
                    <a:pos x="653" y="30"/>
                  </a:cxn>
                  <a:cxn ang="0">
                    <a:pos x="786" y="22"/>
                  </a:cxn>
                  <a:cxn ang="0">
                    <a:pos x="827" y="31"/>
                  </a:cxn>
                  <a:cxn ang="0">
                    <a:pos x="887" y="40"/>
                  </a:cxn>
                  <a:cxn ang="0">
                    <a:pos x="936" y="33"/>
                  </a:cxn>
                  <a:cxn ang="0">
                    <a:pos x="1092" y="0"/>
                  </a:cxn>
                  <a:cxn ang="0">
                    <a:pos x="1182" y="10"/>
                  </a:cxn>
                  <a:cxn ang="0">
                    <a:pos x="1248" y="16"/>
                  </a:cxn>
                  <a:cxn ang="0">
                    <a:pos x="1310" y="30"/>
                  </a:cxn>
                  <a:cxn ang="0">
                    <a:pos x="1377" y="55"/>
                  </a:cxn>
                  <a:cxn ang="0">
                    <a:pos x="1397" y="97"/>
                  </a:cxn>
                  <a:cxn ang="0">
                    <a:pos x="1433" y="96"/>
                  </a:cxn>
                  <a:cxn ang="0">
                    <a:pos x="1497" y="318"/>
                  </a:cxn>
                  <a:cxn ang="0">
                    <a:pos x="1469" y="373"/>
                  </a:cxn>
                  <a:cxn ang="0">
                    <a:pos x="1361" y="447"/>
                  </a:cxn>
                  <a:cxn ang="0">
                    <a:pos x="1221" y="543"/>
                  </a:cxn>
                  <a:cxn ang="0">
                    <a:pos x="1119" y="471"/>
                  </a:cxn>
                  <a:cxn ang="0">
                    <a:pos x="1010" y="537"/>
                  </a:cxn>
                  <a:cxn ang="0">
                    <a:pos x="966" y="555"/>
                  </a:cxn>
                  <a:cxn ang="0">
                    <a:pos x="959" y="558"/>
                  </a:cxn>
                  <a:cxn ang="0">
                    <a:pos x="900" y="541"/>
                  </a:cxn>
                  <a:cxn ang="0">
                    <a:pos x="861" y="564"/>
                  </a:cxn>
                  <a:cxn ang="0">
                    <a:pos x="849" y="441"/>
                  </a:cxn>
                  <a:cxn ang="0">
                    <a:pos x="801" y="417"/>
                  </a:cxn>
                  <a:cxn ang="0">
                    <a:pos x="713" y="420"/>
                  </a:cxn>
                  <a:cxn ang="0">
                    <a:pos x="626" y="474"/>
                  </a:cxn>
                  <a:cxn ang="0">
                    <a:pos x="467" y="555"/>
                  </a:cxn>
                  <a:cxn ang="0">
                    <a:pos x="410" y="588"/>
                  </a:cxn>
                  <a:cxn ang="0">
                    <a:pos x="381" y="621"/>
                  </a:cxn>
                  <a:cxn ang="0">
                    <a:pos x="369" y="664"/>
                  </a:cxn>
                </a:cxnLst>
                <a:rect l="0" t="0" r="r" b="b"/>
                <a:pathLst>
                  <a:path w="1509" h="679">
                    <a:moveTo>
                      <a:pt x="369" y="664"/>
                    </a:moveTo>
                    <a:lnTo>
                      <a:pt x="443" y="648"/>
                    </a:lnTo>
                    <a:lnTo>
                      <a:pt x="449" y="663"/>
                    </a:lnTo>
                    <a:lnTo>
                      <a:pt x="422" y="679"/>
                    </a:lnTo>
                    <a:lnTo>
                      <a:pt x="314" y="676"/>
                    </a:lnTo>
                    <a:lnTo>
                      <a:pt x="294" y="670"/>
                    </a:lnTo>
                    <a:lnTo>
                      <a:pt x="266" y="679"/>
                    </a:lnTo>
                    <a:lnTo>
                      <a:pt x="252" y="669"/>
                    </a:lnTo>
                    <a:lnTo>
                      <a:pt x="263" y="661"/>
                    </a:lnTo>
                    <a:lnTo>
                      <a:pt x="246" y="652"/>
                    </a:lnTo>
                    <a:lnTo>
                      <a:pt x="233" y="654"/>
                    </a:lnTo>
                    <a:lnTo>
                      <a:pt x="209" y="675"/>
                    </a:lnTo>
                    <a:lnTo>
                      <a:pt x="183" y="675"/>
                    </a:lnTo>
                    <a:lnTo>
                      <a:pt x="173" y="672"/>
                    </a:lnTo>
                    <a:lnTo>
                      <a:pt x="161" y="649"/>
                    </a:lnTo>
                    <a:lnTo>
                      <a:pt x="108" y="618"/>
                    </a:lnTo>
                    <a:lnTo>
                      <a:pt x="90" y="591"/>
                    </a:lnTo>
                    <a:lnTo>
                      <a:pt x="117" y="574"/>
                    </a:lnTo>
                    <a:lnTo>
                      <a:pt x="117" y="564"/>
                    </a:lnTo>
                    <a:lnTo>
                      <a:pt x="99" y="550"/>
                    </a:lnTo>
                    <a:lnTo>
                      <a:pt x="93" y="574"/>
                    </a:lnTo>
                    <a:lnTo>
                      <a:pt x="57" y="574"/>
                    </a:lnTo>
                    <a:lnTo>
                      <a:pt x="54" y="555"/>
                    </a:lnTo>
                    <a:lnTo>
                      <a:pt x="33" y="558"/>
                    </a:lnTo>
                    <a:lnTo>
                      <a:pt x="41" y="577"/>
                    </a:lnTo>
                    <a:lnTo>
                      <a:pt x="35" y="588"/>
                    </a:lnTo>
                    <a:lnTo>
                      <a:pt x="0" y="579"/>
                    </a:lnTo>
                    <a:lnTo>
                      <a:pt x="9" y="534"/>
                    </a:lnTo>
                    <a:lnTo>
                      <a:pt x="32" y="493"/>
                    </a:lnTo>
                    <a:lnTo>
                      <a:pt x="54" y="462"/>
                    </a:lnTo>
                    <a:lnTo>
                      <a:pt x="74" y="465"/>
                    </a:lnTo>
                    <a:lnTo>
                      <a:pt x="122" y="417"/>
                    </a:lnTo>
                    <a:lnTo>
                      <a:pt x="137" y="376"/>
                    </a:lnTo>
                    <a:lnTo>
                      <a:pt x="194" y="321"/>
                    </a:lnTo>
                    <a:lnTo>
                      <a:pt x="206" y="310"/>
                    </a:lnTo>
                    <a:lnTo>
                      <a:pt x="233" y="312"/>
                    </a:lnTo>
                    <a:lnTo>
                      <a:pt x="245" y="294"/>
                    </a:lnTo>
                    <a:lnTo>
                      <a:pt x="330" y="280"/>
                    </a:lnTo>
                    <a:lnTo>
                      <a:pt x="461" y="156"/>
                    </a:lnTo>
                    <a:lnTo>
                      <a:pt x="491" y="148"/>
                    </a:lnTo>
                    <a:lnTo>
                      <a:pt x="528" y="100"/>
                    </a:lnTo>
                    <a:lnTo>
                      <a:pt x="542" y="19"/>
                    </a:lnTo>
                    <a:lnTo>
                      <a:pt x="585" y="16"/>
                    </a:lnTo>
                    <a:lnTo>
                      <a:pt x="602" y="37"/>
                    </a:lnTo>
                    <a:lnTo>
                      <a:pt x="630" y="16"/>
                    </a:lnTo>
                    <a:lnTo>
                      <a:pt x="653" y="30"/>
                    </a:lnTo>
                    <a:lnTo>
                      <a:pt x="737" y="27"/>
                    </a:lnTo>
                    <a:lnTo>
                      <a:pt x="786" y="22"/>
                    </a:lnTo>
                    <a:lnTo>
                      <a:pt x="800" y="31"/>
                    </a:lnTo>
                    <a:lnTo>
                      <a:pt x="827" y="31"/>
                    </a:lnTo>
                    <a:lnTo>
                      <a:pt x="846" y="37"/>
                    </a:lnTo>
                    <a:lnTo>
                      <a:pt x="887" y="40"/>
                    </a:lnTo>
                    <a:lnTo>
                      <a:pt x="896" y="45"/>
                    </a:lnTo>
                    <a:lnTo>
                      <a:pt x="936" y="33"/>
                    </a:lnTo>
                    <a:lnTo>
                      <a:pt x="954" y="42"/>
                    </a:lnTo>
                    <a:lnTo>
                      <a:pt x="1092" y="0"/>
                    </a:lnTo>
                    <a:lnTo>
                      <a:pt x="1158" y="19"/>
                    </a:lnTo>
                    <a:lnTo>
                      <a:pt x="1182" y="10"/>
                    </a:lnTo>
                    <a:lnTo>
                      <a:pt x="1212" y="25"/>
                    </a:lnTo>
                    <a:lnTo>
                      <a:pt x="1248" y="16"/>
                    </a:lnTo>
                    <a:lnTo>
                      <a:pt x="1283" y="39"/>
                    </a:lnTo>
                    <a:lnTo>
                      <a:pt x="1310" y="30"/>
                    </a:lnTo>
                    <a:lnTo>
                      <a:pt x="1331" y="12"/>
                    </a:lnTo>
                    <a:lnTo>
                      <a:pt x="1377" y="55"/>
                    </a:lnTo>
                    <a:lnTo>
                      <a:pt x="1394" y="79"/>
                    </a:lnTo>
                    <a:lnTo>
                      <a:pt x="1397" y="97"/>
                    </a:lnTo>
                    <a:lnTo>
                      <a:pt x="1416" y="91"/>
                    </a:lnTo>
                    <a:lnTo>
                      <a:pt x="1433" y="96"/>
                    </a:lnTo>
                    <a:lnTo>
                      <a:pt x="1509" y="310"/>
                    </a:lnTo>
                    <a:lnTo>
                      <a:pt x="1497" y="318"/>
                    </a:lnTo>
                    <a:lnTo>
                      <a:pt x="1484" y="334"/>
                    </a:lnTo>
                    <a:lnTo>
                      <a:pt x="1469" y="373"/>
                    </a:lnTo>
                    <a:lnTo>
                      <a:pt x="1457" y="387"/>
                    </a:lnTo>
                    <a:lnTo>
                      <a:pt x="1361" y="447"/>
                    </a:lnTo>
                    <a:lnTo>
                      <a:pt x="1365" y="469"/>
                    </a:lnTo>
                    <a:lnTo>
                      <a:pt x="1221" y="543"/>
                    </a:lnTo>
                    <a:lnTo>
                      <a:pt x="1197" y="558"/>
                    </a:lnTo>
                    <a:lnTo>
                      <a:pt x="1119" y="471"/>
                    </a:lnTo>
                    <a:lnTo>
                      <a:pt x="1116" y="450"/>
                    </a:lnTo>
                    <a:lnTo>
                      <a:pt x="1010" y="537"/>
                    </a:lnTo>
                    <a:lnTo>
                      <a:pt x="984" y="552"/>
                    </a:lnTo>
                    <a:lnTo>
                      <a:pt x="966" y="555"/>
                    </a:lnTo>
                    <a:lnTo>
                      <a:pt x="962" y="535"/>
                    </a:lnTo>
                    <a:lnTo>
                      <a:pt x="959" y="558"/>
                    </a:lnTo>
                    <a:lnTo>
                      <a:pt x="921" y="546"/>
                    </a:lnTo>
                    <a:lnTo>
                      <a:pt x="900" y="541"/>
                    </a:lnTo>
                    <a:lnTo>
                      <a:pt x="882" y="550"/>
                    </a:lnTo>
                    <a:lnTo>
                      <a:pt x="861" y="564"/>
                    </a:lnTo>
                    <a:lnTo>
                      <a:pt x="858" y="453"/>
                    </a:lnTo>
                    <a:lnTo>
                      <a:pt x="849" y="441"/>
                    </a:lnTo>
                    <a:lnTo>
                      <a:pt x="845" y="406"/>
                    </a:lnTo>
                    <a:lnTo>
                      <a:pt x="801" y="417"/>
                    </a:lnTo>
                    <a:lnTo>
                      <a:pt x="743" y="415"/>
                    </a:lnTo>
                    <a:lnTo>
                      <a:pt x="713" y="420"/>
                    </a:lnTo>
                    <a:lnTo>
                      <a:pt x="671" y="450"/>
                    </a:lnTo>
                    <a:lnTo>
                      <a:pt x="626" y="474"/>
                    </a:lnTo>
                    <a:lnTo>
                      <a:pt x="591" y="477"/>
                    </a:lnTo>
                    <a:lnTo>
                      <a:pt x="467" y="555"/>
                    </a:lnTo>
                    <a:lnTo>
                      <a:pt x="438" y="574"/>
                    </a:lnTo>
                    <a:lnTo>
                      <a:pt x="410" y="588"/>
                    </a:lnTo>
                    <a:lnTo>
                      <a:pt x="390" y="600"/>
                    </a:lnTo>
                    <a:lnTo>
                      <a:pt x="381" y="621"/>
                    </a:lnTo>
                    <a:lnTo>
                      <a:pt x="380" y="640"/>
                    </a:lnTo>
                    <a:lnTo>
                      <a:pt x="369" y="664"/>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65" name="Freeform 38">
                <a:extLst>
                  <a:ext uri="{FF2B5EF4-FFF2-40B4-BE49-F238E27FC236}">
                    <a16:creationId xmlns:a16="http://schemas.microsoft.com/office/drawing/2014/main" xmlns="" id="{FAE319C2-549D-4BE6-A4FF-58E9969F3A10}"/>
                  </a:ext>
                </a:extLst>
              </p:cNvPr>
              <p:cNvSpPr>
                <a:spLocks/>
              </p:cNvSpPr>
              <p:nvPr/>
            </p:nvSpPr>
            <p:spPr bwMode="auto">
              <a:xfrm>
                <a:off x="2289" y="2696"/>
                <a:ext cx="573" cy="1008"/>
              </a:xfrm>
              <a:custGeom>
                <a:avLst/>
                <a:gdLst/>
                <a:ahLst/>
                <a:cxnLst>
                  <a:cxn ang="0">
                    <a:pos x="36" y="328"/>
                  </a:cxn>
                  <a:cxn ang="0">
                    <a:pos x="84" y="298"/>
                  </a:cxn>
                  <a:cxn ang="0">
                    <a:pos x="150" y="366"/>
                  </a:cxn>
                  <a:cxn ang="0">
                    <a:pos x="171" y="378"/>
                  </a:cxn>
                  <a:cxn ang="0">
                    <a:pos x="264" y="598"/>
                  </a:cxn>
                  <a:cxn ang="0">
                    <a:pos x="239" y="624"/>
                  </a:cxn>
                  <a:cxn ang="0">
                    <a:pos x="212" y="676"/>
                  </a:cxn>
                  <a:cxn ang="0">
                    <a:pos x="116" y="735"/>
                  </a:cxn>
                  <a:cxn ang="0">
                    <a:pos x="125" y="799"/>
                  </a:cxn>
                  <a:cxn ang="0">
                    <a:pos x="263" y="918"/>
                  </a:cxn>
                  <a:cxn ang="0">
                    <a:pos x="332" y="921"/>
                  </a:cxn>
                  <a:cxn ang="0">
                    <a:pos x="362" y="1003"/>
                  </a:cxn>
                  <a:cxn ang="0">
                    <a:pos x="545" y="991"/>
                  </a:cxn>
                  <a:cxn ang="0">
                    <a:pos x="573" y="930"/>
                  </a:cxn>
                  <a:cxn ang="0">
                    <a:pos x="527" y="787"/>
                  </a:cxn>
                  <a:cxn ang="0">
                    <a:pos x="516" y="736"/>
                  </a:cxn>
                  <a:cxn ang="0">
                    <a:pos x="500" y="724"/>
                  </a:cxn>
                  <a:cxn ang="0">
                    <a:pos x="464" y="711"/>
                  </a:cxn>
                  <a:cxn ang="0">
                    <a:pos x="414" y="673"/>
                  </a:cxn>
                  <a:cxn ang="0">
                    <a:pos x="437" y="648"/>
                  </a:cxn>
                  <a:cxn ang="0">
                    <a:pos x="476" y="487"/>
                  </a:cxn>
                  <a:cxn ang="0">
                    <a:pos x="504" y="397"/>
                  </a:cxn>
                  <a:cxn ang="0">
                    <a:pos x="530" y="346"/>
                  </a:cxn>
                  <a:cxn ang="0">
                    <a:pos x="548" y="331"/>
                  </a:cxn>
                  <a:cxn ang="0">
                    <a:pos x="546" y="307"/>
                  </a:cxn>
                  <a:cxn ang="0">
                    <a:pos x="534" y="273"/>
                  </a:cxn>
                  <a:cxn ang="0">
                    <a:pos x="507" y="262"/>
                  </a:cxn>
                  <a:cxn ang="0">
                    <a:pos x="489" y="177"/>
                  </a:cxn>
                  <a:cxn ang="0">
                    <a:pos x="452" y="163"/>
                  </a:cxn>
                  <a:cxn ang="0">
                    <a:pos x="441" y="132"/>
                  </a:cxn>
                  <a:cxn ang="0">
                    <a:pos x="410" y="145"/>
                  </a:cxn>
                  <a:cxn ang="0">
                    <a:pos x="389" y="132"/>
                  </a:cxn>
                  <a:cxn ang="0">
                    <a:pos x="350" y="105"/>
                  </a:cxn>
                  <a:cxn ang="0">
                    <a:pos x="339" y="70"/>
                  </a:cxn>
                  <a:cxn ang="0">
                    <a:pos x="317" y="36"/>
                  </a:cxn>
                  <a:cxn ang="0">
                    <a:pos x="248" y="49"/>
                  </a:cxn>
                  <a:cxn ang="0">
                    <a:pos x="194" y="43"/>
                  </a:cxn>
                  <a:cxn ang="0">
                    <a:pos x="156" y="30"/>
                  </a:cxn>
                  <a:cxn ang="0">
                    <a:pos x="114" y="7"/>
                  </a:cxn>
                  <a:cxn ang="0">
                    <a:pos x="72" y="37"/>
                  </a:cxn>
                  <a:cxn ang="0">
                    <a:pos x="86" y="94"/>
                  </a:cxn>
                  <a:cxn ang="0">
                    <a:pos x="6" y="222"/>
                  </a:cxn>
                </a:cxnLst>
                <a:rect l="0" t="0" r="r" b="b"/>
                <a:pathLst>
                  <a:path w="573" h="1008">
                    <a:moveTo>
                      <a:pt x="0" y="304"/>
                    </a:moveTo>
                    <a:lnTo>
                      <a:pt x="36" y="328"/>
                    </a:lnTo>
                    <a:lnTo>
                      <a:pt x="65" y="316"/>
                    </a:lnTo>
                    <a:lnTo>
                      <a:pt x="84" y="298"/>
                    </a:lnTo>
                    <a:lnTo>
                      <a:pt x="129" y="342"/>
                    </a:lnTo>
                    <a:lnTo>
                      <a:pt x="150" y="366"/>
                    </a:lnTo>
                    <a:lnTo>
                      <a:pt x="152" y="385"/>
                    </a:lnTo>
                    <a:lnTo>
                      <a:pt x="171" y="378"/>
                    </a:lnTo>
                    <a:lnTo>
                      <a:pt x="186" y="381"/>
                    </a:lnTo>
                    <a:lnTo>
                      <a:pt x="264" y="598"/>
                    </a:lnTo>
                    <a:lnTo>
                      <a:pt x="251" y="604"/>
                    </a:lnTo>
                    <a:lnTo>
                      <a:pt x="239" y="624"/>
                    </a:lnTo>
                    <a:lnTo>
                      <a:pt x="227" y="657"/>
                    </a:lnTo>
                    <a:lnTo>
                      <a:pt x="212" y="676"/>
                    </a:lnTo>
                    <a:lnTo>
                      <a:pt x="182" y="693"/>
                    </a:lnTo>
                    <a:lnTo>
                      <a:pt x="116" y="735"/>
                    </a:lnTo>
                    <a:lnTo>
                      <a:pt x="120" y="756"/>
                    </a:lnTo>
                    <a:lnTo>
                      <a:pt x="125" y="799"/>
                    </a:lnTo>
                    <a:lnTo>
                      <a:pt x="282" y="867"/>
                    </a:lnTo>
                    <a:lnTo>
                      <a:pt x="263" y="918"/>
                    </a:lnTo>
                    <a:lnTo>
                      <a:pt x="272" y="922"/>
                    </a:lnTo>
                    <a:lnTo>
                      <a:pt x="332" y="921"/>
                    </a:lnTo>
                    <a:lnTo>
                      <a:pt x="362" y="972"/>
                    </a:lnTo>
                    <a:lnTo>
                      <a:pt x="362" y="1003"/>
                    </a:lnTo>
                    <a:lnTo>
                      <a:pt x="542" y="1008"/>
                    </a:lnTo>
                    <a:lnTo>
                      <a:pt x="545" y="991"/>
                    </a:lnTo>
                    <a:lnTo>
                      <a:pt x="572" y="942"/>
                    </a:lnTo>
                    <a:lnTo>
                      <a:pt x="573" y="930"/>
                    </a:lnTo>
                    <a:lnTo>
                      <a:pt x="530" y="813"/>
                    </a:lnTo>
                    <a:lnTo>
                      <a:pt x="527" y="787"/>
                    </a:lnTo>
                    <a:lnTo>
                      <a:pt x="518" y="753"/>
                    </a:lnTo>
                    <a:lnTo>
                      <a:pt x="516" y="736"/>
                    </a:lnTo>
                    <a:lnTo>
                      <a:pt x="527" y="729"/>
                    </a:lnTo>
                    <a:lnTo>
                      <a:pt x="500" y="724"/>
                    </a:lnTo>
                    <a:lnTo>
                      <a:pt x="477" y="709"/>
                    </a:lnTo>
                    <a:lnTo>
                      <a:pt x="464" y="711"/>
                    </a:lnTo>
                    <a:lnTo>
                      <a:pt x="429" y="718"/>
                    </a:lnTo>
                    <a:lnTo>
                      <a:pt x="414" y="673"/>
                    </a:lnTo>
                    <a:lnTo>
                      <a:pt x="437" y="658"/>
                    </a:lnTo>
                    <a:lnTo>
                      <a:pt x="437" y="648"/>
                    </a:lnTo>
                    <a:lnTo>
                      <a:pt x="426" y="640"/>
                    </a:lnTo>
                    <a:lnTo>
                      <a:pt x="476" y="487"/>
                    </a:lnTo>
                    <a:lnTo>
                      <a:pt x="491" y="427"/>
                    </a:lnTo>
                    <a:lnTo>
                      <a:pt x="504" y="397"/>
                    </a:lnTo>
                    <a:lnTo>
                      <a:pt x="503" y="385"/>
                    </a:lnTo>
                    <a:lnTo>
                      <a:pt x="530" y="346"/>
                    </a:lnTo>
                    <a:lnTo>
                      <a:pt x="551" y="346"/>
                    </a:lnTo>
                    <a:lnTo>
                      <a:pt x="548" y="331"/>
                    </a:lnTo>
                    <a:lnTo>
                      <a:pt x="533" y="325"/>
                    </a:lnTo>
                    <a:lnTo>
                      <a:pt x="546" y="307"/>
                    </a:lnTo>
                    <a:lnTo>
                      <a:pt x="536" y="285"/>
                    </a:lnTo>
                    <a:lnTo>
                      <a:pt x="534" y="273"/>
                    </a:lnTo>
                    <a:lnTo>
                      <a:pt x="512" y="276"/>
                    </a:lnTo>
                    <a:lnTo>
                      <a:pt x="507" y="262"/>
                    </a:lnTo>
                    <a:lnTo>
                      <a:pt x="494" y="187"/>
                    </a:lnTo>
                    <a:lnTo>
                      <a:pt x="489" y="177"/>
                    </a:lnTo>
                    <a:lnTo>
                      <a:pt x="465" y="186"/>
                    </a:lnTo>
                    <a:lnTo>
                      <a:pt x="452" y="163"/>
                    </a:lnTo>
                    <a:lnTo>
                      <a:pt x="455" y="135"/>
                    </a:lnTo>
                    <a:lnTo>
                      <a:pt x="441" y="132"/>
                    </a:lnTo>
                    <a:lnTo>
                      <a:pt x="428" y="145"/>
                    </a:lnTo>
                    <a:lnTo>
                      <a:pt x="410" y="145"/>
                    </a:lnTo>
                    <a:lnTo>
                      <a:pt x="398" y="145"/>
                    </a:lnTo>
                    <a:lnTo>
                      <a:pt x="389" y="132"/>
                    </a:lnTo>
                    <a:lnTo>
                      <a:pt x="369" y="132"/>
                    </a:lnTo>
                    <a:lnTo>
                      <a:pt x="350" y="105"/>
                    </a:lnTo>
                    <a:lnTo>
                      <a:pt x="345" y="90"/>
                    </a:lnTo>
                    <a:lnTo>
                      <a:pt x="339" y="70"/>
                    </a:lnTo>
                    <a:lnTo>
                      <a:pt x="327" y="42"/>
                    </a:lnTo>
                    <a:lnTo>
                      <a:pt x="317" y="36"/>
                    </a:lnTo>
                    <a:lnTo>
                      <a:pt x="269" y="43"/>
                    </a:lnTo>
                    <a:lnTo>
                      <a:pt x="248" y="49"/>
                    </a:lnTo>
                    <a:lnTo>
                      <a:pt x="225" y="51"/>
                    </a:lnTo>
                    <a:lnTo>
                      <a:pt x="194" y="43"/>
                    </a:lnTo>
                    <a:lnTo>
                      <a:pt x="180" y="39"/>
                    </a:lnTo>
                    <a:lnTo>
                      <a:pt x="156" y="30"/>
                    </a:lnTo>
                    <a:lnTo>
                      <a:pt x="140" y="24"/>
                    </a:lnTo>
                    <a:lnTo>
                      <a:pt x="114" y="7"/>
                    </a:lnTo>
                    <a:lnTo>
                      <a:pt x="89" y="0"/>
                    </a:lnTo>
                    <a:lnTo>
                      <a:pt x="72" y="37"/>
                    </a:lnTo>
                    <a:lnTo>
                      <a:pt x="93" y="37"/>
                    </a:lnTo>
                    <a:lnTo>
                      <a:pt x="86" y="94"/>
                    </a:lnTo>
                    <a:lnTo>
                      <a:pt x="93" y="216"/>
                    </a:lnTo>
                    <a:lnTo>
                      <a:pt x="6" y="222"/>
                    </a:lnTo>
                    <a:lnTo>
                      <a:pt x="0" y="304"/>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66" name="Freeform 39">
                <a:extLst>
                  <a:ext uri="{FF2B5EF4-FFF2-40B4-BE49-F238E27FC236}">
                    <a16:creationId xmlns:a16="http://schemas.microsoft.com/office/drawing/2014/main" xmlns="" id="{8787E574-D629-45D3-9EB2-65B9F79D9784}"/>
                  </a:ext>
                </a:extLst>
              </p:cNvPr>
              <p:cNvSpPr>
                <a:spLocks/>
              </p:cNvSpPr>
              <p:nvPr/>
            </p:nvSpPr>
            <p:spPr bwMode="auto">
              <a:xfrm>
                <a:off x="2702" y="2766"/>
                <a:ext cx="648" cy="753"/>
              </a:xfrm>
              <a:custGeom>
                <a:avLst/>
                <a:gdLst/>
                <a:ahLst/>
                <a:cxnLst>
                  <a:cxn ang="0">
                    <a:pos x="85" y="654"/>
                  </a:cxn>
                  <a:cxn ang="0">
                    <a:pos x="48" y="641"/>
                  </a:cxn>
                  <a:cxn ang="0">
                    <a:pos x="0" y="602"/>
                  </a:cxn>
                  <a:cxn ang="0">
                    <a:pos x="22" y="576"/>
                  </a:cxn>
                  <a:cxn ang="0">
                    <a:pos x="63" y="414"/>
                  </a:cxn>
                  <a:cxn ang="0">
                    <a:pos x="93" y="324"/>
                  </a:cxn>
                  <a:cxn ang="0">
                    <a:pos x="109" y="291"/>
                  </a:cxn>
                  <a:cxn ang="0">
                    <a:pos x="142" y="272"/>
                  </a:cxn>
                  <a:cxn ang="0">
                    <a:pos x="118" y="255"/>
                  </a:cxn>
                  <a:cxn ang="0">
                    <a:pos x="121" y="215"/>
                  </a:cxn>
                  <a:cxn ang="0">
                    <a:pos x="99" y="204"/>
                  </a:cxn>
                  <a:cxn ang="0">
                    <a:pos x="79" y="116"/>
                  </a:cxn>
                  <a:cxn ang="0">
                    <a:pos x="51" y="116"/>
                  </a:cxn>
                  <a:cxn ang="0">
                    <a:pos x="42" y="60"/>
                  </a:cxn>
                  <a:cxn ang="0">
                    <a:pos x="49" y="32"/>
                  </a:cxn>
                  <a:cxn ang="0">
                    <a:pos x="108" y="38"/>
                  </a:cxn>
                  <a:cxn ang="0">
                    <a:pos x="135" y="54"/>
                  </a:cxn>
                  <a:cxn ang="0">
                    <a:pos x="115" y="0"/>
                  </a:cxn>
                  <a:cxn ang="0">
                    <a:pos x="201" y="48"/>
                  </a:cxn>
                  <a:cxn ang="0">
                    <a:pos x="229" y="47"/>
                  </a:cxn>
                  <a:cxn ang="0">
                    <a:pos x="295" y="86"/>
                  </a:cxn>
                  <a:cxn ang="0">
                    <a:pos x="370" y="138"/>
                  </a:cxn>
                  <a:cxn ang="0">
                    <a:pos x="358" y="167"/>
                  </a:cxn>
                  <a:cxn ang="0">
                    <a:pos x="399" y="245"/>
                  </a:cxn>
                  <a:cxn ang="0">
                    <a:pos x="382" y="297"/>
                  </a:cxn>
                  <a:cxn ang="0">
                    <a:pos x="286" y="290"/>
                  </a:cxn>
                  <a:cxn ang="0">
                    <a:pos x="454" y="446"/>
                  </a:cxn>
                  <a:cxn ang="0">
                    <a:pos x="502" y="476"/>
                  </a:cxn>
                  <a:cxn ang="0">
                    <a:pos x="585" y="534"/>
                  </a:cxn>
                  <a:cxn ang="0">
                    <a:pos x="615" y="561"/>
                  </a:cxn>
                  <a:cxn ang="0">
                    <a:pos x="643" y="624"/>
                  </a:cxn>
                  <a:cxn ang="0">
                    <a:pos x="648" y="654"/>
                  </a:cxn>
                  <a:cxn ang="0">
                    <a:pos x="628" y="681"/>
                  </a:cxn>
                  <a:cxn ang="0">
                    <a:pos x="361" y="570"/>
                  </a:cxn>
                  <a:cxn ang="0">
                    <a:pos x="324" y="548"/>
                  </a:cxn>
                  <a:cxn ang="0">
                    <a:pos x="267" y="585"/>
                  </a:cxn>
                  <a:cxn ang="0">
                    <a:pos x="172" y="630"/>
                  </a:cxn>
                </a:cxnLst>
                <a:rect l="0" t="0" r="r" b="b"/>
                <a:pathLst>
                  <a:path w="648" h="753">
                    <a:moveTo>
                      <a:pt x="112" y="659"/>
                    </a:moveTo>
                    <a:lnTo>
                      <a:pt x="85" y="654"/>
                    </a:lnTo>
                    <a:lnTo>
                      <a:pt x="63" y="638"/>
                    </a:lnTo>
                    <a:lnTo>
                      <a:pt x="48" y="641"/>
                    </a:lnTo>
                    <a:lnTo>
                      <a:pt x="15" y="648"/>
                    </a:lnTo>
                    <a:lnTo>
                      <a:pt x="0" y="602"/>
                    </a:lnTo>
                    <a:lnTo>
                      <a:pt x="24" y="587"/>
                    </a:lnTo>
                    <a:lnTo>
                      <a:pt x="22" y="576"/>
                    </a:lnTo>
                    <a:lnTo>
                      <a:pt x="12" y="570"/>
                    </a:lnTo>
                    <a:lnTo>
                      <a:pt x="63" y="414"/>
                    </a:lnTo>
                    <a:lnTo>
                      <a:pt x="79" y="356"/>
                    </a:lnTo>
                    <a:lnTo>
                      <a:pt x="93" y="324"/>
                    </a:lnTo>
                    <a:lnTo>
                      <a:pt x="94" y="309"/>
                    </a:lnTo>
                    <a:lnTo>
                      <a:pt x="109" y="291"/>
                    </a:lnTo>
                    <a:lnTo>
                      <a:pt x="115" y="273"/>
                    </a:lnTo>
                    <a:lnTo>
                      <a:pt x="142" y="272"/>
                    </a:lnTo>
                    <a:lnTo>
                      <a:pt x="135" y="261"/>
                    </a:lnTo>
                    <a:lnTo>
                      <a:pt x="118" y="255"/>
                    </a:lnTo>
                    <a:lnTo>
                      <a:pt x="133" y="234"/>
                    </a:lnTo>
                    <a:lnTo>
                      <a:pt x="121" y="215"/>
                    </a:lnTo>
                    <a:lnTo>
                      <a:pt x="121" y="204"/>
                    </a:lnTo>
                    <a:lnTo>
                      <a:pt x="99" y="204"/>
                    </a:lnTo>
                    <a:lnTo>
                      <a:pt x="93" y="191"/>
                    </a:lnTo>
                    <a:lnTo>
                      <a:pt x="79" y="116"/>
                    </a:lnTo>
                    <a:lnTo>
                      <a:pt x="75" y="107"/>
                    </a:lnTo>
                    <a:lnTo>
                      <a:pt x="51" y="116"/>
                    </a:lnTo>
                    <a:lnTo>
                      <a:pt x="39" y="92"/>
                    </a:lnTo>
                    <a:lnTo>
                      <a:pt x="42" y="60"/>
                    </a:lnTo>
                    <a:lnTo>
                      <a:pt x="51" y="53"/>
                    </a:lnTo>
                    <a:lnTo>
                      <a:pt x="49" y="32"/>
                    </a:lnTo>
                    <a:lnTo>
                      <a:pt x="79" y="39"/>
                    </a:lnTo>
                    <a:lnTo>
                      <a:pt x="108" y="38"/>
                    </a:lnTo>
                    <a:lnTo>
                      <a:pt x="123" y="59"/>
                    </a:lnTo>
                    <a:lnTo>
                      <a:pt x="135" y="54"/>
                    </a:lnTo>
                    <a:lnTo>
                      <a:pt x="136" y="44"/>
                    </a:lnTo>
                    <a:lnTo>
                      <a:pt x="115" y="0"/>
                    </a:lnTo>
                    <a:lnTo>
                      <a:pt x="189" y="36"/>
                    </a:lnTo>
                    <a:lnTo>
                      <a:pt x="201" y="48"/>
                    </a:lnTo>
                    <a:lnTo>
                      <a:pt x="219" y="50"/>
                    </a:lnTo>
                    <a:lnTo>
                      <a:pt x="229" y="47"/>
                    </a:lnTo>
                    <a:lnTo>
                      <a:pt x="262" y="59"/>
                    </a:lnTo>
                    <a:lnTo>
                      <a:pt x="295" y="86"/>
                    </a:lnTo>
                    <a:lnTo>
                      <a:pt x="315" y="74"/>
                    </a:lnTo>
                    <a:lnTo>
                      <a:pt x="370" y="138"/>
                    </a:lnTo>
                    <a:lnTo>
                      <a:pt x="369" y="150"/>
                    </a:lnTo>
                    <a:lnTo>
                      <a:pt x="358" y="167"/>
                    </a:lnTo>
                    <a:lnTo>
                      <a:pt x="361" y="180"/>
                    </a:lnTo>
                    <a:lnTo>
                      <a:pt x="399" y="245"/>
                    </a:lnTo>
                    <a:lnTo>
                      <a:pt x="394" y="275"/>
                    </a:lnTo>
                    <a:lnTo>
                      <a:pt x="382" y="297"/>
                    </a:lnTo>
                    <a:cubicBezTo>
                      <a:pt x="353" y="297"/>
                      <a:pt x="295" y="296"/>
                      <a:pt x="295" y="296"/>
                    </a:cubicBezTo>
                    <a:lnTo>
                      <a:pt x="286" y="290"/>
                    </a:lnTo>
                    <a:lnTo>
                      <a:pt x="316" y="353"/>
                    </a:lnTo>
                    <a:lnTo>
                      <a:pt x="454" y="446"/>
                    </a:lnTo>
                    <a:lnTo>
                      <a:pt x="483" y="459"/>
                    </a:lnTo>
                    <a:lnTo>
                      <a:pt x="502" y="476"/>
                    </a:lnTo>
                    <a:lnTo>
                      <a:pt x="513" y="485"/>
                    </a:lnTo>
                    <a:lnTo>
                      <a:pt x="585" y="534"/>
                    </a:lnTo>
                    <a:lnTo>
                      <a:pt x="621" y="537"/>
                    </a:lnTo>
                    <a:lnTo>
                      <a:pt x="615" y="561"/>
                    </a:lnTo>
                    <a:lnTo>
                      <a:pt x="634" y="582"/>
                    </a:lnTo>
                    <a:lnTo>
                      <a:pt x="643" y="624"/>
                    </a:lnTo>
                    <a:lnTo>
                      <a:pt x="645" y="639"/>
                    </a:lnTo>
                    <a:lnTo>
                      <a:pt x="648" y="654"/>
                    </a:lnTo>
                    <a:lnTo>
                      <a:pt x="631" y="671"/>
                    </a:lnTo>
                    <a:lnTo>
                      <a:pt x="628" y="681"/>
                    </a:lnTo>
                    <a:lnTo>
                      <a:pt x="432" y="753"/>
                    </a:lnTo>
                    <a:lnTo>
                      <a:pt x="361" y="570"/>
                    </a:lnTo>
                    <a:lnTo>
                      <a:pt x="346" y="554"/>
                    </a:lnTo>
                    <a:lnTo>
                      <a:pt x="324" y="548"/>
                    </a:lnTo>
                    <a:lnTo>
                      <a:pt x="292" y="564"/>
                    </a:lnTo>
                    <a:lnTo>
                      <a:pt x="267" y="585"/>
                    </a:lnTo>
                    <a:lnTo>
                      <a:pt x="213" y="609"/>
                    </a:lnTo>
                    <a:lnTo>
                      <a:pt x="172" y="630"/>
                    </a:lnTo>
                    <a:lnTo>
                      <a:pt x="112" y="659"/>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67" name="Freeform 40">
                <a:extLst>
                  <a:ext uri="{FF2B5EF4-FFF2-40B4-BE49-F238E27FC236}">
                    <a16:creationId xmlns:a16="http://schemas.microsoft.com/office/drawing/2014/main" xmlns="" id="{6CBFA07A-08FA-4C6F-B1C5-34926B6B808F}"/>
                  </a:ext>
                </a:extLst>
              </p:cNvPr>
              <p:cNvSpPr>
                <a:spLocks/>
              </p:cNvSpPr>
              <p:nvPr/>
            </p:nvSpPr>
            <p:spPr bwMode="auto">
              <a:xfrm>
                <a:off x="2468" y="1284"/>
                <a:ext cx="916" cy="1260"/>
              </a:xfrm>
              <a:custGeom>
                <a:avLst/>
                <a:gdLst/>
                <a:ahLst/>
                <a:cxnLst>
                  <a:cxn ang="0">
                    <a:pos x="126" y="538"/>
                  </a:cxn>
                  <a:cxn ang="0">
                    <a:pos x="104" y="606"/>
                  </a:cxn>
                  <a:cxn ang="0">
                    <a:pos x="60" y="662"/>
                  </a:cxn>
                  <a:cxn ang="0">
                    <a:pos x="0" y="702"/>
                  </a:cxn>
                  <a:cxn ang="0">
                    <a:pos x="224" y="922"/>
                  </a:cxn>
                  <a:cxn ang="0">
                    <a:pos x="250" y="1082"/>
                  </a:cxn>
                  <a:cxn ang="0">
                    <a:pos x="266" y="1166"/>
                  </a:cxn>
                  <a:cxn ang="0">
                    <a:pos x="356" y="1208"/>
                  </a:cxn>
                  <a:cxn ang="0">
                    <a:pos x="464" y="1176"/>
                  </a:cxn>
                  <a:cxn ang="0">
                    <a:pos x="530" y="1206"/>
                  </a:cxn>
                  <a:cxn ang="0">
                    <a:pos x="604" y="1260"/>
                  </a:cxn>
                  <a:cxn ang="0">
                    <a:pos x="606" y="1220"/>
                  </a:cxn>
                  <a:cxn ang="0">
                    <a:pos x="574" y="1176"/>
                  </a:cxn>
                  <a:cxn ang="0">
                    <a:pos x="592" y="1032"/>
                  </a:cxn>
                  <a:cxn ang="0">
                    <a:pos x="686" y="1014"/>
                  </a:cxn>
                  <a:cxn ang="0">
                    <a:pos x="760" y="986"/>
                  </a:cxn>
                  <a:cxn ang="0">
                    <a:pos x="700" y="868"/>
                  </a:cxn>
                  <a:cxn ang="0">
                    <a:pos x="682" y="806"/>
                  </a:cxn>
                  <a:cxn ang="0">
                    <a:pos x="692" y="700"/>
                  </a:cxn>
                  <a:cxn ang="0">
                    <a:pos x="722" y="644"/>
                  </a:cxn>
                  <a:cxn ang="0">
                    <a:pos x="770" y="612"/>
                  </a:cxn>
                  <a:cxn ang="0">
                    <a:pos x="760" y="536"/>
                  </a:cxn>
                  <a:cxn ang="0">
                    <a:pos x="826" y="382"/>
                  </a:cxn>
                  <a:cxn ang="0">
                    <a:pos x="856" y="308"/>
                  </a:cxn>
                  <a:cxn ang="0">
                    <a:pos x="916" y="244"/>
                  </a:cxn>
                  <a:cxn ang="0">
                    <a:pos x="894" y="208"/>
                  </a:cxn>
                  <a:cxn ang="0">
                    <a:pos x="842" y="210"/>
                  </a:cxn>
                  <a:cxn ang="0">
                    <a:pos x="778" y="136"/>
                  </a:cxn>
                  <a:cxn ang="0">
                    <a:pos x="720" y="98"/>
                  </a:cxn>
                  <a:cxn ang="0">
                    <a:pos x="654" y="68"/>
                  </a:cxn>
                  <a:cxn ang="0">
                    <a:pos x="608" y="66"/>
                  </a:cxn>
                  <a:cxn ang="0">
                    <a:pos x="596" y="124"/>
                  </a:cxn>
                  <a:cxn ang="0">
                    <a:pos x="646" y="148"/>
                  </a:cxn>
                  <a:cxn ang="0">
                    <a:pos x="602" y="184"/>
                  </a:cxn>
                  <a:cxn ang="0">
                    <a:pos x="482" y="176"/>
                  </a:cxn>
                  <a:cxn ang="0">
                    <a:pos x="446" y="252"/>
                  </a:cxn>
                  <a:cxn ang="0">
                    <a:pos x="382" y="312"/>
                  </a:cxn>
                  <a:cxn ang="0">
                    <a:pos x="328" y="256"/>
                  </a:cxn>
                  <a:cxn ang="0">
                    <a:pos x="250" y="196"/>
                  </a:cxn>
                  <a:cxn ang="0">
                    <a:pos x="210" y="294"/>
                  </a:cxn>
                  <a:cxn ang="0">
                    <a:pos x="160" y="330"/>
                  </a:cxn>
                  <a:cxn ang="0">
                    <a:pos x="128" y="396"/>
                  </a:cxn>
                </a:cxnLst>
                <a:rect l="0" t="0" r="r" b="b"/>
                <a:pathLst>
                  <a:path w="916" h="1260">
                    <a:moveTo>
                      <a:pt x="72" y="426"/>
                    </a:moveTo>
                    <a:lnTo>
                      <a:pt x="122" y="516"/>
                    </a:lnTo>
                    <a:lnTo>
                      <a:pt x="126" y="538"/>
                    </a:lnTo>
                    <a:lnTo>
                      <a:pt x="122" y="566"/>
                    </a:lnTo>
                    <a:lnTo>
                      <a:pt x="120" y="598"/>
                    </a:lnTo>
                    <a:lnTo>
                      <a:pt x="104" y="606"/>
                    </a:lnTo>
                    <a:lnTo>
                      <a:pt x="110" y="630"/>
                    </a:lnTo>
                    <a:lnTo>
                      <a:pt x="82" y="646"/>
                    </a:lnTo>
                    <a:lnTo>
                      <a:pt x="60" y="662"/>
                    </a:lnTo>
                    <a:lnTo>
                      <a:pt x="54" y="688"/>
                    </a:lnTo>
                    <a:lnTo>
                      <a:pt x="40" y="704"/>
                    </a:lnTo>
                    <a:lnTo>
                      <a:pt x="0" y="702"/>
                    </a:lnTo>
                    <a:lnTo>
                      <a:pt x="176" y="872"/>
                    </a:lnTo>
                    <a:lnTo>
                      <a:pt x="212" y="892"/>
                    </a:lnTo>
                    <a:lnTo>
                      <a:pt x="224" y="922"/>
                    </a:lnTo>
                    <a:lnTo>
                      <a:pt x="264" y="944"/>
                    </a:lnTo>
                    <a:lnTo>
                      <a:pt x="250" y="1028"/>
                    </a:lnTo>
                    <a:lnTo>
                      <a:pt x="250" y="1082"/>
                    </a:lnTo>
                    <a:lnTo>
                      <a:pt x="278" y="1132"/>
                    </a:lnTo>
                    <a:lnTo>
                      <a:pt x="278" y="1146"/>
                    </a:lnTo>
                    <a:lnTo>
                      <a:pt x="266" y="1166"/>
                    </a:lnTo>
                    <a:lnTo>
                      <a:pt x="290" y="1178"/>
                    </a:lnTo>
                    <a:lnTo>
                      <a:pt x="344" y="1192"/>
                    </a:lnTo>
                    <a:lnTo>
                      <a:pt x="356" y="1208"/>
                    </a:lnTo>
                    <a:lnTo>
                      <a:pt x="372" y="1194"/>
                    </a:lnTo>
                    <a:lnTo>
                      <a:pt x="442" y="1190"/>
                    </a:lnTo>
                    <a:lnTo>
                      <a:pt x="464" y="1176"/>
                    </a:lnTo>
                    <a:lnTo>
                      <a:pt x="474" y="1148"/>
                    </a:lnTo>
                    <a:lnTo>
                      <a:pt x="500" y="1204"/>
                    </a:lnTo>
                    <a:lnTo>
                      <a:pt x="530" y="1206"/>
                    </a:lnTo>
                    <a:lnTo>
                      <a:pt x="544" y="1218"/>
                    </a:lnTo>
                    <a:lnTo>
                      <a:pt x="546" y="1242"/>
                    </a:lnTo>
                    <a:lnTo>
                      <a:pt x="604" y="1260"/>
                    </a:lnTo>
                    <a:lnTo>
                      <a:pt x="626" y="1246"/>
                    </a:lnTo>
                    <a:lnTo>
                      <a:pt x="620" y="1232"/>
                    </a:lnTo>
                    <a:lnTo>
                      <a:pt x="606" y="1220"/>
                    </a:lnTo>
                    <a:lnTo>
                      <a:pt x="558" y="1206"/>
                    </a:lnTo>
                    <a:lnTo>
                      <a:pt x="548" y="1188"/>
                    </a:lnTo>
                    <a:lnTo>
                      <a:pt x="574" y="1176"/>
                    </a:lnTo>
                    <a:lnTo>
                      <a:pt x="600" y="1110"/>
                    </a:lnTo>
                    <a:lnTo>
                      <a:pt x="618" y="1100"/>
                    </a:lnTo>
                    <a:lnTo>
                      <a:pt x="592" y="1032"/>
                    </a:lnTo>
                    <a:lnTo>
                      <a:pt x="672" y="1032"/>
                    </a:lnTo>
                    <a:lnTo>
                      <a:pt x="670" y="1012"/>
                    </a:lnTo>
                    <a:lnTo>
                      <a:pt x="686" y="1014"/>
                    </a:lnTo>
                    <a:lnTo>
                      <a:pt x="708" y="990"/>
                    </a:lnTo>
                    <a:lnTo>
                      <a:pt x="754" y="996"/>
                    </a:lnTo>
                    <a:lnTo>
                      <a:pt x="760" y="986"/>
                    </a:lnTo>
                    <a:lnTo>
                      <a:pt x="752" y="940"/>
                    </a:lnTo>
                    <a:lnTo>
                      <a:pt x="710" y="896"/>
                    </a:lnTo>
                    <a:lnTo>
                      <a:pt x="700" y="868"/>
                    </a:lnTo>
                    <a:lnTo>
                      <a:pt x="724" y="838"/>
                    </a:lnTo>
                    <a:lnTo>
                      <a:pt x="698" y="810"/>
                    </a:lnTo>
                    <a:lnTo>
                      <a:pt x="682" y="806"/>
                    </a:lnTo>
                    <a:lnTo>
                      <a:pt x="686" y="768"/>
                    </a:lnTo>
                    <a:lnTo>
                      <a:pt x="682" y="712"/>
                    </a:lnTo>
                    <a:lnTo>
                      <a:pt x="692" y="700"/>
                    </a:lnTo>
                    <a:lnTo>
                      <a:pt x="706" y="698"/>
                    </a:lnTo>
                    <a:lnTo>
                      <a:pt x="710" y="664"/>
                    </a:lnTo>
                    <a:lnTo>
                      <a:pt x="722" y="644"/>
                    </a:lnTo>
                    <a:lnTo>
                      <a:pt x="750" y="634"/>
                    </a:lnTo>
                    <a:lnTo>
                      <a:pt x="760" y="618"/>
                    </a:lnTo>
                    <a:lnTo>
                      <a:pt x="770" y="612"/>
                    </a:lnTo>
                    <a:lnTo>
                      <a:pt x="760" y="596"/>
                    </a:lnTo>
                    <a:lnTo>
                      <a:pt x="764" y="556"/>
                    </a:lnTo>
                    <a:lnTo>
                      <a:pt x="760" y="536"/>
                    </a:lnTo>
                    <a:lnTo>
                      <a:pt x="748" y="524"/>
                    </a:lnTo>
                    <a:lnTo>
                      <a:pt x="810" y="398"/>
                    </a:lnTo>
                    <a:lnTo>
                      <a:pt x="826" y="382"/>
                    </a:lnTo>
                    <a:lnTo>
                      <a:pt x="826" y="358"/>
                    </a:lnTo>
                    <a:lnTo>
                      <a:pt x="828" y="332"/>
                    </a:lnTo>
                    <a:lnTo>
                      <a:pt x="856" y="308"/>
                    </a:lnTo>
                    <a:lnTo>
                      <a:pt x="890" y="296"/>
                    </a:lnTo>
                    <a:lnTo>
                      <a:pt x="908" y="294"/>
                    </a:lnTo>
                    <a:lnTo>
                      <a:pt x="916" y="244"/>
                    </a:lnTo>
                    <a:lnTo>
                      <a:pt x="894" y="236"/>
                    </a:lnTo>
                    <a:lnTo>
                      <a:pt x="890" y="220"/>
                    </a:lnTo>
                    <a:lnTo>
                      <a:pt x="894" y="208"/>
                    </a:lnTo>
                    <a:lnTo>
                      <a:pt x="870" y="220"/>
                    </a:lnTo>
                    <a:lnTo>
                      <a:pt x="854" y="214"/>
                    </a:lnTo>
                    <a:lnTo>
                      <a:pt x="842" y="210"/>
                    </a:lnTo>
                    <a:lnTo>
                      <a:pt x="830" y="176"/>
                    </a:lnTo>
                    <a:lnTo>
                      <a:pt x="796" y="164"/>
                    </a:lnTo>
                    <a:lnTo>
                      <a:pt x="778" y="136"/>
                    </a:lnTo>
                    <a:lnTo>
                      <a:pt x="758" y="116"/>
                    </a:lnTo>
                    <a:lnTo>
                      <a:pt x="736" y="110"/>
                    </a:lnTo>
                    <a:lnTo>
                      <a:pt x="720" y="98"/>
                    </a:lnTo>
                    <a:lnTo>
                      <a:pt x="718" y="64"/>
                    </a:lnTo>
                    <a:lnTo>
                      <a:pt x="718" y="38"/>
                    </a:lnTo>
                    <a:lnTo>
                      <a:pt x="654" y="68"/>
                    </a:lnTo>
                    <a:lnTo>
                      <a:pt x="676" y="0"/>
                    </a:lnTo>
                    <a:lnTo>
                      <a:pt x="630" y="26"/>
                    </a:lnTo>
                    <a:lnTo>
                      <a:pt x="608" y="66"/>
                    </a:lnTo>
                    <a:lnTo>
                      <a:pt x="556" y="60"/>
                    </a:lnTo>
                    <a:lnTo>
                      <a:pt x="554" y="74"/>
                    </a:lnTo>
                    <a:lnTo>
                      <a:pt x="596" y="124"/>
                    </a:lnTo>
                    <a:lnTo>
                      <a:pt x="606" y="132"/>
                    </a:lnTo>
                    <a:lnTo>
                      <a:pt x="646" y="130"/>
                    </a:lnTo>
                    <a:lnTo>
                      <a:pt x="646" y="148"/>
                    </a:lnTo>
                    <a:lnTo>
                      <a:pt x="626" y="164"/>
                    </a:lnTo>
                    <a:lnTo>
                      <a:pt x="610" y="166"/>
                    </a:lnTo>
                    <a:lnTo>
                      <a:pt x="602" y="184"/>
                    </a:lnTo>
                    <a:lnTo>
                      <a:pt x="552" y="188"/>
                    </a:lnTo>
                    <a:lnTo>
                      <a:pt x="542" y="162"/>
                    </a:lnTo>
                    <a:lnTo>
                      <a:pt x="482" y="176"/>
                    </a:lnTo>
                    <a:lnTo>
                      <a:pt x="484" y="210"/>
                    </a:lnTo>
                    <a:lnTo>
                      <a:pt x="472" y="232"/>
                    </a:lnTo>
                    <a:lnTo>
                      <a:pt x="446" y="252"/>
                    </a:lnTo>
                    <a:lnTo>
                      <a:pt x="440" y="298"/>
                    </a:lnTo>
                    <a:lnTo>
                      <a:pt x="436" y="314"/>
                    </a:lnTo>
                    <a:lnTo>
                      <a:pt x="382" y="312"/>
                    </a:lnTo>
                    <a:lnTo>
                      <a:pt x="382" y="328"/>
                    </a:lnTo>
                    <a:lnTo>
                      <a:pt x="340" y="280"/>
                    </a:lnTo>
                    <a:lnTo>
                      <a:pt x="328" y="256"/>
                    </a:lnTo>
                    <a:lnTo>
                      <a:pt x="312" y="264"/>
                    </a:lnTo>
                    <a:lnTo>
                      <a:pt x="284" y="240"/>
                    </a:lnTo>
                    <a:lnTo>
                      <a:pt x="250" y="196"/>
                    </a:lnTo>
                    <a:lnTo>
                      <a:pt x="230" y="212"/>
                    </a:lnTo>
                    <a:lnTo>
                      <a:pt x="218" y="244"/>
                    </a:lnTo>
                    <a:lnTo>
                      <a:pt x="210" y="294"/>
                    </a:lnTo>
                    <a:lnTo>
                      <a:pt x="198" y="328"/>
                    </a:lnTo>
                    <a:lnTo>
                      <a:pt x="178" y="332"/>
                    </a:lnTo>
                    <a:lnTo>
                      <a:pt x="160" y="330"/>
                    </a:lnTo>
                    <a:lnTo>
                      <a:pt x="152" y="346"/>
                    </a:lnTo>
                    <a:lnTo>
                      <a:pt x="122" y="368"/>
                    </a:lnTo>
                    <a:lnTo>
                      <a:pt x="128" y="396"/>
                    </a:lnTo>
                    <a:lnTo>
                      <a:pt x="118" y="408"/>
                    </a:lnTo>
                    <a:lnTo>
                      <a:pt x="72" y="426"/>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68" name="Freeform 41">
                <a:extLst>
                  <a:ext uri="{FF2B5EF4-FFF2-40B4-BE49-F238E27FC236}">
                    <a16:creationId xmlns:a16="http://schemas.microsoft.com/office/drawing/2014/main" xmlns="" id="{8D6827C6-6477-4231-8156-DF3722456D36}"/>
                  </a:ext>
                </a:extLst>
              </p:cNvPr>
              <p:cNvSpPr>
                <a:spLocks/>
              </p:cNvSpPr>
              <p:nvPr/>
            </p:nvSpPr>
            <p:spPr bwMode="auto">
              <a:xfrm>
                <a:off x="2541" y="2432"/>
                <a:ext cx="661" cy="411"/>
              </a:xfrm>
              <a:custGeom>
                <a:avLst/>
                <a:gdLst/>
                <a:ahLst/>
                <a:cxnLst>
                  <a:cxn ang="0">
                    <a:pos x="9" y="276"/>
                  </a:cxn>
                  <a:cxn ang="0">
                    <a:pos x="37" y="260"/>
                  </a:cxn>
                  <a:cxn ang="0">
                    <a:pos x="59" y="232"/>
                  </a:cxn>
                  <a:cxn ang="0">
                    <a:pos x="137" y="236"/>
                  </a:cxn>
                  <a:cxn ang="0">
                    <a:pos x="185" y="212"/>
                  </a:cxn>
                  <a:cxn ang="0">
                    <a:pos x="279" y="258"/>
                  </a:cxn>
                  <a:cxn ang="0">
                    <a:pos x="325" y="260"/>
                  </a:cxn>
                  <a:cxn ang="0">
                    <a:pos x="337" y="192"/>
                  </a:cxn>
                  <a:cxn ang="0">
                    <a:pos x="301" y="192"/>
                  </a:cxn>
                  <a:cxn ang="0">
                    <a:pos x="297" y="146"/>
                  </a:cxn>
                  <a:cxn ang="0">
                    <a:pos x="329" y="96"/>
                  </a:cxn>
                  <a:cxn ang="0">
                    <a:pos x="299" y="72"/>
                  </a:cxn>
                  <a:cxn ang="0">
                    <a:pos x="299" y="48"/>
                  </a:cxn>
                  <a:cxn ang="0">
                    <a:pos x="391" y="28"/>
                  </a:cxn>
                  <a:cxn ang="0">
                    <a:pos x="429" y="60"/>
                  </a:cxn>
                  <a:cxn ang="0">
                    <a:pos x="467" y="66"/>
                  </a:cxn>
                  <a:cxn ang="0">
                    <a:pos x="473" y="100"/>
                  </a:cxn>
                  <a:cxn ang="0">
                    <a:pos x="535" y="108"/>
                  </a:cxn>
                  <a:cxn ang="0">
                    <a:pos x="587" y="132"/>
                  </a:cxn>
                  <a:cxn ang="0">
                    <a:pos x="577" y="152"/>
                  </a:cxn>
                  <a:cxn ang="0">
                    <a:pos x="559" y="248"/>
                  </a:cxn>
                  <a:cxn ang="0">
                    <a:pos x="567" y="260"/>
                  </a:cxn>
                  <a:cxn ang="0">
                    <a:pos x="595" y="284"/>
                  </a:cxn>
                  <a:cxn ang="0">
                    <a:pos x="615" y="304"/>
                  </a:cxn>
                  <a:cxn ang="0">
                    <a:pos x="631" y="332"/>
                  </a:cxn>
                  <a:cxn ang="0">
                    <a:pos x="661" y="336"/>
                  </a:cxn>
                  <a:cxn ang="0">
                    <a:pos x="625" y="352"/>
                  </a:cxn>
                  <a:cxn ang="0">
                    <a:pos x="589" y="322"/>
                  </a:cxn>
                  <a:cxn ang="0">
                    <a:pos x="517" y="298"/>
                  </a:cxn>
                  <a:cxn ang="0">
                    <a:pos x="461" y="268"/>
                  </a:cxn>
                  <a:cxn ang="0">
                    <a:pos x="363" y="378"/>
                  </a:cxn>
                  <a:cxn ang="0">
                    <a:pos x="299" y="378"/>
                  </a:cxn>
                  <a:cxn ang="0">
                    <a:pos x="279" y="386"/>
                  </a:cxn>
                  <a:cxn ang="0">
                    <a:pos x="239" y="372"/>
                  </a:cxn>
                  <a:cxn ang="0">
                    <a:pos x="211" y="392"/>
                  </a:cxn>
                  <a:cxn ang="0">
                    <a:pos x="189" y="396"/>
                  </a:cxn>
                  <a:cxn ang="0">
                    <a:pos x="177" y="409"/>
                  </a:cxn>
                  <a:cxn ang="0">
                    <a:pos x="134" y="402"/>
                  </a:cxn>
                  <a:cxn ang="0">
                    <a:pos x="96" y="364"/>
                  </a:cxn>
                  <a:cxn ang="0">
                    <a:pos x="59" y="300"/>
                  </a:cxn>
                  <a:cxn ang="0">
                    <a:pos x="1" y="306"/>
                  </a:cxn>
                </a:cxnLst>
                <a:rect l="0" t="0" r="r" b="b"/>
                <a:pathLst>
                  <a:path w="661" h="411">
                    <a:moveTo>
                      <a:pt x="1" y="306"/>
                    </a:moveTo>
                    <a:lnTo>
                      <a:pt x="9" y="276"/>
                    </a:lnTo>
                    <a:lnTo>
                      <a:pt x="21" y="272"/>
                    </a:lnTo>
                    <a:lnTo>
                      <a:pt x="37" y="260"/>
                    </a:lnTo>
                    <a:lnTo>
                      <a:pt x="47" y="240"/>
                    </a:lnTo>
                    <a:lnTo>
                      <a:pt x="59" y="232"/>
                    </a:lnTo>
                    <a:lnTo>
                      <a:pt x="109" y="240"/>
                    </a:lnTo>
                    <a:lnTo>
                      <a:pt x="137" y="236"/>
                    </a:lnTo>
                    <a:lnTo>
                      <a:pt x="167" y="224"/>
                    </a:lnTo>
                    <a:lnTo>
                      <a:pt x="185" y="212"/>
                    </a:lnTo>
                    <a:lnTo>
                      <a:pt x="223" y="240"/>
                    </a:lnTo>
                    <a:lnTo>
                      <a:pt x="279" y="258"/>
                    </a:lnTo>
                    <a:lnTo>
                      <a:pt x="313" y="268"/>
                    </a:lnTo>
                    <a:lnTo>
                      <a:pt x="325" y="260"/>
                    </a:lnTo>
                    <a:lnTo>
                      <a:pt x="345" y="218"/>
                    </a:lnTo>
                    <a:lnTo>
                      <a:pt x="337" y="192"/>
                    </a:lnTo>
                    <a:lnTo>
                      <a:pt x="313" y="188"/>
                    </a:lnTo>
                    <a:lnTo>
                      <a:pt x="301" y="192"/>
                    </a:lnTo>
                    <a:lnTo>
                      <a:pt x="291" y="164"/>
                    </a:lnTo>
                    <a:lnTo>
                      <a:pt x="297" y="146"/>
                    </a:lnTo>
                    <a:lnTo>
                      <a:pt x="313" y="106"/>
                    </a:lnTo>
                    <a:lnTo>
                      <a:pt x="329" y="96"/>
                    </a:lnTo>
                    <a:lnTo>
                      <a:pt x="319" y="82"/>
                    </a:lnTo>
                    <a:lnTo>
                      <a:pt x="299" y="72"/>
                    </a:lnTo>
                    <a:lnTo>
                      <a:pt x="281" y="60"/>
                    </a:lnTo>
                    <a:lnTo>
                      <a:pt x="299" y="48"/>
                    </a:lnTo>
                    <a:lnTo>
                      <a:pt x="371" y="42"/>
                    </a:lnTo>
                    <a:lnTo>
                      <a:pt x="391" y="28"/>
                    </a:lnTo>
                    <a:lnTo>
                      <a:pt x="399" y="0"/>
                    </a:lnTo>
                    <a:lnTo>
                      <a:pt x="429" y="60"/>
                    </a:lnTo>
                    <a:lnTo>
                      <a:pt x="449" y="51"/>
                    </a:lnTo>
                    <a:lnTo>
                      <a:pt x="467" y="66"/>
                    </a:lnTo>
                    <a:lnTo>
                      <a:pt x="475" y="76"/>
                    </a:lnTo>
                    <a:lnTo>
                      <a:pt x="473" y="100"/>
                    </a:lnTo>
                    <a:lnTo>
                      <a:pt x="507" y="100"/>
                    </a:lnTo>
                    <a:lnTo>
                      <a:pt x="535" y="108"/>
                    </a:lnTo>
                    <a:lnTo>
                      <a:pt x="551" y="96"/>
                    </a:lnTo>
                    <a:lnTo>
                      <a:pt x="587" y="132"/>
                    </a:lnTo>
                    <a:lnTo>
                      <a:pt x="589" y="146"/>
                    </a:lnTo>
                    <a:lnTo>
                      <a:pt x="577" y="152"/>
                    </a:lnTo>
                    <a:lnTo>
                      <a:pt x="593" y="182"/>
                    </a:lnTo>
                    <a:cubicBezTo>
                      <a:pt x="582" y="204"/>
                      <a:pt x="568" y="225"/>
                      <a:pt x="559" y="248"/>
                    </a:cubicBezTo>
                    <a:cubicBezTo>
                      <a:pt x="558" y="250"/>
                      <a:pt x="563" y="250"/>
                      <a:pt x="565" y="252"/>
                    </a:cubicBezTo>
                    <a:cubicBezTo>
                      <a:pt x="567" y="255"/>
                      <a:pt x="567" y="257"/>
                      <a:pt x="567" y="260"/>
                    </a:cubicBezTo>
                    <a:lnTo>
                      <a:pt x="575" y="278"/>
                    </a:lnTo>
                    <a:lnTo>
                      <a:pt x="595" y="284"/>
                    </a:lnTo>
                    <a:lnTo>
                      <a:pt x="593" y="302"/>
                    </a:lnTo>
                    <a:lnTo>
                      <a:pt x="615" y="304"/>
                    </a:lnTo>
                    <a:lnTo>
                      <a:pt x="623" y="314"/>
                    </a:lnTo>
                    <a:lnTo>
                      <a:pt x="631" y="332"/>
                    </a:lnTo>
                    <a:lnTo>
                      <a:pt x="645" y="324"/>
                    </a:lnTo>
                    <a:lnTo>
                      <a:pt x="661" y="336"/>
                    </a:lnTo>
                    <a:lnTo>
                      <a:pt x="653" y="352"/>
                    </a:lnTo>
                    <a:lnTo>
                      <a:pt x="625" y="352"/>
                    </a:lnTo>
                    <a:lnTo>
                      <a:pt x="603" y="354"/>
                    </a:lnTo>
                    <a:lnTo>
                      <a:pt x="589" y="322"/>
                    </a:lnTo>
                    <a:lnTo>
                      <a:pt x="546" y="313"/>
                    </a:lnTo>
                    <a:lnTo>
                      <a:pt x="517" y="298"/>
                    </a:lnTo>
                    <a:lnTo>
                      <a:pt x="513" y="283"/>
                    </a:lnTo>
                    <a:lnTo>
                      <a:pt x="461" y="268"/>
                    </a:lnTo>
                    <a:lnTo>
                      <a:pt x="377" y="378"/>
                    </a:lnTo>
                    <a:lnTo>
                      <a:pt x="363" y="378"/>
                    </a:lnTo>
                    <a:lnTo>
                      <a:pt x="277" y="332"/>
                    </a:lnTo>
                    <a:lnTo>
                      <a:pt x="299" y="378"/>
                    </a:lnTo>
                    <a:lnTo>
                      <a:pt x="289" y="392"/>
                    </a:lnTo>
                    <a:lnTo>
                      <a:pt x="279" y="386"/>
                    </a:lnTo>
                    <a:lnTo>
                      <a:pt x="267" y="368"/>
                    </a:lnTo>
                    <a:lnTo>
                      <a:pt x="239" y="372"/>
                    </a:lnTo>
                    <a:lnTo>
                      <a:pt x="207" y="364"/>
                    </a:lnTo>
                    <a:lnTo>
                      <a:pt x="211" y="392"/>
                    </a:lnTo>
                    <a:lnTo>
                      <a:pt x="201" y="398"/>
                    </a:lnTo>
                    <a:lnTo>
                      <a:pt x="189" y="396"/>
                    </a:lnTo>
                    <a:lnTo>
                      <a:pt x="171" y="404"/>
                    </a:lnTo>
                    <a:lnTo>
                      <a:pt x="177" y="409"/>
                    </a:lnTo>
                    <a:lnTo>
                      <a:pt x="146" y="411"/>
                    </a:lnTo>
                    <a:lnTo>
                      <a:pt x="134" y="402"/>
                    </a:lnTo>
                    <a:lnTo>
                      <a:pt x="111" y="394"/>
                    </a:lnTo>
                    <a:lnTo>
                      <a:pt x="96" y="364"/>
                    </a:lnTo>
                    <a:lnTo>
                      <a:pt x="75" y="304"/>
                    </a:lnTo>
                    <a:lnTo>
                      <a:pt x="59" y="300"/>
                    </a:lnTo>
                    <a:lnTo>
                      <a:pt x="0" y="309"/>
                    </a:lnTo>
                    <a:lnTo>
                      <a:pt x="1" y="306"/>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69" name="Freeform 42">
                <a:extLst>
                  <a:ext uri="{FF2B5EF4-FFF2-40B4-BE49-F238E27FC236}">
                    <a16:creationId xmlns:a16="http://schemas.microsoft.com/office/drawing/2014/main" xmlns="" id="{34774644-0BC4-43F9-9067-F43A2F39FB66}"/>
                  </a:ext>
                </a:extLst>
              </p:cNvPr>
              <p:cNvSpPr>
                <a:spLocks/>
              </p:cNvSpPr>
              <p:nvPr/>
            </p:nvSpPr>
            <p:spPr bwMode="auto">
              <a:xfrm>
                <a:off x="3007" y="1896"/>
                <a:ext cx="575" cy="1050"/>
              </a:xfrm>
              <a:custGeom>
                <a:avLst/>
                <a:gdLst/>
                <a:ahLst/>
                <a:cxnLst>
                  <a:cxn ang="0">
                    <a:pos x="79" y="616"/>
                  </a:cxn>
                  <a:cxn ang="0">
                    <a:pos x="17" y="594"/>
                  </a:cxn>
                  <a:cxn ang="0">
                    <a:pos x="51" y="564"/>
                  </a:cxn>
                  <a:cxn ang="0">
                    <a:pos x="59" y="496"/>
                  </a:cxn>
                  <a:cxn ang="0">
                    <a:pos x="53" y="418"/>
                  </a:cxn>
                  <a:cxn ang="0">
                    <a:pos x="127" y="396"/>
                  </a:cxn>
                  <a:cxn ang="0">
                    <a:pos x="173" y="375"/>
                  </a:cxn>
                  <a:cxn ang="0">
                    <a:pos x="221" y="372"/>
                  </a:cxn>
                  <a:cxn ang="0">
                    <a:pos x="169" y="282"/>
                  </a:cxn>
                  <a:cxn ang="0">
                    <a:pos x="185" y="227"/>
                  </a:cxn>
                  <a:cxn ang="0">
                    <a:pos x="143" y="192"/>
                  </a:cxn>
                  <a:cxn ang="0">
                    <a:pos x="145" y="98"/>
                  </a:cxn>
                  <a:cxn ang="0">
                    <a:pos x="169" y="53"/>
                  </a:cxn>
                  <a:cxn ang="0">
                    <a:pos x="213" y="20"/>
                  </a:cxn>
                  <a:cxn ang="0">
                    <a:pos x="231" y="0"/>
                  </a:cxn>
                  <a:cxn ang="0">
                    <a:pos x="241" y="34"/>
                  </a:cxn>
                  <a:cxn ang="0">
                    <a:pos x="331" y="18"/>
                  </a:cxn>
                  <a:cxn ang="0">
                    <a:pos x="467" y="34"/>
                  </a:cxn>
                  <a:cxn ang="0">
                    <a:pos x="559" y="106"/>
                  </a:cxn>
                  <a:cxn ang="0">
                    <a:pos x="565" y="180"/>
                  </a:cxn>
                  <a:cxn ang="0">
                    <a:pos x="505" y="220"/>
                  </a:cxn>
                  <a:cxn ang="0">
                    <a:pos x="475" y="208"/>
                  </a:cxn>
                  <a:cxn ang="0">
                    <a:pos x="377" y="309"/>
                  </a:cxn>
                  <a:cxn ang="0">
                    <a:pos x="427" y="460"/>
                  </a:cxn>
                  <a:cxn ang="0">
                    <a:pos x="361" y="520"/>
                  </a:cxn>
                  <a:cxn ang="0">
                    <a:pos x="357" y="580"/>
                  </a:cxn>
                  <a:cxn ang="0">
                    <a:pos x="338" y="677"/>
                  </a:cxn>
                  <a:cxn ang="0">
                    <a:pos x="413" y="690"/>
                  </a:cxn>
                  <a:cxn ang="0">
                    <a:pos x="445" y="718"/>
                  </a:cxn>
                  <a:cxn ang="0">
                    <a:pos x="449" y="806"/>
                  </a:cxn>
                  <a:cxn ang="0">
                    <a:pos x="479" y="856"/>
                  </a:cxn>
                  <a:cxn ang="0">
                    <a:pos x="513" y="926"/>
                  </a:cxn>
                  <a:cxn ang="0">
                    <a:pos x="521" y="992"/>
                  </a:cxn>
                  <a:cxn ang="0">
                    <a:pos x="473" y="1010"/>
                  </a:cxn>
                  <a:cxn ang="0">
                    <a:pos x="455" y="1000"/>
                  </a:cxn>
                  <a:cxn ang="0">
                    <a:pos x="421" y="1050"/>
                  </a:cxn>
                  <a:cxn ang="0">
                    <a:pos x="397" y="1023"/>
                  </a:cxn>
                  <a:cxn ang="0">
                    <a:pos x="367" y="1004"/>
                  </a:cxn>
                  <a:cxn ang="0">
                    <a:pos x="299" y="990"/>
                  </a:cxn>
                  <a:cxn ang="0">
                    <a:pos x="263" y="932"/>
                  </a:cxn>
                  <a:cxn ang="0">
                    <a:pos x="213" y="904"/>
                  </a:cxn>
                  <a:cxn ang="0">
                    <a:pos x="187" y="854"/>
                  </a:cxn>
                  <a:cxn ang="0">
                    <a:pos x="153" y="846"/>
                  </a:cxn>
                  <a:cxn ang="0">
                    <a:pos x="127" y="820"/>
                  </a:cxn>
                  <a:cxn ang="0">
                    <a:pos x="97" y="798"/>
                  </a:cxn>
                  <a:cxn ang="0">
                    <a:pos x="127" y="714"/>
                  </a:cxn>
                  <a:cxn ang="0">
                    <a:pos x="119" y="678"/>
                  </a:cxn>
                  <a:cxn ang="0">
                    <a:pos x="85" y="632"/>
                  </a:cxn>
                </a:cxnLst>
                <a:rect l="0" t="0" r="r" b="b"/>
                <a:pathLst>
                  <a:path w="575" h="1050">
                    <a:moveTo>
                      <a:pt x="85" y="632"/>
                    </a:moveTo>
                    <a:lnTo>
                      <a:pt x="79" y="616"/>
                    </a:lnTo>
                    <a:lnTo>
                      <a:pt x="65" y="604"/>
                    </a:lnTo>
                    <a:lnTo>
                      <a:pt x="17" y="594"/>
                    </a:lnTo>
                    <a:cubicBezTo>
                      <a:pt x="0" y="559"/>
                      <a:pt x="14" y="571"/>
                      <a:pt x="45" y="568"/>
                    </a:cubicBezTo>
                    <a:cubicBezTo>
                      <a:pt x="47" y="567"/>
                      <a:pt x="51" y="564"/>
                      <a:pt x="51" y="564"/>
                    </a:cubicBezTo>
                    <a:lnTo>
                      <a:pt x="35" y="562"/>
                    </a:lnTo>
                    <a:lnTo>
                      <a:pt x="59" y="496"/>
                    </a:lnTo>
                    <a:lnTo>
                      <a:pt x="79" y="484"/>
                    </a:lnTo>
                    <a:lnTo>
                      <a:pt x="53" y="418"/>
                    </a:lnTo>
                    <a:lnTo>
                      <a:pt x="133" y="420"/>
                    </a:lnTo>
                    <a:lnTo>
                      <a:pt x="127" y="396"/>
                    </a:lnTo>
                    <a:lnTo>
                      <a:pt x="147" y="402"/>
                    </a:lnTo>
                    <a:lnTo>
                      <a:pt x="173" y="375"/>
                    </a:lnTo>
                    <a:lnTo>
                      <a:pt x="211" y="384"/>
                    </a:lnTo>
                    <a:lnTo>
                      <a:pt x="221" y="372"/>
                    </a:lnTo>
                    <a:lnTo>
                      <a:pt x="213" y="326"/>
                    </a:lnTo>
                    <a:lnTo>
                      <a:pt x="169" y="282"/>
                    </a:lnTo>
                    <a:lnTo>
                      <a:pt x="161" y="252"/>
                    </a:lnTo>
                    <a:lnTo>
                      <a:pt x="185" y="227"/>
                    </a:lnTo>
                    <a:lnTo>
                      <a:pt x="155" y="194"/>
                    </a:lnTo>
                    <a:lnTo>
                      <a:pt x="143" y="192"/>
                    </a:lnTo>
                    <a:lnTo>
                      <a:pt x="148" y="147"/>
                    </a:lnTo>
                    <a:lnTo>
                      <a:pt x="145" y="98"/>
                    </a:lnTo>
                    <a:lnTo>
                      <a:pt x="169" y="86"/>
                    </a:lnTo>
                    <a:lnTo>
                      <a:pt x="169" y="53"/>
                    </a:lnTo>
                    <a:lnTo>
                      <a:pt x="184" y="33"/>
                    </a:lnTo>
                    <a:lnTo>
                      <a:pt x="213" y="20"/>
                    </a:lnTo>
                    <a:lnTo>
                      <a:pt x="219" y="8"/>
                    </a:lnTo>
                    <a:lnTo>
                      <a:pt x="231" y="0"/>
                    </a:lnTo>
                    <a:lnTo>
                      <a:pt x="239" y="14"/>
                    </a:lnTo>
                    <a:lnTo>
                      <a:pt x="241" y="34"/>
                    </a:lnTo>
                    <a:lnTo>
                      <a:pt x="251" y="40"/>
                    </a:lnTo>
                    <a:lnTo>
                      <a:pt x="331" y="18"/>
                    </a:lnTo>
                    <a:lnTo>
                      <a:pt x="395" y="32"/>
                    </a:lnTo>
                    <a:lnTo>
                      <a:pt x="467" y="34"/>
                    </a:lnTo>
                    <a:lnTo>
                      <a:pt x="519" y="72"/>
                    </a:lnTo>
                    <a:lnTo>
                      <a:pt x="559" y="106"/>
                    </a:lnTo>
                    <a:lnTo>
                      <a:pt x="575" y="154"/>
                    </a:lnTo>
                    <a:lnTo>
                      <a:pt x="565" y="180"/>
                    </a:lnTo>
                    <a:lnTo>
                      <a:pt x="535" y="204"/>
                    </a:lnTo>
                    <a:lnTo>
                      <a:pt x="505" y="220"/>
                    </a:lnTo>
                    <a:lnTo>
                      <a:pt x="493" y="216"/>
                    </a:lnTo>
                    <a:lnTo>
                      <a:pt x="475" y="208"/>
                    </a:lnTo>
                    <a:lnTo>
                      <a:pt x="423" y="252"/>
                    </a:lnTo>
                    <a:lnTo>
                      <a:pt x="377" y="309"/>
                    </a:lnTo>
                    <a:lnTo>
                      <a:pt x="423" y="418"/>
                    </a:lnTo>
                    <a:lnTo>
                      <a:pt x="427" y="460"/>
                    </a:lnTo>
                    <a:lnTo>
                      <a:pt x="411" y="478"/>
                    </a:lnTo>
                    <a:lnTo>
                      <a:pt x="361" y="520"/>
                    </a:lnTo>
                    <a:lnTo>
                      <a:pt x="345" y="536"/>
                    </a:lnTo>
                    <a:lnTo>
                      <a:pt x="357" y="580"/>
                    </a:lnTo>
                    <a:lnTo>
                      <a:pt x="347" y="640"/>
                    </a:lnTo>
                    <a:lnTo>
                      <a:pt x="338" y="677"/>
                    </a:lnTo>
                    <a:lnTo>
                      <a:pt x="375" y="690"/>
                    </a:lnTo>
                    <a:lnTo>
                      <a:pt x="413" y="690"/>
                    </a:lnTo>
                    <a:lnTo>
                      <a:pt x="443" y="698"/>
                    </a:lnTo>
                    <a:lnTo>
                      <a:pt x="445" y="718"/>
                    </a:lnTo>
                    <a:lnTo>
                      <a:pt x="437" y="764"/>
                    </a:lnTo>
                    <a:lnTo>
                      <a:pt x="449" y="806"/>
                    </a:lnTo>
                    <a:lnTo>
                      <a:pt x="479" y="836"/>
                    </a:lnTo>
                    <a:lnTo>
                      <a:pt x="479" y="856"/>
                    </a:lnTo>
                    <a:lnTo>
                      <a:pt x="509" y="910"/>
                    </a:lnTo>
                    <a:lnTo>
                      <a:pt x="513" y="926"/>
                    </a:lnTo>
                    <a:lnTo>
                      <a:pt x="503" y="960"/>
                    </a:lnTo>
                    <a:lnTo>
                      <a:pt x="521" y="992"/>
                    </a:lnTo>
                    <a:lnTo>
                      <a:pt x="511" y="1008"/>
                    </a:lnTo>
                    <a:lnTo>
                      <a:pt x="473" y="1010"/>
                    </a:lnTo>
                    <a:lnTo>
                      <a:pt x="465" y="994"/>
                    </a:lnTo>
                    <a:lnTo>
                      <a:pt x="455" y="1000"/>
                    </a:lnTo>
                    <a:lnTo>
                      <a:pt x="437" y="1026"/>
                    </a:lnTo>
                    <a:lnTo>
                      <a:pt x="421" y="1050"/>
                    </a:lnTo>
                    <a:lnTo>
                      <a:pt x="409" y="1048"/>
                    </a:lnTo>
                    <a:lnTo>
                      <a:pt x="397" y="1023"/>
                    </a:lnTo>
                    <a:lnTo>
                      <a:pt x="383" y="996"/>
                    </a:lnTo>
                    <a:lnTo>
                      <a:pt x="367" y="1004"/>
                    </a:lnTo>
                    <a:lnTo>
                      <a:pt x="327" y="992"/>
                    </a:lnTo>
                    <a:lnTo>
                      <a:pt x="299" y="990"/>
                    </a:lnTo>
                    <a:lnTo>
                      <a:pt x="271" y="942"/>
                    </a:lnTo>
                    <a:lnTo>
                      <a:pt x="263" y="932"/>
                    </a:lnTo>
                    <a:lnTo>
                      <a:pt x="233" y="930"/>
                    </a:lnTo>
                    <a:lnTo>
                      <a:pt x="213" y="904"/>
                    </a:lnTo>
                    <a:lnTo>
                      <a:pt x="195" y="878"/>
                    </a:lnTo>
                    <a:lnTo>
                      <a:pt x="187" y="854"/>
                    </a:lnTo>
                    <a:lnTo>
                      <a:pt x="169" y="868"/>
                    </a:lnTo>
                    <a:lnTo>
                      <a:pt x="153" y="846"/>
                    </a:lnTo>
                    <a:lnTo>
                      <a:pt x="127" y="836"/>
                    </a:lnTo>
                    <a:lnTo>
                      <a:pt x="127" y="820"/>
                    </a:lnTo>
                    <a:lnTo>
                      <a:pt x="109" y="810"/>
                    </a:lnTo>
                    <a:lnTo>
                      <a:pt x="97" y="798"/>
                    </a:lnTo>
                    <a:lnTo>
                      <a:pt x="95" y="776"/>
                    </a:lnTo>
                    <a:lnTo>
                      <a:pt x="127" y="714"/>
                    </a:lnTo>
                    <a:lnTo>
                      <a:pt x="113" y="688"/>
                    </a:lnTo>
                    <a:lnTo>
                      <a:pt x="119" y="678"/>
                    </a:lnTo>
                    <a:lnTo>
                      <a:pt x="119" y="664"/>
                    </a:lnTo>
                    <a:lnTo>
                      <a:pt x="85" y="632"/>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70" name="Freeform 43">
                <a:extLst>
                  <a:ext uri="{FF2B5EF4-FFF2-40B4-BE49-F238E27FC236}">
                    <a16:creationId xmlns:a16="http://schemas.microsoft.com/office/drawing/2014/main" xmlns="" id="{83B9C355-ACB5-413D-9CC1-3BC8B8924F9D}"/>
                  </a:ext>
                </a:extLst>
              </p:cNvPr>
              <p:cNvSpPr>
                <a:spLocks/>
              </p:cNvSpPr>
              <p:nvPr/>
            </p:nvSpPr>
            <p:spPr bwMode="auto">
              <a:xfrm>
                <a:off x="3344" y="2058"/>
                <a:ext cx="702" cy="882"/>
              </a:xfrm>
              <a:custGeom>
                <a:avLst/>
                <a:gdLst/>
                <a:ahLst/>
                <a:cxnLst>
                  <a:cxn ang="0">
                    <a:pos x="166" y="796"/>
                  </a:cxn>
                  <a:cxn ang="0">
                    <a:pos x="172" y="746"/>
                  </a:cxn>
                  <a:cxn ang="0">
                    <a:pos x="140" y="672"/>
                  </a:cxn>
                  <a:cxn ang="0">
                    <a:pos x="98" y="598"/>
                  </a:cxn>
                  <a:cxn ang="0">
                    <a:pos x="106" y="532"/>
                  </a:cxn>
                  <a:cxn ang="0">
                    <a:pos x="38" y="528"/>
                  </a:cxn>
                  <a:cxn ang="0">
                    <a:pos x="10" y="474"/>
                  </a:cxn>
                  <a:cxn ang="0">
                    <a:pos x="6" y="372"/>
                  </a:cxn>
                  <a:cxn ang="0">
                    <a:pos x="74" y="314"/>
                  </a:cxn>
                  <a:cxn ang="0">
                    <a:pos x="88" y="263"/>
                  </a:cxn>
                  <a:cxn ang="0">
                    <a:pos x="42" y="148"/>
                  </a:cxn>
                  <a:cxn ang="0">
                    <a:pos x="88" y="88"/>
                  </a:cxn>
                  <a:cxn ang="0">
                    <a:pos x="154" y="54"/>
                  </a:cxn>
                  <a:cxn ang="0">
                    <a:pos x="198" y="42"/>
                  </a:cxn>
                  <a:cxn ang="0">
                    <a:pos x="234" y="8"/>
                  </a:cxn>
                  <a:cxn ang="0">
                    <a:pos x="266" y="0"/>
                  </a:cxn>
                  <a:cxn ang="0">
                    <a:pos x="288" y="50"/>
                  </a:cxn>
                  <a:cxn ang="0">
                    <a:pos x="326" y="112"/>
                  </a:cxn>
                  <a:cxn ang="0">
                    <a:pos x="358" y="180"/>
                  </a:cxn>
                  <a:cxn ang="0">
                    <a:pos x="386" y="246"/>
                  </a:cxn>
                  <a:cxn ang="0">
                    <a:pos x="450" y="268"/>
                  </a:cxn>
                  <a:cxn ang="0">
                    <a:pos x="578" y="276"/>
                  </a:cxn>
                  <a:cxn ang="0">
                    <a:pos x="584" y="312"/>
                  </a:cxn>
                  <a:cxn ang="0">
                    <a:pos x="550" y="308"/>
                  </a:cxn>
                  <a:cxn ang="0">
                    <a:pos x="610" y="364"/>
                  </a:cxn>
                  <a:cxn ang="0">
                    <a:pos x="662" y="376"/>
                  </a:cxn>
                  <a:cxn ang="0">
                    <a:pos x="702" y="404"/>
                  </a:cxn>
                  <a:cxn ang="0">
                    <a:pos x="636" y="470"/>
                  </a:cxn>
                  <a:cxn ang="0">
                    <a:pos x="558" y="624"/>
                  </a:cxn>
                  <a:cxn ang="0">
                    <a:pos x="506" y="744"/>
                  </a:cxn>
                  <a:cxn ang="0">
                    <a:pos x="508" y="816"/>
                  </a:cxn>
                  <a:cxn ang="0">
                    <a:pos x="454" y="882"/>
                  </a:cxn>
                  <a:cxn ang="0">
                    <a:pos x="435" y="863"/>
                  </a:cxn>
                  <a:cxn ang="0">
                    <a:pos x="364" y="806"/>
                  </a:cxn>
                  <a:cxn ang="0">
                    <a:pos x="330" y="796"/>
                  </a:cxn>
                  <a:cxn ang="0">
                    <a:pos x="307" y="807"/>
                  </a:cxn>
                  <a:cxn ang="0">
                    <a:pos x="260" y="828"/>
                  </a:cxn>
                  <a:cxn ang="0">
                    <a:pos x="220" y="844"/>
                  </a:cxn>
                </a:cxnLst>
                <a:rect l="0" t="0" r="r" b="b"/>
                <a:pathLst>
                  <a:path w="702" h="882">
                    <a:moveTo>
                      <a:pt x="184" y="830"/>
                    </a:moveTo>
                    <a:lnTo>
                      <a:pt x="166" y="796"/>
                    </a:lnTo>
                    <a:lnTo>
                      <a:pt x="174" y="760"/>
                    </a:lnTo>
                    <a:lnTo>
                      <a:pt x="172" y="746"/>
                    </a:lnTo>
                    <a:lnTo>
                      <a:pt x="142" y="692"/>
                    </a:lnTo>
                    <a:lnTo>
                      <a:pt x="140" y="672"/>
                    </a:lnTo>
                    <a:lnTo>
                      <a:pt x="110" y="642"/>
                    </a:lnTo>
                    <a:lnTo>
                      <a:pt x="98" y="598"/>
                    </a:lnTo>
                    <a:lnTo>
                      <a:pt x="110" y="550"/>
                    </a:lnTo>
                    <a:lnTo>
                      <a:pt x="106" y="532"/>
                    </a:lnTo>
                    <a:lnTo>
                      <a:pt x="74" y="526"/>
                    </a:lnTo>
                    <a:lnTo>
                      <a:pt x="38" y="528"/>
                    </a:lnTo>
                    <a:lnTo>
                      <a:pt x="0" y="514"/>
                    </a:lnTo>
                    <a:lnTo>
                      <a:pt x="10" y="474"/>
                    </a:lnTo>
                    <a:lnTo>
                      <a:pt x="20" y="416"/>
                    </a:lnTo>
                    <a:lnTo>
                      <a:pt x="6" y="372"/>
                    </a:lnTo>
                    <a:lnTo>
                      <a:pt x="24" y="356"/>
                    </a:lnTo>
                    <a:lnTo>
                      <a:pt x="74" y="314"/>
                    </a:lnTo>
                    <a:lnTo>
                      <a:pt x="90" y="294"/>
                    </a:lnTo>
                    <a:lnTo>
                      <a:pt x="88" y="263"/>
                    </a:lnTo>
                    <a:lnTo>
                      <a:pt x="82" y="248"/>
                    </a:lnTo>
                    <a:lnTo>
                      <a:pt x="42" y="148"/>
                    </a:lnTo>
                    <a:lnTo>
                      <a:pt x="76" y="101"/>
                    </a:lnTo>
                    <a:lnTo>
                      <a:pt x="88" y="88"/>
                    </a:lnTo>
                    <a:lnTo>
                      <a:pt x="138" y="44"/>
                    </a:lnTo>
                    <a:lnTo>
                      <a:pt x="154" y="54"/>
                    </a:lnTo>
                    <a:lnTo>
                      <a:pt x="168" y="58"/>
                    </a:lnTo>
                    <a:lnTo>
                      <a:pt x="198" y="42"/>
                    </a:lnTo>
                    <a:lnTo>
                      <a:pt x="228" y="20"/>
                    </a:lnTo>
                    <a:lnTo>
                      <a:pt x="234" y="8"/>
                    </a:lnTo>
                    <a:lnTo>
                      <a:pt x="254" y="12"/>
                    </a:lnTo>
                    <a:lnTo>
                      <a:pt x="266" y="0"/>
                    </a:lnTo>
                    <a:lnTo>
                      <a:pt x="276" y="30"/>
                    </a:lnTo>
                    <a:lnTo>
                      <a:pt x="288" y="50"/>
                    </a:lnTo>
                    <a:lnTo>
                      <a:pt x="306" y="62"/>
                    </a:lnTo>
                    <a:lnTo>
                      <a:pt x="326" y="112"/>
                    </a:lnTo>
                    <a:lnTo>
                      <a:pt x="356" y="156"/>
                    </a:lnTo>
                    <a:lnTo>
                      <a:pt x="358" y="180"/>
                    </a:lnTo>
                    <a:lnTo>
                      <a:pt x="338" y="232"/>
                    </a:lnTo>
                    <a:lnTo>
                      <a:pt x="386" y="246"/>
                    </a:lnTo>
                    <a:lnTo>
                      <a:pt x="412" y="256"/>
                    </a:lnTo>
                    <a:lnTo>
                      <a:pt x="450" y="268"/>
                    </a:lnTo>
                    <a:lnTo>
                      <a:pt x="508" y="278"/>
                    </a:lnTo>
                    <a:lnTo>
                      <a:pt x="578" y="276"/>
                    </a:lnTo>
                    <a:lnTo>
                      <a:pt x="594" y="284"/>
                    </a:lnTo>
                    <a:lnTo>
                      <a:pt x="584" y="312"/>
                    </a:lnTo>
                    <a:lnTo>
                      <a:pt x="564" y="322"/>
                    </a:lnTo>
                    <a:lnTo>
                      <a:pt x="550" y="308"/>
                    </a:lnTo>
                    <a:lnTo>
                      <a:pt x="552" y="366"/>
                    </a:lnTo>
                    <a:lnTo>
                      <a:pt x="610" y="364"/>
                    </a:lnTo>
                    <a:lnTo>
                      <a:pt x="626" y="360"/>
                    </a:lnTo>
                    <a:lnTo>
                      <a:pt x="662" y="376"/>
                    </a:lnTo>
                    <a:lnTo>
                      <a:pt x="698" y="386"/>
                    </a:lnTo>
                    <a:lnTo>
                      <a:pt x="702" y="404"/>
                    </a:lnTo>
                    <a:lnTo>
                      <a:pt x="692" y="424"/>
                    </a:lnTo>
                    <a:lnTo>
                      <a:pt x="636" y="470"/>
                    </a:lnTo>
                    <a:lnTo>
                      <a:pt x="576" y="572"/>
                    </a:lnTo>
                    <a:lnTo>
                      <a:pt x="558" y="624"/>
                    </a:lnTo>
                    <a:lnTo>
                      <a:pt x="584" y="644"/>
                    </a:lnTo>
                    <a:lnTo>
                      <a:pt x="506" y="744"/>
                    </a:lnTo>
                    <a:lnTo>
                      <a:pt x="494" y="782"/>
                    </a:lnTo>
                    <a:cubicBezTo>
                      <a:pt x="510" y="809"/>
                      <a:pt x="508" y="797"/>
                      <a:pt x="508" y="816"/>
                    </a:cubicBezTo>
                    <a:lnTo>
                      <a:pt x="466" y="880"/>
                    </a:lnTo>
                    <a:lnTo>
                      <a:pt x="454" y="882"/>
                    </a:lnTo>
                    <a:lnTo>
                      <a:pt x="460" y="858"/>
                    </a:lnTo>
                    <a:lnTo>
                      <a:pt x="435" y="863"/>
                    </a:lnTo>
                    <a:lnTo>
                      <a:pt x="412" y="843"/>
                    </a:lnTo>
                    <a:lnTo>
                      <a:pt x="364" y="806"/>
                    </a:lnTo>
                    <a:lnTo>
                      <a:pt x="364" y="784"/>
                    </a:lnTo>
                    <a:lnTo>
                      <a:pt x="330" y="796"/>
                    </a:lnTo>
                    <a:lnTo>
                      <a:pt x="314" y="786"/>
                    </a:lnTo>
                    <a:lnTo>
                      <a:pt x="307" y="807"/>
                    </a:lnTo>
                    <a:lnTo>
                      <a:pt x="284" y="820"/>
                    </a:lnTo>
                    <a:lnTo>
                      <a:pt x="260" y="828"/>
                    </a:lnTo>
                    <a:lnTo>
                      <a:pt x="246" y="828"/>
                    </a:lnTo>
                    <a:lnTo>
                      <a:pt x="220" y="844"/>
                    </a:lnTo>
                    <a:lnTo>
                      <a:pt x="184" y="830"/>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sp>
            <p:nvSpPr>
              <p:cNvPr id="71" name="Freeform 44">
                <a:extLst>
                  <a:ext uri="{FF2B5EF4-FFF2-40B4-BE49-F238E27FC236}">
                    <a16:creationId xmlns:a16="http://schemas.microsoft.com/office/drawing/2014/main" xmlns="" id="{4C5BD288-212F-4685-95B9-8E113F324A18}"/>
                  </a:ext>
                </a:extLst>
              </p:cNvPr>
              <p:cNvSpPr>
                <a:spLocks/>
              </p:cNvSpPr>
              <p:nvPr/>
            </p:nvSpPr>
            <p:spPr bwMode="auto">
              <a:xfrm>
                <a:off x="2916" y="2700"/>
                <a:ext cx="1704" cy="1284"/>
              </a:xfrm>
              <a:custGeom>
                <a:avLst/>
                <a:gdLst/>
                <a:ahLst/>
                <a:cxnLst>
                  <a:cxn ang="0">
                    <a:pos x="418" y="646"/>
                  </a:cxn>
                  <a:cxn ang="0">
                    <a:pos x="298" y="552"/>
                  </a:cxn>
                  <a:cxn ang="0">
                    <a:pos x="70" y="352"/>
                  </a:cxn>
                  <a:cxn ang="0">
                    <a:pos x="184" y="310"/>
                  </a:cxn>
                  <a:cxn ang="0">
                    <a:pos x="156" y="202"/>
                  </a:cxn>
                  <a:cxn ang="0">
                    <a:pos x="14" y="112"/>
                  </a:cxn>
                  <a:cxn ang="0">
                    <a:pos x="152" y="38"/>
                  </a:cxn>
                  <a:cxn ang="0">
                    <a:pos x="288" y="78"/>
                  </a:cxn>
                  <a:cxn ang="0">
                    <a:pos x="388" y="186"/>
                  </a:cxn>
                  <a:cxn ang="0">
                    <a:pos x="506" y="248"/>
                  </a:cxn>
                  <a:cxn ang="0">
                    <a:pos x="612" y="186"/>
                  </a:cxn>
                  <a:cxn ang="0">
                    <a:pos x="730" y="166"/>
                  </a:cxn>
                  <a:cxn ang="0">
                    <a:pos x="794" y="166"/>
                  </a:cxn>
                  <a:cxn ang="0">
                    <a:pos x="902" y="224"/>
                  </a:cxn>
                  <a:cxn ang="0">
                    <a:pos x="978" y="210"/>
                  </a:cxn>
                  <a:cxn ang="0">
                    <a:pos x="1110" y="160"/>
                  </a:cxn>
                  <a:cxn ang="0">
                    <a:pos x="1200" y="224"/>
                  </a:cxn>
                  <a:cxn ang="0">
                    <a:pos x="1326" y="308"/>
                  </a:cxn>
                  <a:cxn ang="0">
                    <a:pos x="1370" y="380"/>
                  </a:cxn>
                  <a:cxn ang="0">
                    <a:pos x="1362" y="304"/>
                  </a:cxn>
                  <a:cxn ang="0">
                    <a:pos x="1378" y="286"/>
                  </a:cxn>
                  <a:cxn ang="0">
                    <a:pos x="1484" y="382"/>
                  </a:cxn>
                  <a:cxn ang="0">
                    <a:pos x="1566" y="398"/>
                  </a:cxn>
                  <a:cxn ang="0">
                    <a:pos x="1676" y="426"/>
                  </a:cxn>
                  <a:cxn ang="0">
                    <a:pos x="1698" y="480"/>
                  </a:cxn>
                  <a:cxn ang="0">
                    <a:pos x="1658" y="444"/>
                  </a:cxn>
                  <a:cxn ang="0">
                    <a:pos x="1556" y="568"/>
                  </a:cxn>
                  <a:cxn ang="0">
                    <a:pos x="1548" y="674"/>
                  </a:cxn>
                  <a:cxn ang="0">
                    <a:pos x="1534" y="734"/>
                  </a:cxn>
                  <a:cxn ang="0">
                    <a:pos x="1442" y="758"/>
                  </a:cxn>
                  <a:cxn ang="0">
                    <a:pos x="1378" y="836"/>
                  </a:cxn>
                  <a:cxn ang="0">
                    <a:pos x="1296" y="890"/>
                  </a:cxn>
                  <a:cxn ang="0">
                    <a:pos x="1368" y="946"/>
                  </a:cxn>
                  <a:cxn ang="0">
                    <a:pos x="1296" y="1070"/>
                  </a:cxn>
                  <a:cxn ang="0">
                    <a:pos x="1212" y="1070"/>
                  </a:cxn>
                  <a:cxn ang="0">
                    <a:pos x="1162" y="1110"/>
                  </a:cxn>
                  <a:cxn ang="0">
                    <a:pos x="1126" y="1170"/>
                  </a:cxn>
                  <a:cxn ang="0">
                    <a:pos x="1092" y="1272"/>
                  </a:cxn>
                  <a:cxn ang="0">
                    <a:pos x="1022" y="1230"/>
                  </a:cxn>
                  <a:cxn ang="0">
                    <a:pos x="1056" y="1068"/>
                  </a:cxn>
                  <a:cxn ang="0">
                    <a:pos x="1044" y="1012"/>
                  </a:cxn>
                  <a:cxn ang="0">
                    <a:pos x="978" y="964"/>
                  </a:cxn>
                  <a:cxn ang="0">
                    <a:pos x="860" y="932"/>
                  </a:cxn>
                  <a:cxn ang="0">
                    <a:pos x="802" y="852"/>
                  </a:cxn>
                  <a:cxn ang="0">
                    <a:pos x="594" y="854"/>
                  </a:cxn>
                  <a:cxn ang="0">
                    <a:pos x="520" y="792"/>
                  </a:cxn>
                  <a:cxn ang="0">
                    <a:pos x="480" y="778"/>
                  </a:cxn>
                  <a:cxn ang="0">
                    <a:pos x="412" y="750"/>
                  </a:cxn>
                </a:cxnLst>
                <a:rect l="0" t="0" r="r" b="b"/>
                <a:pathLst>
                  <a:path w="1704" h="1284">
                    <a:moveTo>
                      <a:pt x="412" y="750"/>
                    </a:moveTo>
                    <a:lnTo>
                      <a:pt x="416" y="734"/>
                    </a:lnTo>
                    <a:lnTo>
                      <a:pt x="434" y="718"/>
                    </a:lnTo>
                    <a:lnTo>
                      <a:pt x="418" y="646"/>
                    </a:lnTo>
                    <a:lnTo>
                      <a:pt x="402" y="616"/>
                    </a:lnTo>
                    <a:lnTo>
                      <a:pt x="406" y="602"/>
                    </a:lnTo>
                    <a:lnTo>
                      <a:pt x="370" y="598"/>
                    </a:lnTo>
                    <a:lnTo>
                      <a:pt x="298" y="552"/>
                    </a:lnTo>
                    <a:lnTo>
                      <a:pt x="266" y="522"/>
                    </a:lnTo>
                    <a:lnTo>
                      <a:pt x="240" y="510"/>
                    </a:lnTo>
                    <a:lnTo>
                      <a:pt x="100" y="418"/>
                    </a:lnTo>
                    <a:lnTo>
                      <a:pt x="70" y="352"/>
                    </a:lnTo>
                    <a:lnTo>
                      <a:pt x="82" y="360"/>
                    </a:lnTo>
                    <a:lnTo>
                      <a:pt x="166" y="364"/>
                    </a:lnTo>
                    <a:lnTo>
                      <a:pt x="180" y="340"/>
                    </a:lnTo>
                    <a:lnTo>
                      <a:pt x="184" y="310"/>
                    </a:lnTo>
                    <a:lnTo>
                      <a:pt x="146" y="246"/>
                    </a:lnTo>
                    <a:lnTo>
                      <a:pt x="142" y="232"/>
                    </a:lnTo>
                    <a:lnTo>
                      <a:pt x="154" y="218"/>
                    </a:lnTo>
                    <a:lnTo>
                      <a:pt x="156" y="202"/>
                    </a:lnTo>
                    <a:lnTo>
                      <a:pt x="100" y="140"/>
                    </a:lnTo>
                    <a:lnTo>
                      <a:pt x="82" y="152"/>
                    </a:lnTo>
                    <a:lnTo>
                      <a:pt x="48" y="126"/>
                    </a:lnTo>
                    <a:lnTo>
                      <a:pt x="14" y="112"/>
                    </a:lnTo>
                    <a:lnTo>
                      <a:pt x="0" y="108"/>
                    </a:lnTo>
                    <a:lnTo>
                      <a:pt x="88" y="0"/>
                    </a:lnTo>
                    <a:lnTo>
                      <a:pt x="136" y="16"/>
                    </a:lnTo>
                    <a:lnTo>
                      <a:pt x="152" y="38"/>
                    </a:lnTo>
                    <a:lnTo>
                      <a:pt x="208" y="54"/>
                    </a:lnTo>
                    <a:lnTo>
                      <a:pt x="228" y="86"/>
                    </a:lnTo>
                    <a:lnTo>
                      <a:pt x="270" y="84"/>
                    </a:lnTo>
                    <a:lnTo>
                      <a:pt x="288" y="78"/>
                    </a:lnTo>
                    <a:lnTo>
                      <a:pt x="322" y="126"/>
                    </a:lnTo>
                    <a:lnTo>
                      <a:pt x="358" y="132"/>
                    </a:lnTo>
                    <a:lnTo>
                      <a:pt x="380" y="170"/>
                    </a:lnTo>
                    <a:lnTo>
                      <a:pt x="388" y="186"/>
                    </a:lnTo>
                    <a:lnTo>
                      <a:pt x="424" y="188"/>
                    </a:lnTo>
                    <a:lnTo>
                      <a:pt x="452" y="198"/>
                    </a:lnTo>
                    <a:lnTo>
                      <a:pt x="474" y="190"/>
                    </a:lnTo>
                    <a:lnTo>
                      <a:pt x="506" y="248"/>
                    </a:lnTo>
                    <a:lnTo>
                      <a:pt x="550" y="192"/>
                    </a:lnTo>
                    <a:lnTo>
                      <a:pt x="562" y="204"/>
                    </a:lnTo>
                    <a:lnTo>
                      <a:pt x="608" y="202"/>
                    </a:lnTo>
                    <a:lnTo>
                      <a:pt x="612" y="186"/>
                    </a:lnTo>
                    <a:lnTo>
                      <a:pt x="644" y="202"/>
                    </a:lnTo>
                    <a:lnTo>
                      <a:pt x="680" y="184"/>
                    </a:lnTo>
                    <a:lnTo>
                      <a:pt x="710" y="178"/>
                    </a:lnTo>
                    <a:lnTo>
                      <a:pt x="730" y="166"/>
                    </a:lnTo>
                    <a:lnTo>
                      <a:pt x="744" y="144"/>
                    </a:lnTo>
                    <a:lnTo>
                      <a:pt x="764" y="152"/>
                    </a:lnTo>
                    <a:lnTo>
                      <a:pt x="788" y="146"/>
                    </a:lnTo>
                    <a:lnTo>
                      <a:pt x="794" y="166"/>
                    </a:lnTo>
                    <a:lnTo>
                      <a:pt x="864" y="222"/>
                    </a:lnTo>
                    <a:lnTo>
                      <a:pt x="884" y="214"/>
                    </a:lnTo>
                    <a:lnTo>
                      <a:pt x="884" y="240"/>
                    </a:lnTo>
                    <a:lnTo>
                      <a:pt x="902" y="224"/>
                    </a:lnTo>
                    <a:lnTo>
                      <a:pt x="918" y="232"/>
                    </a:lnTo>
                    <a:lnTo>
                      <a:pt x="940" y="204"/>
                    </a:lnTo>
                    <a:lnTo>
                      <a:pt x="964" y="222"/>
                    </a:lnTo>
                    <a:lnTo>
                      <a:pt x="978" y="210"/>
                    </a:lnTo>
                    <a:lnTo>
                      <a:pt x="980" y="180"/>
                    </a:lnTo>
                    <a:lnTo>
                      <a:pt x="1070" y="124"/>
                    </a:lnTo>
                    <a:lnTo>
                      <a:pt x="1086" y="126"/>
                    </a:lnTo>
                    <a:lnTo>
                      <a:pt x="1110" y="160"/>
                    </a:lnTo>
                    <a:lnTo>
                      <a:pt x="1142" y="178"/>
                    </a:lnTo>
                    <a:lnTo>
                      <a:pt x="1164" y="178"/>
                    </a:lnTo>
                    <a:lnTo>
                      <a:pt x="1180" y="198"/>
                    </a:lnTo>
                    <a:lnTo>
                      <a:pt x="1200" y="224"/>
                    </a:lnTo>
                    <a:lnTo>
                      <a:pt x="1248" y="266"/>
                    </a:lnTo>
                    <a:lnTo>
                      <a:pt x="1262" y="292"/>
                    </a:lnTo>
                    <a:lnTo>
                      <a:pt x="1312" y="302"/>
                    </a:lnTo>
                    <a:lnTo>
                      <a:pt x="1326" y="308"/>
                    </a:lnTo>
                    <a:lnTo>
                      <a:pt x="1334" y="336"/>
                    </a:lnTo>
                    <a:lnTo>
                      <a:pt x="1332" y="374"/>
                    </a:lnTo>
                    <a:lnTo>
                      <a:pt x="1352" y="386"/>
                    </a:lnTo>
                    <a:lnTo>
                      <a:pt x="1370" y="380"/>
                    </a:lnTo>
                    <a:lnTo>
                      <a:pt x="1376" y="362"/>
                    </a:lnTo>
                    <a:lnTo>
                      <a:pt x="1376" y="344"/>
                    </a:lnTo>
                    <a:lnTo>
                      <a:pt x="1362" y="338"/>
                    </a:lnTo>
                    <a:lnTo>
                      <a:pt x="1362" y="304"/>
                    </a:lnTo>
                    <a:lnTo>
                      <a:pt x="1352" y="280"/>
                    </a:lnTo>
                    <a:lnTo>
                      <a:pt x="1340" y="270"/>
                    </a:lnTo>
                    <a:lnTo>
                      <a:pt x="1352" y="266"/>
                    </a:lnTo>
                    <a:lnTo>
                      <a:pt x="1378" y="286"/>
                    </a:lnTo>
                    <a:lnTo>
                      <a:pt x="1396" y="302"/>
                    </a:lnTo>
                    <a:lnTo>
                      <a:pt x="1440" y="308"/>
                    </a:lnTo>
                    <a:lnTo>
                      <a:pt x="1454" y="338"/>
                    </a:lnTo>
                    <a:lnTo>
                      <a:pt x="1484" y="382"/>
                    </a:lnTo>
                    <a:lnTo>
                      <a:pt x="1516" y="396"/>
                    </a:lnTo>
                    <a:lnTo>
                      <a:pt x="1530" y="396"/>
                    </a:lnTo>
                    <a:lnTo>
                      <a:pt x="1542" y="384"/>
                    </a:lnTo>
                    <a:lnTo>
                      <a:pt x="1566" y="398"/>
                    </a:lnTo>
                    <a:lnTo>
                      <a:pt x="1636" y="388"/>
                    </a:lnTo>
                    <a:lnTo>
                      <a:pt x="1668" y="394"/>
                    </a:lnTo>
                    <a:lnTo>
                      <a:pt x="1660" y="424"/>
                    </a:lnTo>
                    <a:lnTo>
                      <a:pt x="1676" y="426"/>
                    </a:lnTo>
                    <a:lnTo>
                      <a:pt x="1674" y="438"/>
                    </a:lnTo>
                    <a:lnTo>
                      <a:pt x="1678" y="462"/>
                    </a:lnTo>
                    <a:lnTo>
                      <a:pt x="1704" y="460"/>
                    </a:lnTo>
                    <a:lnTo>
                      <a:pt x="1698" y="480"/>
                    </a:lnTo>
                    <a:lnTo>
                      <a:pt x="1672" y="484"/>
                    </a:lnTo>
                    <a:lnTo>
                      <a:pt x="1678" y="464"/>
                    </a:lnTo>
                    <a:lnTo>
                      <a:pt x="1676" y="434"/>
                    </a:lnTo>
                    <a:lnTo>
                      <a:pt x="1658" y="444"/>
                    </a:lnTo>
                    <a:lnTo>
                      <a:pt x="1628" y="458"/>
                    </a:lnTo>
                    <a:cubicBezTo>
                      <a:pt x="1610" y="483"/>
                      <a:pt x="1594" y="494"/>
                      <a:pt x="1594" y="522"/>
                    </a:cubicBezTo>
                    <a:lnTo>
                      <a:pt x="1576" y="528"/>
                    </a:lnTo>
                    <a:lnTo>
                      <a:pt x="1556" y="568"/>
                    </a:lnTo>
                    <a:lnTo>
                      <a:pt x="1560" y="590"/>
                    </a:lnTo>
                    <a:lnTo>
                      <a:pt x="1540" y="630"/>
                    </a:lnTo>
                    <a:lnTo>
                      <a:pt x="1538" y="662"/>
                    </a:lnTo>
                    <a:lnTo>
                      <a:pt x="1548" y="674"/>
                    </a:lnTo>
                    <a:lnTo>
                      <a:pt x="1556" y="684"/>
                    </a:lnTo>
                    <a:lnTo>
                      <a:pt x="1532" y="698"/>
                    </a:lnTo>
                    <a:lnTo>
                      <a:pt x="1528" y="712"/>
                    </a:lnTo>
                    <a:lnTo>
                      <a:pt x="1534" y="734"/>
                    </a:lnTo>
                    <a:lnTo>
                      <a:pt x="1502" y="754"/>
                    </a:lnTo>
                    <a:lnTo>
                      <a:pt x="1484" y="754"/>
                    </a:lnTo>
                    <a:lnTo>
                      <a:pt x="1456" y="754"/>
                    </a:lnTo>
                    <a:lnTo>
                      <a:pt x="1442" y="758"/>
                    </a:lnTo>
                    <a:lnTo>
                      <a:pt x="1428" y="778"/>
                    </a:lnTo>
                    <a:lnTo>
                      <a:pt x="1414" y="786"/>
                    </a:lnTo>
                    <a:lnTo>
                      <a:pt x="1388" y="824"/>
                    </a:lnTo>
                    <a:lnTo>
                      <a:pt x="1378" y="836"/>
                    </a:lnTo>
                    <a:lnTo>
                      <a:pt x="1362" y="846"/>
                    </a:lnTo>
                    <a:lnTo>
                      <a:pt x="1344" y="862"/>
                    </a:lnTo>
                    <a:lnTo>
                      <a:pt x="1316" y="888"/>
                    </a:lnTo>
                    <a:lnTo>
                      <a:pt x="1296" y="890"/>
                    </a:lnTo>
                    <a:lnTo>
                      <a:pt x="1318" y="914"/>
                    </a:lnTo>
                    <a:lnTo>
                      <a:pt x="1350" y="918"/>
                    </a:lnTo>
                    <a:lnTo>
                      <a:pt x="1348" y="942"/>
                    </a:lnTo>
                    <a:lnTo>
                      <a:pt x="1368" y="946"/>
                    </a:lnTo>
                    <a:lnTo>
                      <a:pt x="1362" y="966"/>
                    </a:lnTo>
                    <a:lnTo>
                      <a:pt x="1334" y="1010"/>
                    </a:lnTo>
                    <a:lnTo>
                      <a:pt x="1316" y="1040"/>
                    </a:lnTo>
                    <a:lnTo>
                      <a:pt x="1296" y="1070"/>
                    </a:lnTo>
                    <a:lnTo>
                      <a:pt x="1292" y="1086"/>
                    </a:lnTo>
                    <a:lnTo>
                      <a:pt x="1262" y="1102"/>
                    </a:lnTo>
                    <a:lnTo>
                      <a:pt x="1238" y="1088"/>
                    </a:lnTo>
                    <a:lnTo>
                      <a:pt x="1212" y="1070"/>
                    </a:lnTo>
                    <a:lnTo>
                      <a:pt x="1192" y="1056"/>
                    </a:lnTo>
                    <a:lnTo>
                      <a:pt x="1174" y="1080"/>
                    </a:lnTo>
                    <a:cubicBezTo>
                      <a:pt x="1171" y="1088"/>
                      <a:pt x="1169" y="1096"/>
                      <a:pt x="1166" y="1104"/>
                    </a:cubicBezTo>
                    <a:cubicBezTo>
                      <a:pt x="1165" y="1106"/>
                      <a:pt x="1162" y="1110"/>
                      <a:pt x="1162" y="1110"/>
                    </a:cubicBezTo>
                    <a:lnTo>
                      <a:pt x="1152" y="1118"/>
                    </a:lnTo>
                    <a:lnTo>
                      <a:pt x="1144" y="1138"/>
                    </a:lnTo>
                    <a:lnTo>
                      <a:pt x="1142" y="1150"/>
                    </a:lnTo>
                    <a:lnTo>
                      <a:pt x="1126" y="1170"/>
                    </a:lnTo>
                    <a:lnTo>
                      <a:pt x="1118" y="1188"/>
                    </a:lnTo>
                    <a:lnTo>
                      <a:pt x="1118" y="1204"/>
                    </a:lnTo>
                    <a:lnTo>
                      <a:pt x="1096" y="1232"/>
                    </a:lnTo>
                    <a:lnTo>
                      <a:pt x="1092" y="1272"/>
                    </a:lnTo>
                    <a:lnTo>
                      <a:pt x="1088" y="1284"/>
                    </a:lnTo>
                    <a:lnTo>
                      <a:pt x="1062" y="1284"/>
                    </a:lnTo>
                    <a:lnTo>
                      <a:pt x="1044" y="1264"/>
                    </a:lnTo>
                    <a:lnTo>
                      <a:pt x="1022" y="1230"/>
                    </a:lnTo>
                    <a:lnTo>
                      <a:pt x="1028" y="1206"/>
                    </a:lnTo>
                    <a:lnTo>
                      <a:pt x="1032" y="1148"/>
                    </a:lnTo>
                    <a:lnTo>
                      <a:pt x="1028" y="1088"/>
                    </a:lnTo>
                    <a:lnTo>
                      <a:pt x="1056" y="1068"/>
                    </a:lnTo>
                    <a:lnTo>
                      <a:pt x="1072" y="1046"/>
                    </a:lnTo>
                    <a:lnTo>
                      <a:pt x="1058" y="1030"/>
                    </a:lnTo>
                    <a:lnTo>
                      <a:pt x="1040" y="1028"/>
                    </a:lnTo>
                    <a:lnTo>
                      <a:pt x="1044" y="1012"/>
                    </a:lnTo>
                    <a:lnTo>
                      <a:pt x="1040" y="998"/>
                    </a:lnTo>
                    <a:lnTo>
                      <a:pt x="1036" y="984"/>
                    </a:lnTo>
                    <a:lnTo>
                      <a:pt x="986" y="988"/>
                    </a:lnTo>
                    <a:lnTo>
                      <a:pt x="978" y="964"/>
                    </a:lnTo>
                    <a:lnTo>
                      <a:pt x="972" y="954"/>
                    </a:lnTo>
                    <a:lnTo>
                      <a:pt x="954" y="950"/>
                    </a:lnTo>
                    <a:lnTo>
                      <a:pt x="870" y="990"/>
                    </a:lnTo>
                    <a:lnTo>
                      <a:pt x="860" y="932"/>
                    </a:lnTo>
                    <a:lnTo>
                      <a:pt x="848" y="914"/>
                    </a:lnTo>
                    <a:lnTo>
                      <a:pt x="810" y="888"/>
                    </a:lnTo>
                    <a:lnTo>
                      <a:pt x="802" y="874"/>
                    </a:lnTo>
                    <a:lnTo>
                      <a:pt x="802" y="852"/>
                    </a:lnTo>
                    <a:lnTo>
                      <a:pt x="794" y="838"/>
                    </a:lnTo>
                    <a:lnTo>
                      <a:pt x="722" y="860"/>
                    </a:lnTo>
                    <a:lnTo>
                      <a:pt x="634" y="866"/>
                    </a:lnTo>
                    <a:lnTo>
                      <a:pt x="594" y="854"/>
                    </a:lnTo>
                    <a:lnTo>
                      <a:pt x="560" y="848"/>
                    </a:lnTo>
                    <a:lnTo>
                      <a:pt x="532" y="844"/>
                    </a:lnTo>
                    <a:lnTo>
                      <a:pt x="520" y="818"/>
                    </a:lnTo>
                    <a:lnTo>
                      <a:pt x="520" y="792"/>
                    </a:lnTo>
                    <a:lnTo>
                      <a:pt x="528" y="774"/>
                    </a:lnTo>
                    <a:lnTo>
                      <a:pt x="524" y="762"/>
                    </a:lnTo>
                    <a:lnTo>
                      <a:pt x="506" y="768"/>
                    </a:lnTo>
                    <a:lnTo>
                      <a:pt x="480" y="778"/>
                    </a:lnTo>
                    <a:lnTo>
                      <a:pt x="464" y="768"/>
                    </a:lnTo>
                    <a:lnTo>
                      <a:pt x="450" y="756"/>
                    </a:lnTo>
                    <a:lnTo>
                      <a:pt x="434" y="752"/>
                    </a:lnTo>
                    <a:lnTo>
                      <a:pt x="412" y="750"/>
                    </a:ln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grpSp>
        <p:sp>
          <p:nvSpPr>
            <p:cNvPr id="59" name="Freeform 45">
              <a:extLst>
                <a:ext uri="{FF2B5EF4-FFF2-40B4-BE49-F238E27FC236}">
                  <a16:creationId xmlns:a16="http://schemas.microsoft.com/office/drawing/2014/main" xmlns="" id="{2CE69AFC-247F-4B48-A69B-732A7E85C178}"/>
                </a:ext>
              </a:extLst>
            </p:cNvPr>
            <p:cNvSpPr>
              <a:spLocks/>
            </p:cNvSpPr>
            <p:nvPr/>
          </p:nvSpPr>
          <p:spPr bwMode="auto">
            <a:xfrm>
              <a:off x="1433" y="1719"/>
              <a:ext cx="2376" cy="1752"/>
            </a:xfrm>
            <a:custGeom>
              <a:avLst/>
              <a:gdLst/>
              <a:ahLst/>
              <a:cxnLst>
                <a:cxn ang="0">
                  <a:pos x="1242" y="48"/>
                </a:cxn>
                <a:cxn ang="0">
                  <a:pos x="1061" y="180"/>
                </a:cxn>
                <a:cxn ang="0">
                  <a:pos x="973" y="246"/>
                </a:cxn>
                <a:cxn ang="0">
                  <a:pos x="819" y="279"/>
                </a:cxn>
                <a:cxn ang="0">
                  <a:pos x="560" y="279"/>
                </a:cxn>
                <a:cxn ang="0">
                  <a:pos x="461" y="307"/>
                </a:cxn>
                <a:cxn ang="0">
                  <a:pos x="351" y="329"/>
                </a:cxn>
                <a:cxn ang="0">
                  <a:pos x="301" y="356"/>
                </a:cxn>
                <a:cxn ang="0">
                  <a:pos x="263" y="532"/>
                </a:cxn>
                <a:cxn ang="0">
                  <a:pos x="174" y="1017"/>
                </a:cxn>
                <a:cxn ang="0">
                  <a:pos x="97" y="1039"/>
                </a:cxn>
                <a:cxn ang="0">
                  <a:pos x="59" y="1138"/>
                </a:cxn>
                <a:cxn ang="0">
                  <a:pos x="15" y="1402"/>
                </a:cxn>
                <a:cxn ang="0">
                  <a:pos x="119" y="1600"/>
                </a:cxn>
                <a:cxn ang="0">
                  <a:pos x="439" y="1573"/>
                </a:cxn>
                <a:cxn ang="0">
                  <a:pos x="565" y="1551"/>
                </a:cxn>
                <a:cxn ang="0">
                  <a:pos x="752" y="1567"/>
                </a:cxn>
                <a:cxn ang="0">
                  <a:pos x="874" y="1606"/>
                </a:cxn>
                <a:cxn ang="0">
                  <a:pos x="978" y="1633"/>
                </a:cxn>
                <a:cxn ang="0">
                  <a:pos x="1000" y="1677"/>
                </a:cxn>
                <a:cxn ang="0">
                  <a:pos x="1039" y="1738"/>
                </a:cxn>
                <a:cxn ang="0">
                  <a:pos x="1116" y="1749"/>
                </a:cxn>
                <a:cxn ang="0">
                  <a:pos x="1193" y="1743"/>
                </a:cxn>
                <a:cxn ang="0">
                  <a:pos x="1242" y="1683"/>
                </a:cxn>
                <a:cxn ang="0">
                  <a:pos x="1380" y="1666"/>
                </a:cxn>
                <a:cxn ang="0">
                  <a:pos x="1397" y="1661"/>
                </a:cxn>
                <a:cxn ang="0">
                  <a:pos x="1419" y="1628"/>
                </a:cxn>
                <a:cxn ang="0">
                  <a:pos x="1452" y="1556"/>
                </a:cxn>
                <a:cxn ang="0">
                  <a:pos x="1529" y="1534"/>
                </a:cxn>
                <a:cxn ang="0">
                  <a:pos x="1584" y="1507"/>
                </a:cxn>
                <a:cxn ang="0">
                  <a:pos x="1727" y="1562"/>
                </a:cxn>
                <a:cxn ang="0">
                  <a:pos x="1793" y="1611"/>
                </a:cxn>
                <a:cxn ang="0">
                  <a:pos x="1815" y="1661"/>
                </a:cxn>
                <a:cxn ang="0">
                  <a:pos x="2019" y="1705"/>
                </a:cxn>
                <a:cxn ang="0">
                  <a:pos x="2178" y="1672"/>
                </a:cxn>
                <a:cxn ang="0">
                  <a:pos x="2233" y="1463"/>
                </a:cxn>
                <a:cxn ang="0">
                  <a:pos x="2244" y="1407"/>
                </a:cxn>
                <a:cxn ang="0">
                  <a:pos x="2299" y="1374"/>
                </a:cxn>
                <a:cxn ang="0">
                  <a:pos x="2343" y="1325"/>
                </a:cxn>
                <a:cxn ang="0">
                  <a:pos x="2376" y="1237"/>
                </a:cxn>
                <a:cxn ang="0">
                  <a:pos x="2272" y="802"/>
                </a:cxn>
                <a:cxn ang="0">
                  <a:pos x="2233" y="626"/>
                </a:cxn>
                <a:cxn ang="0">
                  <a:pos x="2222" y="571"/>
                </a:cxn>
                <a:cxn ang="0">
                  <a:pos x="2178" y="505"/>
                </a:cxn>
                <a:cxn ang="0">
                  <a:pos x="2167" y="472"/>
                </a:cxn>
                <a:cxn ang="0">
                  <a:pos x="2140" y="362"/>
                </a:cxn>
                <a:cxn ang="0">
                  <a:pos x="1958" y="307"/>
                </a:cxn>
                <a:cxn ang="0">
                  <a:pos x="1886" y="279"/>
                </a:cxn>
                <a:cxn ang="0">
                  <a:pos x="1804" y="268"/>
                </a:cxn>
                <a:cxn ang="0">
                  <a:pos x="1776" y="230"/>
                </a:cxn>
                <a:cxn ang="0">
                  <a:pos x="1688" y="125"/>
                </a:cxn>
                <a:cxn ang="0">
                  <a:pos x="1540" y="81"/>
                </a:cxn>
                <a:cxn ang="0">
                  <a:pos x="1358" y="42"/>
                </a:cxn>
                <a:cxn ang="0">
                  <a:pos x="1242" y="48"/>
                </a:cxn>
              </a:cxnLst>
              <a:rect l="0" t="0" r="r" b="b"/>
              <a:pathLst>
                <a:path w="2376" h="1752">
                  <a:moveTo>
                    <a:pt x="1242" y="48"/>
                  </a:moveTo>
                  <a:cubicBezTo>
                    <a:pt x="1167" y="134"/>
                    <a:pt x="1221" y="82"/>
                    <a:pt x="1061" y="180"/>
                  </a:cubicBezTo>
                  <a:cubicBezTo>
                    <a:pt x="1030" y="199"/>
                    <a:pt x="1005" y="229"/>
                    <a:pt x="973" y="246"/>
                  </a:cubicBezTo>
                  <a:cubicBezTo>
                    <a:pt x="915" y="277"/>
                    <a:pt x="879" y="274"/>
                    <a:pt x="819" y="279"/>
                  </a:cubicBezTo>
                  <a:cubicBezTo>
                    <a:pt x="744" y="277"/>
                    <a:pt x="639" y="269"/>
                    <a:pt x="560" y="279"/>
                  </a:cubicBezTo>
                  <a:cubicBezTo>
                    <a:pt x="529" y="283"/>
                    <a:pt x="495" y="302"/>
                    <a:pt x="461" y="307"/>
                  </a:cubicBezTo>
                  <a:cubicBezTo>
                    <a:pt x="418" y="321"/>
                    <a:pt x="400" y="324"/>
                    <a:pt x="351" y="329"/>
                  </a:cubicBezTo>
                  <a:cubicBezTo>
                    <a:pt x="326" y="335"/>
                    <a:pt x="316" y="335"/>
                    <a:pt x="301" y="356"/>
                  </a:cubicBezTo>
                  <a:cubicBezTo>
                    <a:pt x="286" y="415"/>
                    <a:pt x="272" y="472"/>
                    <a:pt x="263" y="532"/>
                  </a:cubicBezTo>
                  <a:cubicBezTo>
                    <a:pt x="261" y="595"/>
                    <a:pt x="294" y="937"/>
                    <a:pt x="174" y="1017"/>
                  </a:cubicBezTo>
                  <a:cubicBezTo>
                    <a:pt x="165" y="1023"/>
                    <a:pt x="103" y="1038"/>
                    <a:pt x="97" y="1039"/>
                  </a:cubicBezTo>
                  <a:cubicBezTo>
                    <a:pt x="61" y="1065"/>
                    <a:pt x="67" y="1096"/>
                    <a:pt x="59" y="1138"/>
                  </a:cubicBezTo>
                  <a:cubicBezTo>
                    <a:pt x="42" y="1225"/>
                    <a:pt x="35" y="1315"/>
                    <a:pt x="15" y="1402"/>
                  </a:cubicBezTo>
                  <a:cubicBezTo>
                    <a:pt x="21" y="1543"/>
                    <a:pt x="0" y="1541"/>
                    <a:pt x="119" y="1600"/>
                  </a:cubicBezTo>
                  <a:cubicBezTo>
                    <a:pt x="235" y="1597"/>
                    <a:pt x="329" y="1595"/>
                    <a:pt x="439" y="1573"/>
                  </a:cubicBezTo>
                  <a:cubicBezTo>
                    <a:pt x="473" y="1550"/>
                    <a:pt x="525" y="1555"/>
                    <a:pt x="565" y="1551"/>
                  </a:cubicBezTo>
                  <a:cubicBezTo>
                    <a:pt x="629" y="1554"/>
                    <a:pt x="689" y="1560"/>
                    <a:pt x="752" y="1567"/>
                  </a:cubicBezTo>
                  <a:cubicBezTo>
                    <a:pt x="795" y="1578"/>
                    <a:pt x="831" y="1594"/>
                    <a:pt x="874" y="1606"/>
                  </a:cubicBezTo>
                  <a:cubicBezTo>
                    <a:pt x="909" y="1616"/>
                    <a:pt x="978" y="1633"/>
                    <a:pt x="978" y="1633"/>
                  </a:cubicBezTo>
                  <a:cubicBezTo>
                    <a:pt x="999" y="1646"/>
                    <a:pt x="1009" y="1652"/>
                    <a:pt x="1000" y="1677"/>
                  </a:cubicBezTo>
                  <a:cubicBezTo>
                    <a:pt x="1005" y="1707"/>
                    <a:pt x="1004" y="1732"/>
                    <a:pt x="1039" y="1738"/>
                  </a:cubicBezTo>
                  <a:cubicBezTo>
                    <a:pt x="1065" y="1743"/>
                    <a:pt x="1116" y="1749"/>
                    <a:pt x="1116" y="1749"/>
                  </a:cubicBezTo>
                  <a:cubicBezTo>
                    <a:pt x="1142" y="1747"/>
                    <a:pt x="1169" y="1752"/>
                    <a:pt x="1193" y="1743"/>
                  </a:cubicBezTo>
                  <a:cubicBezTo>
                    <a:pt x="1216" y="1734"/>
                    <a:pt x="1215" y="1693"/>
                    <a:pt x="1242" y="1683"/>
                  </a:cubicBezTo>
                  <a:cubicBezTo>
                    <a:pt x="1288" y="1666"/>
                    <a:pt x="1330" y="1669"/>
                    <a:pt x="1380" y="1666"/>
                  </a:cubicBezTo>
                  <a:cubicBezTo>
                    <a:pt x="1386" y="1664"/>
                    <a:pt x="1393" y="1665"/>
                    <a:pt x="1397" y="1661"/>
                  </a:cubicBezTo>
                  <a:cubicBezTo>
                    <a:pt x="1406" y="1652"/>
                    <a:pt x="1419" y="1628"/>
                    <a:pt x="1419" y="1628"/>
                  </a:cubicBezTo>
                  <a:cubicBezTo>
                    <a:pt x="1424" y="1612"/>
                    <a:pt x="1444" y="1564"/>
                    <a:pt x="1452" y="1556"/>
                  </a:cubicBezTo>
                  <a:cubicBezTo>
                    <a:pt x="1457" y="1551"/>
                    <a:pt x="1529" y="1534"/>
                    <a:pt x="1529" y="1534"/>
                  </a:cubicBezTo>
                  <a:cubicBezTo>
                    <a:pt x="1549" y="1520"/>
                    <a:pt x="1561" y="1514"/>
                    <a:pt x="1584" y="1507"/>
                  </a:cubicBezTo>
                  <a:cubicBezTo>
                    <a:pt x="1664" y="1514"/>
                    <a:pt x="1665" y="1512"/>
                    <a:pt x="1727" y="1562"/>
                  </a:cubicBezTo>
                  <a:cubicBezTo>
                    <a:pt x="1748" y="1579"/>
                    <a:pt x="1793" y="1611"/>
                    <a:pt x="1793" y="1611"/>
                  </a:cubicBezTo>
                  <a:cubicBezTo>
                    <a:pt x="1802" y="1625"/>
                    <a:pt x="1805" y="1650"/>
                    <a:pt x="1815" y="1661"/>
                  </a:cubicBezTo>
                  <a:cubicBezTo>
                    <a:pt x="1855" y="1708"/>
                    <a:pt x="1977" y="1703"/>
                    <a:pt x="2019" y="1705"/>
                  </a:cubicBezTo>
                  <a:cubicBezTo>
                    <a:pt x="2079" y="1700"/>
                    <a:pt x="2121" y="1686"/>
                    <a:pt x="2178" y="1672"/>
                  </a:cubicBezTo>
                  <a:cubicBezTo>
                    <a:pt x="2201" y="1603"/>
                    <a:pt x="2217" y="1534"/>
                    <a:pt x="2233" y="1463"/>
                  </a:cubicBezTo>
                  <a:cubicBezTo>
                    <a:pt x="2237" y="1444"/>
                    <a:pt x="2233" y="1423"/>
                    <a:pt x="2244" y="1407"/>
                  </a:cubicBezTo>
                  <a:cubicBezTo>
                    <a:pt x="2255" y="1391"/>
                    <a:pt x="2283" y="1385"/>
                    <a:pt x="2299" y="1374"/>
                  </a:cubicBezTo>
                  <a:cubicBezTo>
                    <a:pt x="2311" y="1356"/>
                    <a:pt x="2343" y="1325"/>
                    <a:pt x="2343" y="1325"/>
                  </a:cubicBezTo>
                  <a:cubicBezTo>
                    <a:pt x="2354" y="1295"/>
                    <a:pt x="2369" y="1269"/>
                    <a:pt x="2376" y="1237"/>
                  </a:cubicBezTo>
                  <a:cubicBezTo>
                    <a:pt x="2371" y="1069"/>
                    <a:pt x="2356" y="949"/>
                    <a:pt x="2272" y="802"/>
                  </a:cubicBezTo>
                  <a:cubicBezTo>
                    <a:pt x="2260" y="742"/>
                    <a:pt x="2248" y="685"/>
                    <a:pt x="2233" y="626"/>
                  </a:cubicBezTo>
                  <a:cubicBezTo>
                    <a:pt x="2228" y="608"/>
                    <a:pt x="2230" y="588"/>
                    <a:pt x="2222" y="571"/>
                  </a:cubicBezTo>
                  <a:cubicBezTo>
                    <a:pt x="2211" y="547"/>
                    <a:pt x="2191" y="528"/>
                    <a:pt x="2178" y="505"/>
                  </a:cubicBezTo>
                  <a:cubicBezTo>
                    <a:pt x="2172" y="495"/>
                    <a:pt x="2171" y="483"/>
                    <a:pt x="2167" y="472"/>
                  </a:cubicBezTo>
                  <a:cubicBezTo>
                    <a:pt x="2163" y="445"/>
                    <a:pt x="2155" y="384"/>
                    <a:pt x="2140" y="362"/>
                  </a:cubicBezTo>
                  <a:cubicBezTo>
                    <a:pt x="2103" y="310"/>
                    <a:pt x="2014" y="312"/>
                    <a:pt x="1958" y="307"/>
                  </a:cubicBezTo>
                  <a:cubicBezTo>
                    <a:pt x="1934" y="298"/>
                    <a:pt x="1911" y="283"/>
                    <a:pt x="1886" y="279"/>
                  </a:cubicBezTo>
                  <a:cubicBezTo>
                    <a:pt x="1859" y="275"/>
                    <a:pt x="1804" y="268"/>
                    <a:pt x="1804" y="268"/>
                  </a:cubicBezTo>
                  <a:cubicBezTo>
                    <a:pt x="1773" y="259"/>
                    <a:pt x="1768" y="263"/>
                    <a:pt x="1776" y="230"/>
                  </a:cubicBezTo>
                  <a:cubicBezTo>
                    <a:pt x="1769" y="175"/>
                    <a:pt x="1743" y="143"/>
                    <a:pt x="1688" y="125"/>
                  </a:cubicBezTo>
                  <a:cubicBezTo>
                    <a:pt x="1645" y="95"/>
                    <a:pt x="1590" y="94"/>
                    <a:pt x="1540" y="81"/>
                  </a:cubicBezTo>
                  <a:cubicBezTo>
                    <a:pt x="1478" y="65"/>
                    <a:pt x="1422" y="49"/>
                    <a:pt x="1358" y="42"/>
                  </a:cubicBezTo>
                  <a:cubicBezTo>
                    <a:pt x="1328" y="35"/>
                    <a:pt x="1242" y="0"/>
                    <a:pt x="1242" y="48"/>
                  </a:cubicBezTo>
                  <a:close/>
                </a:path>
              </a:pathLst>
            </a:custGeom>
            <a:grpFill/>
            <a:ln w="9525" cap="flat" cmpd="sng">
              <a:solidFill>
                <a:srgbClr val="A4A399"/>
              </a:solidFill>
              <a:prstDash val="solid"/>
              <a:round/>
              <a:headEnd type="none" w="sm" len="sm"/>
              <a:tailEnd type="none" w="sm" len="sm"/>
            </a:ln>
            <a:effectLst/>
          </p:spPr>
          <p:txBody>
            <a:bodyPr wrap="none" anchor="ctr"/>
            <a:lstStyle/>
            <a:p>
              <a:endParaRPr lang="de-DE" dirty="0"/>
            </a:p>
          </p:txBody>
        </p:sp>
      </p:grpSp>
      <p:grpSp>
        <p:nvGrpSpPr>
          <p:cNvPr id="72" name="Gruppieren 71">
            <a:extLst>
              <a:ext uri="{FF2B5EF4-FFF2-40B4-BE49-F238E27FC236}">
                <a16:creationId xmlns:a16="http://schemas.microsoft.com/office/drawing/2014/main" xmlns="" id="{F3EBEA41-97BF-4253-8864-2B993D125691}"/>
              </a:ext>
            </a:extLst>
          </p:cNvPr>
          <p:cNvGrpSpPr/>
          <p:nvPr/>
        </p:nvGrpSpPr>
        <p:grpSpPr bwMode="gray">
          <a:xfrm>
            <a:off x="6082541" y="4672379"/>
            <a:ext cx="219278" cy="233812"/>
            <a:chOff x="5541963" y="-3381375"/>
            <a:chExt cx="550862" cy="587375"/>
          </a:xfrm>
          <a:solidFill>
            <a:srgbClr val="A4A399"/>
          </a:solidFill>
        </p:grpSpPr>
        <p:sp>
          <p:nvSpPr>
            <p:cNvPr id="73" name="Oval 203">
              <a:extLst>
                <a:ext uri="{FF2B5EF4-FFF2-40B4-BE49-F238E27FC236}">
                  <a16:creationId xmlns:a16="http://schemas.microsoft.com/office/drawing/2014/main" xmlns="" id="{852D864E-17BA-4F38-AB7A-AE45AF05EDC7}"/>
                </a:ext>
              </a:extLst>
            </p:cNvPr>
            <p:cNvSpPr>
              <a:spLocks noChangeArrowheads="1"/>
            </p:cNvSpPr>
            <p:nvPr/>
          </p:nvSpPr>
          <p:spPr bwMode="gray">
            <a:xfrm>
              <a:off x="5954713" y="-3351213"/>
              <a:ext cx="100012"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4" name="Freeform 204">
              <a:extLst>
                <a:ext uri="{FF2B5EF4-FFF2-40B4-BE49-F238E27FC236}">
                  <a16:creationId xmlns:a16="http://schemas.microsoft.com/office/drawing/2014/main" xmlns="" id="{96038AC5-5D9D-447A-8803-E0A02390B9F0}"/>
                </a:ext>
              </a:extLst>
            </p:cNvPr>
            <p:cNvSpPr>
              <a:spLocks/>
            </p:cNvSpPr>
            <p:nvPr/>
          </p:nvSpPr>
          <p:spPr bwMode="gray">
            <a:xfrm>
              <a:off x="5946775" y="-3232150"/>
              <a:ext cx="146050" cy="355600"/>
            </a:xfrm>
            <a:custGeom>
              <a:avLst/>
              <a:gdLst>
                <a:gd name="T0" fmla="*/ 29 w 39"/>
                <a:gd name="T1" fmla="*/ 0 h 95"/>
                <a:gd name="T2" fmla="*/ 3 w 39"/>
                <a:gd name="T3" fmla="*/ 0 h 95"/>
                <a:gd name="T4" fmla="*/ 6 w 39"/>
                <a:gd name="T5" fmla="*/ 10 h 95"/>
                <a:gd name="T6" fmla="*/ 6 w 39"/>
                <a:gd name="T7" fmla="*/ 48 h 95"/>
                <a:gd name="T8" fmla="*/ 0 w 39"/>
                <a:gd name="T9" fmla="*/ 61 h 95"/>
                <a:gd name="T10" fmla="*/ 0 w 39"/>
                <a:gd name="T11" fmla="*/ 87 h 95"/>
                <a:gd name="T12" fmla="*/ 8 w 39"/>
                <a:gd name="T13" fmla="*/ 95 h 95"/>
                <a:gd name="T14" fmla="*/ 16 w 39"/>
                <a:gd name="T15" fmla="*/ 88 h 95"/>
                <a:gd name="T16" fmla="*/ 23 w 39"/>
                <a:gd name="T17" fmla="*/ 95 h 95"/>
                <a:gd name="T18" fmla="*/ 31 w 39"/>
                <a:gd name="T19" fmla="*/ 87 h 95"/>
                <a:gd name="T20" fmla="*/ 31 w 39"/>
                <a:gd name="T21" fmla="*/ 50 h 95"/>
                <a:gd name="T22" fmla="*/ 39 w 39"/>
                <a:gd name="T23" fmla="*/ 40 h 95"/>
                <a:gd name="T24" fmla="*/ 39 w 39"/>
                <a:gd name="T25" fmla="*/ 11 h 95"/>
                <a:gd name="T26" fmla="*/ 29 w 39"/>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95">
                  <a:moveTo>
                    <a:pt x="29" y="0"/>
                  </a:moveTo>
                  <a:cubicBezTo>
                    <a:pt x="3" y="0"/>
                    <a:pt x="3" y="0"/>
                    <a:pt x="3" y="0"/>
                  </a:cubicBezTo>
                  <a:cubicBezTo>
                    <a:pt x="5" y="3"/>
                    <a:pt x="6" y="7"/>
                    <a:pt x="6" y="10"/>
                  </a:cubicBezTo>
                  <a:cubicBezTo>
                    <a:pt x="6" y="48"/>
                    <a:pt x="6" y="48"/>
                    <a:pt x="6" y="48"/>
                  </a:cubicBezTo>
                  <a:cubicBezTo>
                    <a:pt x="6" y="53"/>
                    <a:pt x="4" y="58"/>
                    <a:pt x="0" y="61"/>
                  </a:cubicBezTo>
                  <a:cubicBezTo>
                    <a:pt x="0" y="87"/>
                    <a:pt x="0" y="87"/>
                    <a:pt x="0" y="87"/>
                  </a:cubicBezTo>
                  <a:cubicBezTo>
                    <a:pt x="0" y="91"/>
                    <a:pt x="4" y="95"/>
                    <a:pt x="8" y="95"/>
                  </a:cubicBezTo>
                  <a:cubicBezTo>
                    <a:pt x="12" y="95"/>
                    <a:pt x="15" y="92"/>
                    <a:pt x="16" y="88"/>
                  </a:cubicBezTo>
                  <a:cubicBezTo>
                    <a:pt x="16" y="92"/>
                    <a:pt x="19" y="95"/>
                    <a:pt x="23" y="95"/>
                  </a:cubicBezTo>
                  <a:cubicBezTo>
                    <a:pt x="28" y="95"/>
                    <a:pt x="31" y="91"/>
                    <a:pt x="31" y="87"/>
                  </a:cubicBezTo>
                  <a:cubicBezTo>
                    <a:pt x="31" y="50"/>
                    <a:pt x="31" y="50"/>
                    <a:pt x="31" y="50"/>
                  </a:cubicBezTo>
                  <a:cubicBezTo>
                    <a:pt x="36" y="49"/>
                    <a:pt x="39" y="45"/>
                    <a:pt x="39" y="40"/>
                  </a:cubicBezTo>
                  <a:cubicBezTo>
                    <a:pt x="39" y="11"/>
                    <a:pt x="39" y="11"/>
                    <a:pt x="39" y="11"/>
                  </a:cubicBezTo>
                  <a:cubicBezTo>
                    <a:pt x="39" y="5"/>
                    <a:pt x="34"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5" name="Freeform 205">
              <a:extLst>
                <a:ext uri="{FF2B5EF4-FFF2-40B4-BE49-F238E27FC236}">
                  <a16:creationId xmlns:a16="http://schemas.microsoft.com/office/drawing/2014/main" xmlns="" id="{2851825F-BC79-4B22-BB48-7AEDBCD2BA81}"/>
                </a:ext>
              </a:extLst>
            </p:cNvPr>
            <p:cNvSpPr>
              <a:spLocks/>
            </p:cNvSpPr>
            <p:nvPr/>
          </p:nvSpPr>
          <p:spPr bwMode="gray">
            <a:xfrm>
              <a:off x="5541963" y="-3232150"/>
              <a:ext cx="146050" cy="355600"/>
            </a:xfrm>
            <a:custGeom>
              <a:avLst/>
              <a:gdLst>
                <a:gd name="T0" fmla="*/ 32 w 39"/>
                <a:gd name="T1" fmla="*/ 48 h 95"/>
                <a:gd name="T2" fmla="*/ 32 w 39"/>
                <a:gd name="T3" fmla="*/ 10 h 95"/>
                <a:gd name="T4" fmla="*/ 35 w 39"/>
                <a:gd name="T5" fmla="*/ 0 h 95"/>
                <a:gd name="T6" fmla="*/ 10 w 39"/>
                <a:gd name="T7" fmla="*/ 0 h 95"/>
                <a:gd name="T8" fmla="*/ 0 w 39"/>
                <a:gd name="T9" fmla="*/ 11 h 95"/>
                <a:gd name="T10" fmla="*/ 0 w 39"/>
                <a:gd name="T11" fmla="*/ 40 h 95"/>
                <a:gd name="T12" fmla="*/ 8 w 39"/>
                <a:gd name="T13" fmla="*/ 50 h 95"/>
                <a:gd name="T14" fmla="*/ 8 w 39"/>
                <a:gd name="T15" fmla="*/ 87 h 95"/>
                <a:gd name="T16" fmla="*/ 16 w 39"/>
                <a:gd name="T17" fmla="*/ 95 h 95"/>
                <a:gd name="T18" fmla="*/ 24 w 39"/>
                <a:gd name="T19" fmla="*/ 88 h 95"/>
                <a:gd name="T20" fmla="*/ 31 w 39"/>
                <a:gd name="T21" fmla="*/ 95 h 95"/>
                <a:gd name="T22" fmla="*/ 39 w 39"/>
                <a:gd name="T23" fmla="*/ 87 h 95"/>
                <a:gd name="T24" fmla="*/ 39 w 39"/>
                <a:gd name="T25" fmla="*/ 61 h 95"/>
                <a:gd name="T26" fmla="*/ 32 w 39"/>
                <a:gd name="T27" fmla="*/ 4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95">
                  <a:moveTo>
                    <a:pt x="32" y="48"/>
                  </a:moveTo>
                  <a:cubicBezTo>
                    <a:pt x="32" y="10"/>
                    <a:pt x="32" y="10"/>
                    <a:pt x="32" y="10"/>
                  </a:cubicBezTo>
                  <a:cubicBezTo>
                    <a:pt x="32" y="7"/>
                    <a:pt x="33" y="3"/>
                    <a:pt x="35" y="0"/>
                  </a:cubicBezTo>
                  <a:cubicBezTo>
                    <a:pt x="10" y="0"/>
                    <a:pt x="10" y="0"/>
                    <a:pt x="10" y="0"/>
                  </a:cubicBezTo>
                  <a:cubicBezTo>
                    <a:pt x="5" y="0"/>
                    <a:pt x="0" y="5"/>
                    <a:pt x="0" y="11"/>
                  </a:cubicBezTo>
                  <a:cubicBezTo>
                    <a:pt x="0" y="40"/>
                    <a:pt x="0" y="40"/>
                    <a:pt x="0" y="40"/>
                  </a:cubicBezTo>
                  <a:cubicBezTo>
                    <a:pt x="0" y="45"/>
                    <a:pt x="4" y="49"/>
                    <a:pt x="8" y="50"/>
                  </a:cubicBezTo>
                  <a:cubicBezTo>
                    <a:pt x="8" y="87"/>
                    <a:pt x="8" y="87"/>
                    <a:pt x="8" y="87"/>
                  </a:cubicBezTo>
                  <a:cubicBezTo>
                    <a:pt x="8" y="91"/>
                    <a:pt x="11" y="95"/>
                    <a:pt x="16" y="95"/>
                  </a:cubicBezTo>
                  <a:cubicBezTo>
                    <a:pt x="20" y="95"/>
                    <a:pt x="23" y="92"/>
                    <a:pt x="24" y="88"/>
                  </a:cubicBezTo>
                  <a:cubicBezTo>
                    <a:pt x="24" y="92"/>
                    <a:pt x="27" y="95"/>
                    <a:pt x="31" y="95"/>
                  </a:cubicBezTo>
                  <a:cubicBezTo>
                    <a:pt x="36" y="95"/>
                    <a:pt x="39" y="91"/>
                    <a:pt x="39" y="87"/>
                  </a:cubicBezTo>
                  <a:cubicBezTo>
                    <a:pt x="39" y="61"/>
                    <a:pt x="39" y="61"/>
                    <a:pt x="39" y="61"/>
                  </a:cubicBezTo>
                  <a:cubicBezTo>
                    <a:pt x="35" y="58"/>
                    <a:pt x="32" y="53"/>
                    <a:pt x="32"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6" name="Oval 206">
              <a:extLst>
                <a:ext uri="{FF2B5EF4-FFF2-40B4-BE49-F238E27FC236}">
                  <a16:creationId xmlns:a16="http://schemas.microsoft.com/office/drawing/2014/main" xmlns="" id="{FB7B9295-A752-4803-9D07-4A5024747B15}"/>
                </a:ext>
              </a:extLst>
            </p:cNvPr>
            <p:cNvSpPr>
              <a:spLocks noChangeArrowheads="1"/>
            </p:cNvSpPr>
            <p:nvPr/>
          </p:nvSpPr>
          <p:spPr bwMode="gray">
            <a:xfrm>
              <a:off x="5580063" y="-3351213"/>
              <a:ext cx="100012"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7" name="Freeform 207">
              <a:extLst>
                <a:ext uri="{FF2B5EF4-FFF2-40B4-BE49-F238E27FC236}">
                  <a16:creationId xmlns:a16="http://schemas.microsoft.com/office/drawing/2014/main" xmlns="" id="{ADAE504B-641B-40A5-B1B8-04B978FD2CE4}"/>
                </a:ext>
              </a:extLst>
            </p:cNvPr>
            <p:cNvSpPr>
              <a:spLocks/>
            </p:cNvSpPr>
            <p:nvPr/>
          </p:nvSpPr>
          <p:spPr bwMode="gray">
            <a:xfrm>
              <a:off x="5691188" y="-3232150"/>
              <a:ext cx="247650" cy="438150"/>
            </a:xfrm>
            <a:custGeom>
              <a:avLst/>
              <a:gdLst>
                <a:gd name="T0" fmla="*/ 53 w 66"/>
                <a:gd name="T1" fmla="*/ 58 h 117"/>
                <a:gd name="T2" fmla="*/ 56 w 66"/>
                <a:gd name="T3" fmla="*/ 58 h 117"/>
                <a:gd name="T4" fmla="*/ 66 w 66"/>
                <a:gd name="T5" fmla="*/ 48 h 117"/>
                <a:gd name="T6" fmla="*/ 66 w 66"/>
                <a:gd name="T7" fmla="*/ 10 h 117"/>
                <a:gd name="T8" fmla="*/ 56 w 66"/>
                <a:gd name="T9" fmla="*/ 0 h 117"/>
                <a:gd name="T10" fmla="*/ 43 w 66"/>
                <a:gd name="T11" fmla="*/ 0 h 117"/>
                <a:gd name="T12" fmla="*/ 33 w 66"/>
                <a:gd name="T13" fmla="*/ 13 h 117"/>
                <a:gd name="T14" fmla="*/ 23 w 66"/>
                <a:gd name="T15" fmla="*/ 0 h 117"/>
                <a:gd name="T16" fmla="*/ 10 w 66"/>
                <a:gd name="T17" fmla="*/ 0 h 117"/>
                <a:gd name="T18" fmla="*/ 0 w 66"/>
                <a:gd name="T19" fmla="*/ 10 h 117"/>
                <a:gd name="T20" fmla="*/ 0 w 66"/>
                <a:gd name="T21" fmla="*/ 48 h 117"/>
                <a:gd name="T22" fmla="*/ 10 w 66"/>
                <a:gd name="T23" fmla="*/ 58 h 117"/>
                <a:gd name="T24" fmla="*/ 14 w 66"/>
                <a:gd name="T25" fmla="*/ 58 h 117"/>
                <a:gd name="T26" fmla="*/ 14 w 66"/>
                <a:gd name="T27" fmla="*/ 106 h 117"/>
                <a:gd name="T28" fmla="*/ 24 w 66"/>
                <a:gd name="T29" fmla="*/ 117 h 117"/>
                <a:gd name="T30" fmla="*/ 33 w 66"/>
                <a:gd name="T31" fmla="*/ 110 h 117"/>
                <a:gd name="T32" fmla="*/ 43 w 66"/>
                <a:gd name="T33" fmla="*/ 117 h 117"/>
                <a:gd name="T34" fmla="*/ 53 w 66"/>
                <a:gd name="T35" fmla="*/ 106 h 117"/>
                <a:gd name="T36" fmla="*/ 53 w 66"/>
                <a:gd name="T37" fmla="*/ 5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17">
                  <a:moveTo>
                    <a:pt x="53" y="58"/>
                  </a:moveTo>
                  <a:cubicBezTo>
                    <a:pt x="56" y="58"/>
                    <a:pt x="56" y="58"/>
                    <a:pt x="56" y="58"/>
                  </a:cubicBezTo>
                  <a:cubicBezTo>
                    <a:pt x="62" y="58"/>
                    <a:pt x="66" y="53"/>
                    <a:pt x="66" y="48"/>
                  </a:cubicBezTo>
                  <a:cubicBezTo>
                    <a:pt x="66" y="10"/>
                    <a:pt x="66" y="10"/>
                    <a:pt x="66" y="10"/>
                  </a:cubicBezTo>
                  <a:cubicBezTo>
                    <a:pt x="66" y="5"/>
                    <a:pt x="62" y="0"/>
                    <a:pt x="56" y="0"/>
                  </a:cubicBezTo>
                  <a:cubicBezTo>
                    <a:pt x="43" y="0"/>
                    <a:pt x="43" y="0"/>
                    <a:pt x="43" y="0"/>
                  </a:cubicBezTo>
                  <a:cubicBezTo>
                    <a:pt x="33" y="13"/>
                    <a:pt x="33" y="13"/>
                    <a:pt x="33" y="13"/>
                  </a:cubicBezTo>
                  <a:cubicBezTo>
                    <a:pt x="23" y="0"/>
                    <a:pt x="23" y="0"/>
                    <a:pt x="23" y="0"/>
                  </a:cubicBezTo>
                  <a:cubicBezTo>
                    <a:pt x="10" y="0"/>
                    <a:pt x="10" y="0"/>
                    <a:pt x="10" y="0"/>
                  </a:cubicBezTo>
                  <a:cubicBezTo>
                    <a:pt x="5" y="0"/>
                    <a:pt x="0" y="5"/>
                    <a:pt x="0" y="10"/>
                  </a:cubicBezTo>
                  <a:cubicBezTo>
                    <a:pt x="0" y="48"/>
                    <a:pt x="0" y="48"/>
                    <a:pt x="0" y="48"/>
                  </a:cubicBezTo>
                  <a:cubicBezTo>
                    <a:pt x="0" y="53"/>
                    <a:pt x="5" y="58"/>
                    <a:pt x="10" y="58"/>
                  </a:cubicBezTo>
                  <a:cubicBezTo>
                    <a:pt x="14" y="58"/>
                    <a:pt x="14" y="58"/>
                    <a:pt x="14" y="58"/>
                  </a:cubicBezTo>
                  <a:cubicBezTo>
                    <a:pt x="14" y="106"/>
                    <a:pt x="14" y="106"/>
                    <a:pt x="14" y="106"/>
                  </a:cubicBezTo>
                  <a:cubicBezTo>
                    <a:pt x="14" y="112"/>
                    <a:pt x="18" y="117"/>
                    <a:pt x="24" y="117"/>
                  </a:cubicBezTo>
                  <a:cubicBezTo>
                    <a:pt x="28" y="117"/>
                    <a:pt x="32" y="114"/>
                    <a:pt x="33" y="110"/>
                  </a:cubicBezTo>
                  <a:cubicBezTo>
                    <a:pt x="35" y="114"/>
                    <a:pt x="38" y="117"/>
                    <a:pt x="43" y="117"/>
                  </a:cubicBezTo>
                  <a:cubicBezTo>
                    <a:pt x="48" y="117"/>
                    <a:pt x="53" y="112"/>
                    <a:pt x="53" y="106"/>
                  </a:cubicBezTo>
                  <a:lnTo>
                    <a:pt x="53"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8" name="Freeform 208">
              <a:extLst>
                <a:ext uri="{FF2B5EF4-FFF2-40B4-BE49-F238E27FC236}">
                  <a16:creationId xmlns:a16="http://schemas.microsoft.com/office/drawing/2014/main" xmlns="" id="{F799D4B7-0626-4386-8714-38391573BD28}"/>
                </a:ext>
              </a:extLst>
            </p:cNvPr>
            <p:cNvSpPr>
              <a:spLocks/>
            </p:cNvSpPr>
            <p:nvPr/>
          </p:nvSpPr>
          <p:spPr bwMode="gray">
            <a:xfrm>
              <a:off x="5756275" y="-3381375"/>
              <a:ext cx="122237" cy="123825"/>
            </a:xfrm>
            <a:custGeom>
              <a:avLst/>
              <a:gdLst>
                <a:gd name="T0" fmla="*/ 33 w 33"/>
                <a:gd name="T1" fmla="*/ 17 h 33"/>
                <a:gd name="T2" fmla="*/ 16 w 33"/>
                <a:gd name="T3" fmla="*/ 0 h 33"/>
                <a:gd name="T4" fmla="*/ 0 w 33"/>
                <a:gd name="T5" fmla="*/ 17 h 33"/>
                <a:gd name="T6" fmla="*/ 16 w 33"/>
                <a:gd name="T7" fmla="*/ 33 h 33"/>
                <a:gd name="T8" fmla="*/ 33 w 33"/>
                <a:gd name="T9" fmla="*/ 17 h 33"/>
              </a:gdLst>
              <a:ahLst/>
              <a:cxnLst>
                <a:cxn ang="0">
                  <a:pos x="T0" y="T1"/>
                </a:cxn>
                <a:cxn ang="0">
                  <a:pos x="T2" y="T3"/>
                </a:cxn>
                <a:cxn ang="0">
                  <a:pos x="T4" y="T5"/>
                </a:cxn>
                <a:cxn ang="0">
                  <a:pos x="T6" y="T7"/>
                </a:cxn>
                <a:cxn ang="0">
                  <a:pos x="T8" y="T9"/>
                </a:cxn>
              </a:cxnLst>
              <a:rect l="0" t="0" r="r" b="b"/>
              <a:pathLst>
                <a:path w="33" h="33">
                  <a:moveTo>
                    <a:pt x="33" y="17"/>
                  </a:moveTo>
                  <a:cubicBezTo>
                    <a:pt x="33" y="7"/>
                    <a:pt x="26" y="0"/>
                    <a:pt x="16" y="0"/>
                  </a:cubicBezTo>
                  <a:cubicBezTo>
                    <a:pt x="7" y="0"/>
                    <a:pt x="0" y="7"/>
                    <a:pt x="0" y="17"/>
                  </a:cubicBezTo>
                  <a:cubicBezTo>
                    <a:pt x="0" y="26"/>
                    <a:pt x="8" y="33"/>
                    <a:pt x="16" y="33"/>
                  </a:cubicBezTo>
                  <a:cubicBezTo>
                    <a:pt x="25" y="33"/>
                    <a:pt x="33" y="26"/>
                    <a:pt x="3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79" name="Ellipse 78">
            <a:extLst>
              <a:ext uri="{FF2B5EF4-FFF2-40B4-BE49-F238E27FC236}">
                <a16:creationId xmlns:a16="http://schemas.microsoft.com/office/drawing/2014/main" xmlns="" id="{68C15D08-6178-451F-A5AB-280F07324AFE}"/>
              </a:ext>
            </a:extLst>
          </p:cNvPr>
          <p:cNvSpPr/>
          <p:nvPr/>
        </p:nvSpPr>
        <p:spPr>
          <a:xfrm>
            <a:off x="6012160" y="4609265"/>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80" name="Textfeld 79">
            <a:extLst>
              <a:ext uri="{FF2B5EF4-FFF2-40B4-BE49-F238E27FC236}">
                <a16:creationId xmlns:a16="http://schemas.microsoft.com/office/drawing/2014/main" xmlns="" id="{99EB0886-F4CE-4F50-ADF2-CE3CAAB3B055}"/>
              </a:ext>
            </a:extLst>
          </p:cNvPr>
          <p:cNvSpPr txBox="1"/>
          <p:nvPr/>
        </p:nvSpPr>
        <p:spPr>
          <a:xfrm>
            <a:off x="5207020" y="2537542"/>
            <a:ext cx="828000" cy="307777"/>
          </a:xfrm>
          <a:prstGeom prst="rect">
            <a:avLst/>
          </a:prstGeom>
          <a:noFill/>
        </p:spPr>
        <p:txBody>
          <a:bodyPr wrap="square" rtlCol="0">
            <a:spAutoFit/>
          </a:bodyPr>
          <a:lstStyle/>
          <a:p>
            <a:pPr algn="ctr"/>
            <a:r>
              <a:rPr lang="de-DE" sz="1400" dirty="0"/>
              <a:t>87 %</a:t>
            </a:r>
          </a:p>
        </p:txBody>
      </p:sp>
      <p:sp>
        <p:nvSpPr>
          <p:cNvPr id="81" name="Textfeld 80">
            <a:extLst>
              <a:ext uri="{FF2B5EF4-FFF2-40B4-BE49-F238E27FC236}">
                <a16:creationId xmlns:a16="http://schemas.microsoft.com/office/drawing/2014/main" xmlns="" id="{FA9E7CD0-778A-48C6-BBAC-2344ABE71CC7}"/>
              </a:ext>
            </a:extLst>
          </p:cNvPr>
          <p:cNvSpPr txBox="1"/>
          <p:nvPr/>
        </p:nvSpPr>
        <p:spPr>
          <a:xfrm>
            <a:off x="2447856" y="2537542"/>
            <a:ext cx="828000" cy="307777"/>
          </a:xfrm>
          <a:prstGeom prst="rect">
            <a:avLst/>
          </a:prstGeom>
          <a:noFill/>
        </p:spPr>
        <p:txBody>
          <a:bodyPr wrap="square" rtlCol="0">
            <a:spAutoFit/>
          </a:bodyPr>
          <a:lstStyle/>
          <a:p>
            <a:pPr algn="ctr"/>
            <a:r>
              <a:rPr lang="de-DE" sz="1400" dirty="0"/>
              <a:t>92 %</a:t>
            </a:r>
          </a:p>
        </p:txBody>
      </p:sp>
      <p:sp>
        <p:nvSpPr>
          <p:cNvPr id="82" name="Textfeld 81">
            <a:extLst>
              <a:ext uri="{FF2B5EF4-FFF2-40B4-BE49-F238E27FC236}">
                <a16:creationId xmlns:a16="http://schemas.microsoft.com/office/drawing/2014/main" xmlns="" id="{DDA8E8B3-7891-4E7C-9049-6895AB04E6A9}"/>
              </a:ext>
            </a:extLst>
          </p:cNvPr>
          <p:cNvSpPr txBox="1"/>
          <p:nvPr/>
        </p:nvSpPr>
        <p:spPr>
          <a:xfrm>
            <a:off x="7956376" y="2537542"/>
            <a:ext cx="828000" cy="307777"/>
          </a:xfrm>
          <a:prstGeom prst="rect">
            <a:avLst/>
          </a:prstGeom>
          <a:noFill/>
        </p:spPr>
        <p:txBody>
          <a:bodyPr wrap="square" rtlCol="0">
            <a:spAutoFit/>
          </a:bodyPr>
          <a:lstStyle/>
          <a:p>
            <a:pPr algn="ctr"/>
            <a:r>
              <a:rPr lang="de-DE" sz="1400" dirty="0"/>
              <a:t>92 %</a:t>
            </a:r>
          </a:p>
        </p:txBody>
      </p:sp>
      <p:sp>
        <p:nvSpPr>
          <p:cNvPr id="83" name="Textfeld 82">
            <a:extLst>
              <a:ext uri="{FF2B5EF4-FFF2-40B4-BE49-F238E27FC236}">
                <a16:creationId xmlns:a16="http://schemas.microsoft.com/office/drawing/2014/main" xmlns="" id="{C4785919-6282-4020-BE78-2A428906E09B}"/>
              </a:ext>
            </a:extLst>
          </p:cNvPr>
          <p:cNvSpPr txBox="1"/>
          <p:nvPr/>
        </p:nvSpPr>
        <p:spPr>
          <a:xfrm>
            <a:off x="5207020" y="4654985"/>
            <a:ext cx="828000" cy="307777"/>
          </a:xfrm>
          <a:prstGeom prst="rect">
            <a:avLst/>
          </a:prstGeom>
          <a:noFill/>
        </p:spPr>
        <p:txBody>
          <a:bodyPr wrap="square" rtlCol="0">
            <a:spAutoFit/>
          </a:bodyPr>
          <a:lstStyle/>
          <a:p>
            <a:pPr algn="ctr"/>
            <a:r>
              <a:rPr lang="de-DE" sz="1400" dirty="0"/>
              <a:t>93 %</a:t>
            </a:r>
          </a:p>
        </p:txBody>
      </p:sp>
      <p:sp>
        <p:nvSpPr>
          <p:cNvPr id="84" name="Textfeld 83">
            <a:extLst>
              <a:ext uri="{FF2B5EF4-FFF2-40B4-BE49-F238E27FC236}">
                <a16:creationId xmlns:a16="http://schemas.microsoft.com/office/drawing/2014/main" xmlns="" id="{A9741882-F9E4-4A55-ABCF-F94C333444C5}"/>
              </a:ext>
            </a:extLst>
          </p:cNvPr>
          <p:cNvSpPr txBox="1"/>
          <p:nvPr/>
        </p:nvSpPr>
        <p:spPr>
          <a:xfrm>
            <a:off x="2447856" y="4654985"/>
            <a:ext cx="828000" cy="307777"/>
          </a:xfrm>
          <a:prstGeom prst="rect">
            <a:avLst/>
          </a:prstGeom>
          <a:noFill/>
        </p:spPr>
        <p:txBody>
          <a:bodyPr wrap="square" rtlCol="0">
            <a:spAutoFit/>
          </a:bodyPr>
          <a:lstStyle/>
          <a:p>
            <a:pPr algn="ctr"/>
            <a:r>
              <a:rPr lang="de-DE" sz="1400" dirty="0"/>
              <a:t>89 %</a:t>
            </a:r>
          </a:p>
        </p:txBody>
      </p:sp>
      <p:cxnSp>
        <p:nvCxnSpPr>
          <p:cNvPr id="86" name="Gerade Verbindung 6">
            <a:extLst>
              <a:ext uri="{FF2B5EF4-FFF2-40B4-BE49-F238E27FC236}">
                <a16:creationId xmlns:a16="http://schemas.microsoft.com/office/drawing/2014/main" xmlns="" id="{309D525A-275B-4AAE-820A-295BAAA3F254}"/>
              </a:ext>
            </a:extLst>
          </p:cNvPr>
          <p:cNvCxnSpPr/>
          <p:nvPr/>
        </p:nvCxnSpPr>
        <p:spPr>
          <a:xfrm>
            <a:off x="539751" y="1989015"/>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 name="Gerade Verbindung 18">
            <a:extLst>
              <a:ext uri="{FF2B5EF4-FFF2-40B4-BE49-F238E27FC236}">
                <a16:creationId xmlns:a16="http://schemas.microsoft.com/office/drawing/2014/main" xmlns="" id="{BD9D77B0-FAF5-4BF9-87D6-05245ABC573E}"/>
              </a:ext>
            </a:extLst>
          </p:cNvPr>
          <p:cNvCxnSpPr/>
          <p:nvPr/>
        </p:nvCxnSpPr>
        <p:spPr>
          <a:xfrm>
            <a:off x="3276599" y="1989015"/>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8" name="Gerade Verbindung 19">
            <a:extLst>
              <a:ext uri="{FF2B5EF4-FFF2-40B4-BE49-F238E27FC236}">
                <a16:creationId xmlns:a16="http://schemas.microsoft.com/office/drawing/2014/main" xmlns="" id="{EC0D09B5-9010-4F3E-BA99-C793A5612DDF}"/>
              </a:ext>
            </a:extLst>
          </p:cNvPr>
          <p:cNvCxnSpPr/>
          <p:nvPr/>
        </p:nvCxnSpPr>
        <p:spPr>
          <a:xfrm>
            <a:off x="6011864" y="1989015"/>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9" name="Gerade Verbindung 6">
            <a:extLst>
              <a:ext uri="{FF2B5EF4-FFF2-40B4-BE49-F238E27FC236}">
                <a16:creationId xmlns:a16="http://schemas.microsoft.com/office/drawing/2014/main" xmlns="" id="{3DF2D4D0-9715-4AC5-A51B-6B69054DBA85}"/>
              </a:ext>
            </a:extLst>
          </p:cNvPr>
          <p:cNvCxnSpPr/>
          <p:nvPr/>
        </p:nvCxnSpPr>
        <p:spPr>
          <a:xfrm>
            <a:off x="539552" y="41331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Gerade Verbindung 18">
            <a:extLst>
              <a:ext uri="{FF2B5EF4-FFF2-40B4-BE49-F238E27FC236}">
                <a16:creationId xmlns:a16="http://schemas.microsoft.com/office/drawing/2014/main" xmlns="" id="{EE2D6DF0-FBF5-43B0-A1C1-1344B92A6678}"/>
              </a:ext>
            </a:extLst>
          </p:cNvPr>
          <p:cNvCxnSpPr/>
          <p:nvPr/>
        </p:nvCxnSpPr>
        <p:spPr>
          <a:xfrm>
            <a:off x="3276400" y="41331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Gerade Verbindung 19">
            <a:extLst>
              <a:ext uri="{FF2B5EF4-FFF2-40B4-BE49-F238E27FC236}">
                <a16:creationId xmlns:a16="http://schemas.microsoft.com/office/drawing/2014/main" xmlns="" id="{A4CDDA57-1E76-4603-B9CD-00DB903A3DE2}"/>
              </a:ext>
            </a:extLst>
          </p:cNvPr>
          <p:cNvCxnSpPr/>
          <p:nvPr/>
        </p:nvCxnSpPr>
        <p:spPr>
          <a:xfrm>
            <a:off x="6011665" y="41331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xmlns="" id="{5018FA8C-683D-4886-A4BF-2183B2651490}"/>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5466985" y="3766270"/>
            <a:ext cx="257142" cy="334284"/>
          </a:xfrm>
          <a:prstGeom prst="rect">
            <a:avLst/>
          </a:prstGeom>
        </p:spPr>
      </p:pic>
      <p:pic>
        <p:nvPicPr>
          <p:cNvPr id="92" name="Grafik 91">
            <a:extLst>
              <a:ext uri="{FF2B5EF4-FFF2-40B4-BE49-F238E27FC236}">
                <a16:creationId xmlns:a16="http://schemas.microsoft.com/office/drawing/2014/main" xmlns="" id="{13959A9B-3B22-4DC6-B04A-279340CE26AE}"/>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2769649" y="3774937"/>
            <a:ext cx="271121" cy="325617"/>
          </a:xfrm>
          <a:prstGeom prst="rect">
            <a:avLst/>
          </a:prstGeom>
          <a:effectLst/>
        </p:spPr>
      </p:pic>
      <p:sp>
        <p:nvSpPr>
          <p:cNvPr id="94" name="Textfeld 93">
            <a:extLst>
              <a:ext uri="{FF2B5EF4-FFF2-40B4-BE49-F238E27FC236}">
                <a16:creationId xmlns:a16="http://schemas.microsoft.com/office/drawing/2014/main" xmlns="" id="{FEF5F8C7-CA6B-4CD6-9952-25BF143139C5}"/>
              </a:ext>
            </a:extLst>
          </p:cNvPr>
          <p:cNvSpPr txBox="1"/>
          <p:nvPr/>
        </p:nvSpPr>
        <p:spPr>
          <a:xfrm>
            <a:off x="451758" y="5877272"/>
            <a:ext cx="4941846" cy="215444"/>
          </a:xfrm>
          <a:prstGeom prst="rect">
            <a:avLst/>
          </a:prstGeom>
          <a:noFill/>
        </p:spPr>
        <p:txBody>
          <a:bodyPr wrap="square" rtlCol="0">
            <a:spAutoFit/>
          </a:bodyPr>
          <a:lstStyle/>
          <a:p>
            <a:r>
              <a:rPr lang="de-DE" sz="800" dirty="0"/>
              <a:t>Quellen: civity Analyse 2019, </a:t>
            </a:r>
            <a:r>
              <a:rPr lang="de-DE" sz="800" dirty="0" err="1"/>
              <a:t>Corine</a:t>
            </a:r>
            <a:r>
              <a:rPr lang="de-DE" sz="800" dirty="0"/>
              <a:t> Land Cover 2018, ZENSUS RASTER 2011</a:t>
            </a:r>
          </a:p>
        </p:txBody>
      </p:sp>
      <p:sp>
        <p:nvSpPr>
          <p:cNvPr id="85" name="Textfeld 84">
            <a:extLst>
              <a:ext uri="{FF2B5EF4-FFF2-40B4-BE49-F238E27FC236}">
                <a16:creationId xmlns:a16="http://schemas.microsoft.com/office/drawing/2014/main" xmlns="" id="{C29969AF-F88C-4E64-807B-65B9EEA3B258}"/>
              </a:ext>
            </a:extLst>
          </p:cNvPr>
          <p:cNvSpPr txBox="1"/>
          <p:nvPr/>
        </p:nvSpPr>
        <p:spPr>
          <a:xfrm>
            <a:off x="539750" y="3582172"/>
            <a:ext cx="550151" cy="169277"/>
          </a:xfrm>
          <a:prstGeom prst="rect">
            <a:avLst/>
          </a:prstGeom>
          <a:noFill/>
        </p:spPr>
        <p:txBody>
          <a:bodyPr wrap="none" rtlCol="0">
            <a:spAutoFit/>
          </a:bodyPr>
          <a:lstStyle/>
          <a:p>
            <a:r>
              <a:rPr lang="de-DE" sz="500" dirty="0">
                <a:solidFill>
                  <a:schemeClr val="accent1"/>
                </a:solidFill>
              </a:rPr>
              <a:t>© </a:t>
            </a:r>
            <a:r>
              <a:rPr lang="de-DE" sz="500" dirty="0" err="1">
                <a:solidFill>
                  <a:schemeClr val="accent1"/>
                </a:solidFill>
              </a:rPr>
              <a:t>civity</a:t>
            </a:r>
            <a:r>
              <a:rPr lang="de-DE" sz="500" dirty="0">
                <a:solidFill>
                  <a:schemeClr val="accent1"/>
                </a:solidFill>
              </a:rPr>
              <a:t> 2019</a:t>
            </a:r>
          </a:p>
        </p:txBody>
      </p:sp>
      <p:sp>
        <p:nvSpPr>
          <p:cNvPr id="93" name="Textfeld 92">
            <a:extLst>
              <a:ext uri="{FF2B5EF4-FFF2-40B4-BE49-F238E27FC236}">
                <a16:creationId xmlns:a16="http://schemas.microsoft.com/office/drawing/2014/main" xmlns="" id="{3AE6B6A5-7530-4676-B858-0CB87BF8E074}"/>
              </a:ext>
            </a:extLst>
          </p:cNvPr>
          <p:cNvSpPr txBox="1"/>
          <p:nvPr/>
        </p:nvSpPr>
        <p:spPr>
          <a:xfrm>
            <a:off x="3276600" y="3582172"/>
            <a:ext cx="550151" cy="169277"/>
          </a:xfrm>
          <a:prstGeom prst="rect">
            <a:avLst/>
          </a:prstGeom>
          <a:noFill/>
        </p:spPr>
        <p:txBody>
          <a:bodyPr wrap="none" rtlCol="0">
            <a:spAutoFit/>
          </a:bodyPr>
          <a:lstStyle/>
          <a:p>
            <a:r>
              <a:rPr lang="de-DE" sz="500" dirty="0">
                <a:solidFill>
                  <a:schemeClr val="accent1"/>
                </a:solidFill>
              </a:rPr>
              <a:t>© </a:t>
            </a:r>
            <a:r>
              <a:rPr lang="de-DE" sz="500" dirty="0" err="1">
                <a:solidFill>
                  <a:schemeClr val="accent1"/>
                </a:solidFill>
              </a:rPr>
              <a:t>civity</a:t>
            </a:r>
            <a:r>
              <a:rPr lang="de-DE" sz="500" dirty="0">
                <a:solidFill>
                  <a:schemeClr val="accent1"/>
                </a:solidFill>
              </a:rPr>
              <a:t> 2019</a:t>
            </a:r>
          </a:p>
        </p:txBody>
      </p:sp>
      <p:sp>
        <p:nvSpPr>
          <p:cNvPr id="95" name="Textfeld 94">
            <a:extLst>
              <a:ext uri="{FF2B5EF4-FFF2-40B4-BE49-F238E27FC236}">
                <a16:creationId xmlns:a16="http://schemas.microsoft.com/office/drawing/2014/main" xmlns="" id="{1941F977-C982-4FE3-8E22-646B18F27660}"/>
              </a:ext>
            </a:extLst>
          </p:cNvPr>
          <p:cNvSpPr txBox="1"/>
          <p:nvPr/>
        </p:nvSpPr>
        <p:spPr>
          <a:xfrm>
            <a:off x="6023354" y="3582172"/>
            <a:ext cx="550151" cy="169277"/>
          </a:xfrm>
          <a:prstGeom prst="rect">
            <a:avLst/>
          </a:prstGeom>
          <a:noFill/>
        </p:spPr>
        <p:txBody>
          <a:bodyPr wrap="none" rtlCol="0">
            <a:spAutoFit/>
          </a:bodyPr>
          <a:lstStyle/>
          <a:p>
            <a:r>
              <a:rPr lang="de-DE" sz="500" dirty="0">
                <a:solidFill>
                  <a:schemeClr val="accent1"/>
                </a:solidFill>
              </a:rPr>
              <a:t>© </a:t>
            </a:r>
            <a:r>
              <a:rPr lang="de-DE" sz="500" dirty="0" err="1">
                <a:solidFill>
                  <a:schemeClr val="accent1"/>
                </a:solidFill>
              </a:rPr>
              <a:t>civity</a:t>
            </a:r>
            <a:r>
              <a:rPr lang="de-DE" sz="500" dirty="0">
                <a:solidFill>
                  <a:schemeClr val="accent1"/>
                </a:solidFill>
              </a:rPr>
              <a:t> 2019</a:t>
            </a:r>
          </a:p>
        </p:txBody>
      </p:sp>
      <p:sp>
        <p:nvSpPr>
          <p:cNvPr id="96" name="Textfeld 95">
            <a:extLst>
              <a:ext uri="{FF2B5EF4-FFF2-40B4-BE49-F238E27FC236}">
                <a16:creationId xmlns:a16="http://schemas.microsoft.com/office/drawing/2014/main" xmlns="" id="{D8CF4C7C-E04F-47D5-9D5B-87E43FC42E2F}"/>
              </a:ext>
            </a:extLst>
          </p:cNvPr>
          <p:cNvSpPr txBox="1"/>
          <p:nvPr/>
        </p:nvSpPr>
        <p:spPr>
          <a:xfrm>
            <a:off x="539750" y="5661006"/>
            <a:ext cx="550151" cy="169277"/>
          </a:xfrm>
          <a:prstGeom prst="rect">
            <a:avLst/>
          </a:prstGeom>
          <a:noFill/>
        </p:spPr>
        <p:txBody>
          <a:bodyPr wrap="none" rtlCol="0">
            <a:spAutoFit/>
          </a:bodyPr>
          <a:lstStyle/>
          <a:p>
            <a:r>
              <a:rPr lang="de-DE" sz="500" dirty="0">
                <a:solidFill>
                  <a:schemeClr val="accent1"/>
                </a:solidFill>
              </a:rPr>
              <a:t>© </a:t>
            </a:r>
            <a:r>
              <a:rPr lang="de-DE" sz="500" dirty="0" err="1">
                <a:solidFill>
                  <a:schemeClr val="accent1"/>
                </a:solidFill>
              </a:rPr>
              <a:t>civity</a:t>
            </a:r>
            <a:r>
              <a:rPr lang="de-DE" sz="500" dirty="0">
                <a:solidFill>
                  <a:schemeClr val="accent1"/>
                </a:solidFill>
              </a:rPr>
              <a:t> 2019</a:t>
            </a:r>
          </a:p>
        </p:txBody>
      </p:sp>
      <p:sp>
        <p:nvSpPr>
          <p:cNvPr id="97" name="Textfeld 96">
            <a:extLst>
              <a:ext uri="{FF2B5EF4-FFF2-40B4-BE49-F238E27FC236}">
                <a16:creationId xmlns:a16="http://schemas.microsoft.com/office/drawing/2014/main" xmlns="" id="{BDAF2147-6867-4A8C-9352-ABE608A73F23}"/>
              </a:ext>
            </a:extLst>
          </p:cNvPr>
          <p:cNvSpPr txBox="1"/>
          <p:nvPr/>
        </p:nvSpPr>
        <p:spPr>
          <a:xfrm>
            <a:off x="3276600" y="5661006"/>
            <a:ext cx="550151" cy="169277"/>
          </a:xfrm>
          <a:prstGeom prst="rect">
            <a:avLst/>
          </a:prstGeom>
          <a:noFill/>
        </p:spPr>
        <p:txBody>
          <a:bodyPr wrap="none" rtlCol="0">
            <a:spAutoFit/>
          </a:bodyPr>
          <a:lstStyle/>
          <a:p>
            <a:r>
              <a:rPr lang="de-DE" sz="500" dirty="0">
                <a:solidFill>
                  <a:schemeClr val="accent1"/>
                </a:solidFill>
              </a:rPr>
              <a:t>© </a:t>
            </a:r>
            <a:r>
              <a:rPr lang="de-DE" sz="500" dirty="0" err="1">
                <a:solidFill>
                  <a:schemeClr val="accent1"/>
                </a:solidFill>
              </a:rPr>
              <a:t>civity</a:t>
            </a:r>
            <a:r>
              <a:rPr lang="de-DE" sz="500" dirty="0">
                <a:solidFill>
                  <a:schemeClr val="accent1"/>
                </a:solidFill>
              </a:rPr>
              <a:t> 2019</a:t>
            </a:r>
          </a:p>
        </p:txBody>
      </p:sp>
      <p:cxnSp>
        <p:nvCxnSpPr>
          <p:cNvPr id="99" name="Gerade Verbindung 28">
            <a:extLst>
              <a:ext uri="{FF2B5EF4-FFF2-40B4-BE49-F238E27FC236}">
                <a16:creationId xmlns:a16="http://schemas.microsoft.com/office/drawing/2014/main" xmlns="" id="{6A4947DF-B5F6-4625-8830-F799AA54076A}"/>
              </a:ext>
            </a:extLst>
          </p:cNvPr>
          <p:cNvCxnSpPr/>
          <p:nvPr>
            <p:custDataLst>
              <p:tags r:id="rId4"/>
            </p:custDataLst>
          </p:nvPr>
        </p:nvCxnSpPr>
        <p:spPr>
          <a:xfrm>
            <a:off x="541538" y="5877272"/>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3976918"/>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61199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17" name="think-cell Folie" r:id="rId71" imgW="216" imgH="216" progId="TCLayout.ActiveDocument.1">
                  <p:embed/>
                </p:oleObj>
              </mc:Choice>
              <mc:Fallback>
                <p:oleObj name="think-cell Folie" r:id="rId71" imgW="216" imgH="216" progId="TCLayout.ActiveDocument.1">
                  <p:embed/>
                  <p:pic>
                    <p:nvPicPr>
                      <p:cNvPr id="12" name="Objekt 1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232" name="Rechteck 231" hidden="1">
            <a:extLst>
              <a:ext uri="{FF2B5EF4-FFF2-40B4-BE49-F238E27FC236}">
                <a16:creationId xmlns:a16="http://schemas.microsoft.com/office/drawing/2014/main" xmlns="" id="{E087513E-F8EA-4F22-97F0-6892680B2746}"/>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10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72" name="Gerade Verbindung 171"/>
          <p:cNvCxnSpPr/>
          <p:nvPr>
            <p:custDataLst>
              <p:tags r:id="rId4"/>
            </p:custDataLst>
          </p:nvPr>
        </p:nvCxnSpPr>
        <p:spPr bwMode="gray">
          <a:xfrm>
            <a:off x="2289175" y="1716089"/>
            <a:ext cx="0" cy="3363913"/>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custDataLst>
              <p:tags r:id="rId5"/>
            </p:custDataLst>
          </p:nvPr>
        </p:nvCxnSpPr>
        <p:spPr bwMode="gray">
          <a:xfrm>
            <a:off x="3778250" y="1716089"/>
            <a:ext cx="0" cy="3363913"/>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4" name="Gerade Verbindung 283"/>
          <p:cNvCxnSpPr/>
          <p:nvPr>
            <p:custDataLst>
              <p:tags r:id="rId6"/>
            </p:custDataLst>
          </p:nvPr>
        </p:nvCxnSpPr>
        <p:spPr bwMode="gray">
          <a:xfrm flipV="1">
            <a:off x="2705100"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Gerade Verbindung 163"/>
          <p:cNvCxnSpPr/>
          <p:nvPr>
            <p:custDataLst>
              <p:tags r:id="rId7"/>
            </p:custDataLst>
          </p:nvPr>
        </p:nvCxnSpPr>
        <p:spPr bwMode="gray">
          <a:xfrm flipV="1">
            <a:off x="3121025"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3" name="Gerade Verbindung 282"/>
          <p:cNvCxnSpPr/>
          <p:nvPr>
            <p:custDataLst>
              <p:tags r:id="rId8"/>
            </p:custDataLst>
          </p:nvPr>
        </p:nvCxnSpPr>
        <p:spPr bwMode="gray">
          <a:xfrm flipV="1">
            <a:off x="1873250"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xmlns="" id="{5B599D03-FB21-47CE-841C-326873607013}"/>
              </a:ext>
            </a:extLst>
          </p:cNvPr>
          <p:cNvCxnSpPr/>
          <p:nvPr>
            <p:custDataLst>
              <p:tags r:id="rId9"/>
            </p:custDataLst>
          </p:nvPr>
        </p:nvCxnSpPr>
        <p:spPr bwMode="gray">
          <a:xfrm flipV="1">
            <a:off x="7161213" y="5080000"/>
            <a:ext cx="0" cy="42863"/>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xmlns="" id="{0978218F-DEA0-4E50-B916-3BA7F2C6FAB8}"/>
              </a:ext>
            </a:extLst>
          </p:cNvPr>
          <p:cNvCxnSpPr/>
          <p:nvPr>
            <p:custDataLst>
              <p:tags r:id="rId10"/>
            </p:custDataLst>
          </p:nvPr>
        </p:nvCxnSpPr>
        <p:spPr bwMode="gray">
          <a:xfrm flipV="1">
            <a:off x="7986713" y="5080000"/>
            <a:ext cx="0" cy="42863"/>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3" name="Gerade Verbindung 162"/>
          <p:cNvCxnSpPr/>
          <p:nvPr>
            <p:custDataLst>
              <p:tags r:id="rId11"/>
            </p:custDataLst>
          </p:nvPr>
        </p:nvCxnSpPr>
        <p:spPr bwMode="gray">
          <a:xfrm flipV="1">
            <a:off x="2289175"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Gerader Verbinder 89">
            <a:extLst>
              <a:ext uri="{FF2B5EF4-FFF2-40B4-BE49-F238E27FC236}">
                <a16:creationId xmlns:a16="http://schemas.microsoft.com/office/drawing/2014/main" xmlns="" id="{242F3263-1979-4CFB-8AC0-7C302D63C700}"/>
              </a:ext>
            </a:extLst>
          </p:cNvPr>
          <p:cNvCxnSpPr/>
          <p:nvPr>
            <p:custDataLst>
              <p:tags r:id="rId12"/>
            </p:custDataLst>
          </p:nvPr>
        </p:nvCxnSpPr>
        <p:spPr bwMode="gray">
          <a:xfrm flipV="1">
            <a:off x="7577138" y="5080000"/>
            <a:ext cx="0" cy="42863"/>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6" name="Gerade Verbindung 285"/>
          <p:cNvCxnSpPr/>
          <p:nvPr>
            <p:custDataLst>
              <p:tags r:id="rId13"/>
            </p:custDataLst>
          </p:nvPr>
        </p:nvCxnSpPr>
        <p:spPr bwMode="gray">
          <a:xfrm flipV="1">
            <a:off x="4610100"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xmlns="" id="{95CF6EA4-5CF4-4651-82C9-84F7BA0B8BBC}"/>
              </a:ext>
            </a:extLst>
          </p:cNvPr>
          <p:cNvCxnSpPr/>
          <p:nvPr>
            <p:custDataLst>
              <p:tags r:id="rId14"/>
            </p:custDataLst>
          </p:nvPr>
        </p:nvCxnSpPr>
        <p:spPr bwMode="gray">
          <a:xfrm flipV="1">
            <a:off x="5440363" y="5080000"/>
            <a:ext cx="0" cy="42863"/>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Gerade Verbindung 284"/>
          <p:cNvCxnSpPr/>
          <p:nvPr>
            <p:custDataLst>
              <p:tags r:id="rId15"/>
            </p:custDataLst>
          </p:nvPr>
        </p:nvCxnSpPr>
        <p:spPr bwMode="gray">
          <a:xfrm flipV="1">
            <a:off x="3778250"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xmlns="" id="{0916CBCF-2DC6-489D-845B-E72AF224989C}"/>
              </a:ext>
            </a:extLst>
          </p:cNvPr>
          <p:cNvCxnSpPr/>
          <p:nvPr>
            <p:custDataLst>
              <p:tags r:id="rId16"/>
            </p:custDataLst>
          </p:nvPr>
        </p:nvCxnSpPr>
        <p:spPr bwMode="gray">
          <a:xfrm flipV="1">
            <a:off x="5856288" y="5080000"/>
            <a:ext cx="0" cy="42863"/>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xmlns="" id="{50DB0AB2-6149-487D-B293-5A51A128A1EF}"/>
              </a:ext>
            </a:extLst>
          </p:cNvPr>
          <p:cNvCxnSpPr/>
          <p:nvPr>
            <p:custDataLst>
              <p:tags r:id="rId17"/>
            </p:custDataLst>
          </p:nvPr>
        </p:nvCxnSpPr>
        <p:spPr bwMode="gray">
          <a:xfrm flipV="1">
            <a:off x="6183313" y="5080000"/>
            <a:ext cx="0" cy="42863"/>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6" name="Gerade Verbindung 165"/>
          <p:cNvCxnSpPr/>
          <p:nvPr>
            <p:custDataLst>
              <p:tags r:id="rId18"/>
            </p:custDataLst>
          </p:nvPr>
        </p:nvCxnSpPr>
        <p:spPr bwMode="gray">
          <a:xfrm flipV="1">
            <a:off x="5024438"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Gerade Verbindung 281"/>
          <p:cNvCxnSpPr/>
          <p:nvPr>
            <p:custDataLst>
              <p:tags r:id="rId19"/>
            </p:custDataLst>
          </p:nvPr>
        </p:nvCxnSpPr>
        <p:spPr bwMode="gray">
          <a:xfrm flipV="1">
            <a:off x="1042988"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Gerade Verbindung 164"/>
          <p:cNvCxnSpPr/>
          <p:nvPr>
            <p:custDataLst>
              <p:tags r:id="rId20"/>
            </p:custDataLst>
          </p:nvPr>
        </p:nvCxnSpPr>
        <p:spPr bwMode="gray">
          <a:xfrm flipV="1">
            <a:off x="4194175"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xmlns="" id="{C1FE05FD-2F02-4B61-B5D3-6EDB89968AF4}"/>
              </a:ext>
            </a:extLst>
          </p:cNvPr>
          <p:cNvCxnSpPr/>
          <p:nvPr>
            <p:custDataLst>
              <p:tags r:id="rId21"/>
            </p:custDataLst>
          </p:nvPr>
        </p:nvCxnSpPr>
        <p:spPr bwMode="gray">
          <a:xfrm flipV="1">
            <a:off x="8402638" y="5080000"/>
            <a:ext cx="0" cy="42863"/>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Gerade Verbindung 161"/>
          <p:cNvCxnSpPr/>
          <p:nvPr>
            <p:custDataLst>
              <p:tags r:id="rId22"/>
            </p:custDataLst>
          </p:nvPr>
        </p:nvCxnSpPr>
        <p:spPr bwMode="gray">
          <a:xfrm flipV="1">
            <a:off x="1458913" y="5080000"/>
            <a:ext cx="0" cy="42863"/>
          </a:xfrm>
          <a:prstGeom prst="line">
            <a:avLst/>
          </a:prstGeom>
          <a:ln w="9525"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26" name="Chart 3">
            <a:extLst>
              <a:ext uri="{FF2B5EF4-FFF2-40B4-BE49-F238E27FC236}">
                <a16:creationId xmlns:a16="http://schemas.microsoft.com/office/drawing/2014/main" xmlns="" id="{46379336-9A86-4F60-9620-1B5A29AAB34A}"/>
              </a:ext>
            </a:extLst>
          </p:cNvPr>
          <p:cNvGraphicFramePr/>
          <p:nvPr>
            <p:custDataLst>
              <p:tags r:id="rId23"/>
            </p:custDataLst>
            <p:extLst>
              <p:ext uri="{D42A27DB-BD31-4B8C-83A1-F6EECF244321}">
                <p14:modId xmlns:p14="http://schemas.microsoft.com/office/powerpoint/2010/main" val="2905882396"/>
              </p:ext>
            </p:extLst>
          </p:nvPr>
        </p:nvGraphicFramePr>
        <p:xfrm>
          <a:off x="682625" y="1617663"/>
          <a:ext cx="7802563" cy="3560762"/>
        </p:xfrm>
        <a:graphic>
          <a:graphicData uri="http://schemas.openxmlformats.org/drawingml/2006/chart">
            <c:chart xmlns:c="http://schemas.openxmlformats.org/drawingml/2006/chart" xmlns:r="http://schemas.openxmlformats.org/officeDocument/2006/relationships" r:id="rId73"/>
          </a:graphicData>
        </a:graphic>
      </p:graphicFrame>
      <p:sp>
        <p:nvSpPr>
          <p:cNvPr id="250" name="Textplatzhalter 2">
            <a:extLst>
              <a:ext uri="{FF2B5EF4-FFF2-40B4-BE49-F238E27FC236}">
                <a16:creationId xmlns:a16="http://schemas.microsoft.com/office/drawing/2014/main" xmlns="" id="{3A3BB56A-FDC1-4119-B11F-E991669AE524}"/>
              </a:ext>
            </a:extLst>
          </p:cNvPr>
          <p:cNvSpPr>
            <a:spLocks noGrp="1"/>
          </p:cNvSpPr>
          <p:nvPr>
            <p:custDataLst>
              <p:tags r:id="rId24"/>
            </p:custDataLst>
          </p:nvPr>
        </p:nvSpPr>
        <p:spPr bwMode="gray">
          <a:xfrm>
            <a:off x="7004051" y="5165725"/>
            <a:ext cx="3143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5CFFB765-7E80-4248-B1A2-E92179818150}" type="datetime'''''1''''''''''''.''''''''''''''''''''''8''5''''''''''0'''''">
              <a:rPr lang="de-DE" altLang="en-US" sz="1000" smtClean="0">
                <a:cs typeface="Arial" panose="020B0604020202020204" pitchFamily="34" charset="0"/>
                <a:sym typeface="+mn-lt"/>
              </a:rPr>
              <a:pPr lvl="1" algn="ctr">
                <a:spcBef>
                  <a:spcPct val="0"/>
                </a:spcBef>
                <a:spcAft>
                  <a:spcPct val="0"/>
                </a:spcAft>
              </a:pPr>
              <a:t>1.850</a:t>
            </a:fld>
            <a:endParaRPr lang="de-DE" sz="1000" dirty="0">
              <a:cs typeface="Arial" panose="020B0604020202020204" pitchFamily="34" charset="0"/>
              <a:sym typeface="+mn-lt"/>
            </a:endParaRPr>
          </a:p>
        </p:txBody>
      </p:sp>
      <p:sp>
        <p:nvSpPr>
          <p:cNvPr id="251" name="Textplatzhalter 2">
            <a:extLst>
              <a:ext uri="{FF2B5EF4-FFF2-40B4-BE49-F238E27FC236}">
                <a16:creationId xmlns:a16="http://schemas.microsoft.com/office/drawing/2014/main" xmlns="" id="{A36F59EA-B6D7-4AC2-87DC-A7CCB087C8BD}"/>
              </a:ext>
            </a:extLst>
          </p:cNvPr>
          <p:cNvSpPr>
            <a:spLocks noGrp="1"/>
          </p:cNvSpPr>
          <p:nvPr>
            <p:custDataLst>
              <p:tags r:id="rId25"/>
            </p:custDataLst>
          </p:nvPr>
        </p:nvSpPr>
        <p:spPr bwMode="gray">
          <a:xfrm>
            <a:off x="7419976" y="5165725"/>
            <a:ext cx="3143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35AF6BB2-B69B-4338-99F6-2F2911A0B652}" type="datetime'''''1''''.''9''''''''''''''''''0''''''''''0'''''">
              <a:rPr lang="de-DE" altLang="en-US" sz="1000" smtClean="0">
                <a:cs typeface="Arial" panose="020B0604020202020204" pitchFamily="34" charset="0"/>
                <a:sym typeface="+mn-lt"/>
              </a:rPr>
              <a:pPr lvl="1" algn="ctr">
                <a:spcBef>
                  <a:spcPct val="0"/>
                </a:spcBef>
                <a:spcAft>
                  <a:spcPct val="0"/>
                </a:spcAft>
              </a:pPr>
              <a:t>1.900</a:t>
            </a:fld>
            <a:endParaRPr lang="de-DE" sz="1000" dirty="0">
              <a:cs typeface="Arial" panose="020B0604020202020204" pitchFamily="34" charset="0"/>
              <a:sym typeface="+mn-lt"/>
            </a:endParaRPr>
          </a:p>
        </p:txBody>
      </p:sp>
      <p:sp>
        <p:nvSpPr>
          <p:cNvPr id="85" name="Textplatzhalter 2">
            <a:extLst>
              <a:ext uri="{FF2B5EF4-FFF2-40B4-BE49-F238E27FC236}">
                <a16:creationId xmlns:a16="http://schemas.microsoft.com/office/drawing/2014/main" xmlns="" id="{1A94D19C-4A22-4E31-9DA4-7276BB4B7B68}"/>
              </a:ext>
            </a:extLst>
          </p:cNvPr>
          <p:cNvSpPr>
            <a:spLocks noGrp="1"/>
          </p:cNvSpPr>
          <p:nvPr>
            <p:custDataLst>
              <p:tags r:id="rId26"/>
            </p:custDataLst>
          </p:nvPr>
        </p:nvSpPr>
        <p:spPr bwMode="gray">
          <a:xfrm>
            <a:off x="7829550" y="5165725"/>
            <a:ext cx="3143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E1FBD2A6-8E03-46DA-829B-6E7B4B0F29AB}" type="datetime'''''''''''''3.''''''''''''''''''5''''''''''''50'''">
              <a:rPr lang="de-DE" altLang="en-US" sz="1000" smtClean="0">
                <a:cs typeface="Arial" panose="020B0604020202020204" pitchFamily="34" charset="0"/>
                <a:sym typeface="+mn-lt"/>
              </a:rPr>
              <a:pPr lvl="1" algn="ctr">
                <a:spcBef>
                  <a:spcPct val="0"/>
                </a:spcBef>
                <a:spcAft>
                  <a:spcPct val="0"/>
                </a:spcAft>
              </a:pPr>
              <a:t>3.550</a:t>
            </a:fld>
            <a:endParaRPr lang="de-DE" sz="1000" dirty="0">
              <a:cs typeface="Arial" panose="020B0604020202020204" pitchFamily="34" charset="0"/>
              <a:sym typeface="+mn-lt"/>
            </a:endParaRPr>
          </a:p>
        </p:txBody>
      </p:sp>
      <p:sp>
        <p:nvSpPr>
          <p:cNvPr id="86" name="Textplatzhalter 2">
            <a:extLst>
              <a:ext uri="{FF2B5EF4-FFF2-40B4-BE49-F238E27FC236}">
                <a16:creationId xmlns:a16="http://schemas.microsoft.com/office/drawing/2014/main" xmlns="" id="{955884F1-3F4E-437D-AB77-C86BB1CF153C}"/>
              </a:ext>
            </a:extLst>
          </p:cNvPr>
          <p:cNvSpPr>
            <a:spLocks noGrp="1"/>
          </p:cNvSpPr>
          <p:nvPr>
            <p:custDataLst>
              <p:tags r:id="rId27"/>
            </p:custDataLst>
          </p:nvPr>
        </p:nvSpPr>
        <p:spPr bwMode="gray">
          <a:xfrm>
            <a:off x="8245476" y="5165725"/>
            <a:ext cx="3143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B45DA935-885F-4416-AEC5-BAD2B71DAE7A}" type="datetime'''''''''''''''''''''''''''''''''3''''.6''0''0'''''''''">
              <a:rPr lang="de-DE" altLang="en-US" sz="1000" smtClean="0">
                <a:cs typeface="Arial" panose="020B0604020202020204" pitchFamily="34" charset="0"/>
                <a:sym typeface="+mn-lt"/>
              </a:rPr>
              <a:pPr lvl="1" algn="ctr">
                <a:spcBef>
                  <a:spcPct val="0"/>
                </a:spcBef>
                <a:spcAft>
                  <a:spcPct val="0"/>
                </a:spcAft>
              </a:pPr>
              <a:t>3.600</a:t>
            </a:fld>
            <a:endParaRPr lang="de-DE" sz="1000" dirty="0">
              <a:cs typeface="Arial" panose="020B0604020202020204" pitchFamily="34" charset="0"/>
              <a:sym typeface="+mn-lt"/>
            </a:endParaRPr>
          </a:p>
        </p:txBody>
      </p:sp>
      <p:sp>
        <p:nvSpPr>
          <p:cNvPr id="249" name="Textplatzhalter 2">
            <a:extLst>
              <a:ext uri="{FF2B5EF4-FFF2-40B4-BE49-F238E27FC236}">
                <a16:creationId xmlns:a16="http://schemas.microsoft.com/office/drawing/2014/main" xmlns="" id="{AA24AB5F-417F-415C-A228-625B5D6C1AA5}"/>
              </a:ext>
            </a:extLst>
          </p:cNvPr>
          <p:cNvSpPr>
            <a:spLocks noGrp="1"/>
          </p:cNvSpPr>
          <p:nvPr>
            <p:custDataLst>
              <p:tags r:id="rId28"/>
            </p:custDataLst>
          </p:nvPr>
        </p:nvSpPr>
        <p:spPr bwMode="gray">
          <a:xfrm>
            <a:off x="6026151" y="5165725"/>
            <a:ext cx="3143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5538FD46-C478-45F4-B823-5FD6D80627B0}" type="datetime'''1.''''''''''''''''0''50'''">
              <a:rPr lang="de-DE" altLang="en-US" sz="1000" smtClean="0">
                <a:cs typeface="Arial" panose="020B0604020202020204" pitchFamily="34" charset="0"/>
                <a:sym typeface="+mn-lt"/>
              </a:rPr>
              <a:pPr lvl="1" algn="ctr">
                <a:spcBef>
                  <a:spcPct val="0"/>
                </a:spcBef>
                <a:spcAft>
                  <a:spcPct val="0"/>
                </a:spcAft>
              </a:pPr>
              <a:t>1.050</a:t>
            </a:fld>
            <a:endParaRPr lang="de-DE" sz="1000" dirty="0">
              <a:cs typeface="Arial" panose="020B0604020202020204" pitchFamily="34" charset="0"/>
              <a:sym typeface="+mn-lt"/>
            </a:endParaRPr>
          </a:p>
        </p:txBody>
      </p:sp>
      <p:sp>
        <p:nvSpPr>
          <p:cNvPr id="195" name="Textplatzhalter 2"/>
          <p:cNvSpPr>
            <a:spLocks noGrp="1"/>
          </p:cNvSpPr>
          <p:nvPr>
            <p:custDataLst>
              <p:tags r:id="rId29"/>
            </p:custDataLst>
          </p:nvPr>
        </p:nvSpPr>
        <p:spPr bwMode="gray">
          <a:xfrm>
            <a:off x="938213"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C2043A5D-D45C-405A-AC33-8D453DFF4004}" type="datetime'''''''''''''''1''''''0''''''''''''''0'''''''''''">
              <a:rPr lang="de-DE" altLang="en-US" sz="1000">
                <a:latin typeface="+mn-lt"/>
                <a:cs typeface="Arial" panose="020B0604020202020204" pitchFamily="34" charset="0"/>
                <a:sym typeface="+mn-lt"/>
              </a:rPr>
              <a:pPr lvl="1" algn="ctr">
                <a:spcBef>
                  <a:spcPct val="0"/>
                </a:spcBef>
                <a:spcAft>
                  <a:spcPct val="0"/>
                </a:spcAft>
              </a:pPr>
              <a:t>100</a:t>
            </a:fld>
            <a:endParaRPr lang="de-DE" sz="1000" dirty="0">
              <a:latin typeface="+mn-lt"/>
              <a:cs typeface="Arial" panose="020B0604020202020204" pitchFamily="34" charset="0"/>
              <a:sym typeface="+mn-lt"/>
            </a:endParaRPr>
          </a:p>
        </p:txBody>
      </p:sp>
      <p:sp>
        <p:nvSpPr>
          <p:cNvPr id="198" name="Textplatzhalter 2"/>
          <p:cNvSpPr>
            <a:spLocks noGrp="1"/>
          </p:cNvSpPr>
          <p:nvPr>
            <p:custDataLst>
              <p:tags r:id="rId30"/>
            </p:custDataLst>
          </p:nvPr>
        </p:nvSpPr>
        <p:spPr bwMode="gray">
          <a:xfrm>
            <a:off x="1354138"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A9EB7C4D-47FC-46A2-9A54-0C9887A8E520}" type="datetime'''''''''''1''5''''''''''''''''''0'''''''''">
              <a:rPr lang="de-DE" altLang="en-US" sz="1000">
                <a:latin typeface="+mn-lt"/>
                <a:cs typeface="Arial" panose="020B0604020202020204" pitchFamily="34" charset="0"/>
                <a:sym typeface="+mn-lt"/>
              </a:rPr>
              <a:pPr lvl="1" algn="ctr">
                <a:spcBef>
                  <a:spcPct val="0"/>
                </a:spcBef>
                <a:spcAft>
                  <a:spcPct val="0"/>
                </a:spcAft>
              </a:pPr>
              <a:t>150</a:t>
            </a:fld>
            <a:endParaRPr lang="de-DE" sz="1000" dirty="0">
              <a:latin typeface="+mn-lt"/>
              <a:cs typeface="Arial" panose="020B0604020202020204" pitchFamily="34" charset="0"/>
              <a:sym typeface="+mn-lt"/>
            </a:endParaRPr>
          </a:p>
        </p:txBody>
      </p:sp>
      <p:sp>
        <p:nvSpPr>
          <p:cNvPr id="199" name="Textplatzhalter 2"/>
          <p:cNvSpPr>
            <a:spLocks noGrp="1"/>
          </p:cNvSpPr>
          <p:nvPr>
            <p:custDataLst>
              <p:tags r:id="rId31"/>
            </p:custDataLst>
          </p:nvPr>
        </p:nvSpPr>
        <p:spPr bwMode="gray">
          <a:xfrm>
            <a:off x="1768475"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597AFFF6-6929-4C74-B8E9-079DB271601C}" type="datetime'''''''''''''''''''''''''2''''''''''''''''''0''''''''''''0'''">
              <a:rPr lang="de-DE" altLang="en-US" sz="1000">
                <a:latin typeface="+mn-lt"/>
                <a:cs typeface="Arial" panose="020B0604020202020204" pitchFamily="34" charset="0"/>
                <a:sym typeface="+mn-lt"/>
              </a:rPr>
              <a:pPr lvl="1" algn="ctr">
                <a:spcBef>
                  <a:spcPct val="0"/>
                </a:spcBef>
                <a:spcAft>
                  <a:spcPct val="0"/>
                </a:spcAft>
              </a:pPr>
              <a:t>200</a:t>
            </a:fld>
            <a:endParaRPr lang="de-DE" sz="1000" dirty="0">
              <a:latin typeface="+mn-lt"/>
              <a:cs typeface="Arial" panose="020B0604020202020204" pitchFamily="34" charset="0"/>
              <a:sym typeface="+mn-lt"/>
            </a:endParaRPr>
          </a:p>
        </p:txBody>
      </p:sp>
      <p:sp>
        <p:nvSpPr>
          <p:cNvPr id="200" name="Textplatzhalter 2"/>
          <p:cNvSpPr>
            <a:spLocks noGrp="1"/>
          </p:cNvSpPr>
          <p:nvPr>
            <p:custDataLst>
              <p:tags r:id="rId32"/>
            </p:custDataLst>
          </p:nvPr>
        </p:nvSpPr>
        <p:spPr bwMode="gray">
          <a:xfrm>
            <a:off x="2184400"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0862D746-1BBB-4BAB-AE42-5F6B5D79FE1F}" type="datetime'2''''''''''''5''''''''''''''''''0'''''''''''''">
              <a:rPr lang="de-DE" altLang="en-US" sz="1000">
                <a:latin typeface="+mn-lt"/>
                <a:cs typeface="Arial" panose="020B0604020202020204" pitchFamily="34" charset="0"/>
                <a:sym typeface="+mn-lt"/>
              </a:rPr>
              <a:pPr lvl="1" algn="ctr">
                <a:spcBef>
                  <a:spcPct val="0"/>
                </a:spcBef>
                <a:spcAft>
                  <a:spcPct val="0"/>
                </a:spcAft>
              </a:pPr>
              <a:t>250</a:t>
            </a:fld>
            <a:endParaRPr lang="de-DE" sz="1000" dirty="0">
              <a:latin typeface="+mn-lt"/>
              <a:cs typeface="Arial" panose="020B0604020202020204" pitchFamily="34" charset="0"/>
              <a:sym typeface="+mn-lt"/>
            </a:endParaRPr>
          </a:p>
        </p:txBody>
      </p:sp>
      <p:sp>
        <p:nvSpPr>
          <p:cNvPr id="208" name="Textplatzhalter 2"/>
          <p:cNvSpPr>
            <a:spLocks noGrp="1"/>
          </p:cNvSpPr>
          <p:nvPr>
            <p:custDataLst>
              <p:tags r:id="rId33"/>
            </p:custDataLst>
          </p:nvPr>
        </p:nvSpPr>
        <p:spPr bwMode="gray">
          <a:xfrm>
            <a:off x="4505325"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46FFC31E-60FE-48EF-8B8D-05256339089F}" type="datetime'''''''''''6''''''''''''''''''0''''''''''''''''''0'''''''">
              <a:rPr lang="de-DE" altLang="en-US" sz="1000">
                <a:latin typeface="+mn-lt"/>
                <a:cs typeface="Arial" panose="020B0604020202020204" pitchFamily="34" charset="0"/>
                <a:sym typeface="+mn-lt"/>
              </a:rPr>
              <a:pPr lvl="1" algn="ctr">
                <a:spcBef>
                  <a:spcPct val="0"/>
                </a:spcBef>
                <a:spcAft>
                  <a:spcPct val="0"/>
                </a:spcAft>
              </a:pPr>
              <a:t>600</a:t>
            </a:fld>
            <a:endParaRPr lang="de-DE" sz="1000" dirty="0">
              <a:latin typeface="+mn-lt"/>
              <a:cs typeface="Arial" panose="020B0604020202020204" pitchFamily="34" charset="0"/>
              <a:sym typeface="+mn-lt"/>
            </a:endParaRPr>
          </a:p>
        </p:txBody>
      </p:sp>
      <p:sp>
        <p:nvSpPr>
          <p:cNvPr id="201" name="Textplatzhalter 2"/>
          <p:cNvSpPr>
            <a:spLocks noGrp="1"/>
          </p:cNvSpPr>
          <p:nvPr>
            <p:custDataLst>
              <p:tags r:id="rId34"/>
            </p:custDataLst>
          </p:nvPr>
        </p:nvSpPr>
        <p:spPr bwMode="gray">
          <a:xfrm>
            <a:off x="2600325"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D9358AFC-BCE3-4DFA-A120-FEC40B73B213}" type="datetime'''''3''''0''''''''0'''''''''''''">
              <a:rPr lang="de-DE" altLang="en-US" sz="1000">
                <a:latin typeface="+mn-lt"/>
                <a:cs typeface="Arial" panose="020B0604020202020204" pitchFamily="34" charset="0"/>
                <a:sym typeface="+mn-lt"/>
              </a:rPr>
              <a:pPr lvl="1" algn="ctr">
                <a:spcBef>
                  <a:spcPct val="0"/>
                </a:spcBef>
                <a:spcAft>
                  <a:spcPct val="0"/>
                </a:spcAft>
              </a:pPr>
              <a:t>300</a:t>
            </a:fld>
            <a:endParaRPr lang="de-DE" sz="1000" dirty="0">
              <a:latin typeface="+mn-lt"/>
              <a:cs typeface="Arial" panose="020B0604020202020204" pitchFamily="34" charset="0"/>
              <a:sym typeface="+mn-lt"/>
            </a:endParaRPr>
          </a:p>
        </p:txBody>
      </p:sp>
      <p:sp>
        <p:nvSpPr>
          <p:cNvPr id="203" name="Textplatzhalter 2"/>
          <p:cNvSpPr>
            <a:spLocks noGrp="1"/>
          </p:cNvSpPr>
          <p:nvPr>
            <p:custDataLst>
              <p:tags r:id="rId35"/>
            </p:custDataLst>
          </p:nvPr>
        </p:nvSpPr>
        <p:spPr bwMode="gray">
          <a:xfrm>
            <a:off x="3016250"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04051372-F521-4E41-868C-16DB5347A87A}" type="datetime'''''''''''3''50'''''''''''''''''''''''''''''">
              <a:rPr lang="de-DE" altLang="en-US" sz="1000">
                <a:latin typeface="+mn-lt"/>
                <a:cs typeface="Arial" panose="020B0604020202020204" pitchFamily="34" charset="0"/>
                <a:sym typeface="+mn-lt"/>
              </a:rPr>
              <a:pPr lvl="1" algn="ctr">
                <a:spcBef>
                  <a:spcPct val="0"/>
                </a:spcBef>
                <a:spcAft>
                  <a:spcPct val="0"/>
                </a:spcAft>
              </a:pPr>
              <a:t>350</a:t>
            </a:fld>
            <a:endParaRPr lang="de-DE" sz="1000" dirty="0">
              <a:latin typeface="+mn-lt"/>
              <a:cs typeface="Arial" panose="020B0604020202020204" pitchFamily="34" charset="0"/>
              <a:sym typeface="+mn-lt"/>
            </a:endParaRPr>
          </a:p>
        </p:txBody>
      </p:sp>
      <p:sp>
        <p:nvSpPr>
          <p:cNvPr id="206" name="Textplatzhalter 2"/>
          <p:cNvSpPr>
            <a:spLocks noGrp="1"/>
          </p:cNvSpPr>
          <p:nvPr>
            <p:custDataLst>
              <p:tags r:id="rId36"/>
            </p:custDataLst>
          </p:nvPr>
        </p:nvSpPr>
        <p:spPr bwMode="gray">
          <a:xfrm>
            <a:off x="3673475"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FB40605E-CF8A-4715-A023-52088B953D8E}" type="datetime'5''''''''''''''''''''''''''''''''0''''''0'''''''''">
              <a:rPr lang="de-DE" altLang="en-US" sz="1000">
                <a:latin typeface="+mn-lt"/>
                <a:cs typeface="Arial" panose="020B0604020202020204" pitchFamily="34" charset="0"/>
                <a:sym typeface="+mn-lt"/>
              </a:rPr>
              <a:pPr lvl="1" algn="ctr">
                <a:spcBef>
                  <a:spcPct val="0"/>
                </a:spcBef>
                <a:spcAft>
                  <a:spcPct val="0"/>
                </a:spcAft>
              </a:pPr>
              <a:t>500</a:t>
            </a:fld>
            <a:endParaRPr lang="de-DE" sz="1000" dirty="0">
              <a:latin typeface="+mn-lt"/>
              <a:cs typeface="Arial" panose="020B0604020202020204" pitchFamily="34" charset="0"/>
              <a:sym typeface="+mn-lt"/>
            </a:endParaRPr>
          </a:p>
        </p:txBody>
      </p:sp>
      <p:sp>
        <p:nvSpPr>
          <p:cNvPr id="207" name="Textplatzhalter 2"/>
          <p:cNvSpPr>
            <a:spLocks noGrp="1"/>
          </p:cNvSpPr>
          <p:nvPr>
            <p:custDataLst>
              <p:tags r:id="rId37"/>
            </p:custDataLst>
          </p:nvPr>
        </p:nvSpPr>
        <p:spPr bwMode="gray">
          <a:xfrm>
            <a:off x="4089400"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4B0FB91D-2548-4B9F-9A40-6C61F25E9BC9}" type="datetime'5''''''''''''''''''''''''''''''''''''''''''''5''''''''''''''0'">
              <a:rPr lang="de-DE" altLang="en-US" sz="1000">
                <a:latin typeface="+mn-lt"/>
                <a:cs typeface="Arial" panose="020B0604020202020204" pitchFamily="34" charset="0"/>
                <a:sym typeface="+mn-lt"/>
              </a:rPr>
              <a:pPr lvl="1" algn="ctr">
                <a:spcBef>
                  <a:spcPct val="0"/>
                </a:spcBef>
                <a:spcAft>
                  <a:spcPct val="0"/>
                </a:spcAft>
              </a:pPr>
              <a:t>550</a:t>
            </a:fld>
            <a:endParaRPr lang="de-DE" sz="1000" dirty="0">
              <a:latin typeface="+mn-lt"/>
              <a:cs typeface="Arial" panose="020B0604020202020204" pitchFamily="34" charset="0"/>
              <a:sym typeface="+mn-lt"/>
            </a:endParaRPr>
          </a:p>
        </p:txBody>
      </p:sp>
      <p:sp>
        <p:nvSpPr>
          <p:cNvPr id="209" name="Textplatzhalter 2"/>
          <p:cNvSpPr>
            <a:spLocks noGrp="1"/>
          </p:cNvSpPr>
          <p:nvPr>
            <p:custDataLst>
              <p:tags r:id="rId38"/>
            </p:custDataLst>
          </p:nvPr>
        </p:nvSpPr>
        <p:spPr bwMode="gray">
          <a:xfrm>
            <a:off x="4919663" y="5165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20B34D58-AD89-46C4-981D-85F1CB11911E}" type="datetime'''6''''''''''''''''''''''''''''''''5''''''''''''''''''0'">
              <a:rPr lang="de-DE" altLang="en-US" sz="1000">
                <a:latin typeface="+mn-lt"/>
                <a:cs typeface="Arial" panose="020B0604020202020204" pitchFamily="34" charset="0"/>
                <a:sym typeface="+mn-lt"/>
              </a:rPr>
              <a:pPr lvl="1" algn="ctr">
                <a:spcBef>
                  <a:spcPct val="0"/>
                </a:spcBef>
                <a:spcAft>
                  <a:spcPct val="0"/>
                </a:spcAft>
              </a:pPr>
              <a:t>650</a:t>
            </a:fld>
            <a:endParaRPr lang="de-DE" sz="1000" dirty="0">
              <a:latin typeface="+mn-lt"/>
              <a:cs typeface="Arial" panose="020B0604020202020204" pitchFamily="34" charset="0"/>
              <a:sym typeface="+mn-lt"/>
            </a:endParaRPr>
          </a:p>
        </p:txBody>
      </p:sp>
      <p:sp>
        <p:nvSpPr>
          <p:cNvPr id="143" name="Textplatzhalter 2">
            <a:extLst>
              <a:ext uri="{FF2B5EF4-FFF2-40B4-BE49-F238E27FC236}">
                <a16:creationId xmlns:a16="http://schemas.microsoft.com/office/drawing/2014/main" xmlns="" id="{ADDD7206-920F-4BF4-9E77-FD472E815252}"/>
              </a:ext>
            </a:extLst>
          </p:cNvPr>
          <p:cNvSpPr>
            <a:spLocks noGrp="1"/>
          </p:cNvSpPr>
          <p:nvPr>
            <p:custDataLst>
              <p:tags r:id="rId39"/>
            </p:custDataLst>
          </p:nvPr>
        </p:nvSpPr>
        <p:spPr bwMode="gray">
          <a:xfrm>
            <a:off x="5335588" y="516572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3DE2EE9B-4A6D-4442-8AAB-0EDE2352DDA4}" type="datetime'7''0''''0'''''''''''''''''''''''''''''''''''''''''''''">
              <a:rPr lang="de-DE" altLang="en-US" sz="1000" smtClean="0">
                <a:cs typeface="Arial" panose="020B0604020202020204" pitchFamily="34" charset="0"/>
                <a:sym typeface="+mn-lt"/>
              </a:rPr>
              <a:pPr lvl="1" algn="ctr">
                <a:spcBef>
                  <a:spcPct val="0"/>
                </a:spcBef>
                <a:spcAft>
                  <a:spcPct val="0"/>
                </a:spcAft>
              </a:pPr>
              <a:t>700</a:t>
            </a:fld>
            <a:endParaRPr lang="de-DE" sz="1000" dirty="0">
              <a:cs typeface="Arial" panose="020B0604020202020204" pitchFamily="34" charset="0"/>
              <a:sym typeface="+mn-lt"/>
            </a:endParaRPr>
          </a:p>
        </p:txBody>
      </p:sp>
      <p:sp>
        <p:nvSpPr>
          <p:cNvPr id="82" name="Textplatzhalter 2">
            <a:extLst>
              <a:ext uri="{FF2B5EF4-FFF2-40B4-BE49-F238E27FC236}">
                <a16:creationId xmlns:a16="http://schemas.microsoft.com/office/drawing/2014/main" xmlns="" id="{32C0A22C-E0C2-4988-917F-C1DEC306E338}"/>
              </a:ext>
            </a:extLst>
          </p:cNvPr>
          <p:cNvSpPr>
            <a:spLocks noGrp="1"/>
          </p:cNvSpPr>
          <p:nvPr>
            <p:custDataLst>
              <p:tags r:id="rId40"/>
            </p:custDataLst>
          </p:nvPr>
        </p:nvSpPr>
        <p:spPr bwMode="gray">
          <a:xfrm>
            <a:off x="5751513" y="516572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BF0076DE-8C22-4BBE-AE1A-FAC9DF5A01E6}" type="datetime'''''''''7''''''''''''''''''5''0'''''''''''">
              <a:rPr lang="de-DE" altLang="en-US" sz="1000" smtClean="0">
                <a:cs typeface="Arial" panose="020B0604020202020204" pitchFamily="34" charset="0"/>
                <a:sym typeface="+mn-lt"/>
              </a:rPr>
              <a:pPr lvl="1" algn="ctr">
                <a:spcBef>
                  <a:spcPct val="0"/>
                </a:spcBef>
                <a:spcAft>
                  <a:spcPct val="0"/>
                </a:spcAft>
              </a:pPr>
              <a:t>750</a:t>
            </a:fld>
            <a:endParaRPr lang="de-DE" sz="1000" dirty="0">
              <a:cs typeface="Arial" panose="020B0604020202020204" pitchFamily="34" charset="0"/>
              <a:sym typeface="+mn-lt"/>
            </a:endParaRPr>
          </a:p>
        </p:txBody>
      </p:sp>
      <p:cxnSp>
        <p:nvCxnSpPr>
          <p:cNvPr id="260" name="Gerade Verbindung 259"/>
          <p:cNvCxnSpPr/>
          <p:nvPr>
            <p:custDataLst>
              <p:tags r:id="rId41"/>
            </p:custDataLst>
          </p:nvPr>
        </p:nvCxnSpPr>
        <p:spPr bwMode="gray">
          <a:xfrm>
            <a:off x="3778250" y="3541713"/>
            <a:ext cx="2078038" cy="0"/>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Gerade Verbindung 174"/>
          <p:cNvCxnSpPr/>
          <p:nvPr>
            <p:custDataLst>
              <p:tags r:id="rId42"/>
            </p:custDataLst>
          </p:nvPr>
        </p:nvCxnSpPr>
        <p:spPr bwMode="gray">
          <a:xfrm>
            <a:off x="5856288" y="1716088"/>
            <a:ext cx="0" cy="3363913"/>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Gerade Verbindung 263"/>
          <p:cNvCxnSpPr/>
          <p:nvPr>
            <p:custDataLst>
              <p:tags r:id="rId43"/>
            </p:custDataLst>
          </p:nvPr>
        </p:nvCxnSpPr>
        <p:spPr bwMode="gray">
          <a:xfrm>
            <a:off x="5856287" y="3427413"/>
            <a:ext cx="2546350" cy="0"/>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Gerade Verbindung 254"/>
          <p:cNvCxnSpPr/>
          <p:nvPr>
            <p:custDataLst>
              <p:tags r:id="rId44"/>
            </p:custDataLst>
          </p:nvPr>
        </p:nvCxnSpPr>
        <p:spPr bwMode="gray">
          <a:xfrm>
            <a:off x="1042988" y="3986213"/>
            <a:ext cx="1246188" cy="0"/>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Gerade Verbindung 257"/>
          <p:cNvCxnSpPr/>
          <p:nvPr>
            <p:custDataLst>
              <p:tags r:id="rId45"/>
            </p:custDataLst>
          </p:nvPr>
        </p:nvCxnSpPr>
        <p:spPr bwMode="gray">
          <a:xfrm>
            <a:off x="2289176" y="3794125"/>
            <a:ext cx="1489075" cy="0"/>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38" name="Freihandform: Form 37">
            <a:extLst>
              <a:ext uri="{FF2B5EF4-FFF2-40B4-BE49-F238E27FC236}">
                <a16:creationId xmlns:a16="http://schemas.microsoft.com/office/drawing/2014/main" xmlns="" id="{6384A004-1626-4DC2-8CB5-9738AD755131}"/>
              </a:ext>
            </a:extLst>
          </p:cNvPr>
          <p:cNvSpPr/>
          <p:nvPr>
            <p:custDataLst>
              <p:tags r:id="rId46"/>
            </p:custDataLst>
          </p:nvPr>
        </p:nvSpPr>
        <p:spPr bwMode="auto">
          <a:xfrm>
            <a:off x="3463925" y="5006975"/>
            <a:ext cx="96839" cy="146051"/>
          </a:xfrm>
          <a:custGeom>
            <a:avLst/>
            <a:gdLst/>
            <a:ahLst/>
            <a:cxnLst/>
            <a:rect l="0" t="0" r="0" b="0"/>
            <a:pathLst>
              <a:path w="96839" h="146051">
                <a:moveTo>
                  <a:pt x="96838" y="0"/>
                </a:moveTo>
                <a:lnTo>
                  <a:pt x="57150" y="146050"/>
                </a:lnTo>
                <a:lnTo>
                  <a:pt x="0" y="146050"/>
                </a:lnTo>
                <a:lnTo>
                  <a:pt x="39688"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47" name="Freihandform: Form 46">
            <a:extLst>
              <a:ext uri="{FF2B5EF4-FFF2-40B4-BE49-F238E27FC236}">
                <a16:creationId xmlns:a16="http://schemas.microsoft.com/office/drawing/2014/main" xmlns="" id="{548A6691-C5B9-4B26-97D8-D366FFC0D3B0}"/>
              </a:ext>
            </a:extLst>
          </p:cNvPr>
          <p:cNvSpPr/>
          <p:nvPr>
            <p:custDataLst>
              <p:tags r:id="rId47"/>
            </p:custDataLst>
          </p:nvPr>
        </p:nvSpPr>
        <p:spPr bwMode="auto">
          <a:xfrm>
            <a:off x="6502400" y="5006975"/>
            <a:ext cx="96839" cy="146051"/>
          </a:xfrm>
          <a:custGeom>
            <a:avLst/>
            <a:gdLst/>
            <a:ahLst/>
            <a:cxnLst/>
            <a:rect l="0" t="0" r="0" b="0"/>
            <a:pathLst>
              <a:path w="96839" h="146051">
                <a:moveTo>
                  <a:pt x="96838" y="0"/>
                </a:moveTo>
                <a:lnTo>
                  <a:pt x="57150" y="146050"/>
                </a:lnTo>
                <a:lnTo>
                  <a:pt x="0" y="146050"/>
                </a:lnTo>
                <a:lnTo>
                  <a:pt x="39688"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53" name="Freihandform: Form 52">
            <a:extLst>
              <a:ext uri="{FF2B5EF4-FFF2-40B4-BE49-F238E27FC236}">
                <a16:creationId xmlns:a16="http://schemas.microsoft.com/office/drawing/2014/main" xmlns="" id="{6E0A1193-ADDD-4FDA-90CE-F4EFF54D6490}"/>
              </a:ext>
            </a:extLst>
          </p:cNvPr>
          <p:cNvSpPr/>
          <p:nvPr>
            <p:custDataLst>
              <p:tags r:id="rId48"/>
            </p:custDataLst>
          </p:nvPr>
        </p:nvSpPr>
        <p:spPr bwMode="auto">
          <a:xfrm>
            <a:off x="7793038" y="5006975"/>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44" name="Freihandform: Form 43">
            <a:extLst>
              <a:ext uri="{FF2B5EF4-FFF2-40B4-BE49-F238E27FC236}">
                <a16:creationId xmlns:a16="http://schemas.microsoft.com/office/drawing/2014/main" xmlns="" id="{2A426489-C625-4E4A-8F55-F14DE311E5DF}"/>
              </a:ext>
            </a:extLst>
          </p:cNvPr>
          <p:cNvSpPr/>
          <p:nvPr>
            <p:custDataLst>
              <p:tags r:id="rId49"/>
            </p:custDataLst>
          </p:nvPr>
        </p:nvSpPr>
        <p:spPr bwMode="auto">
          <a:xfrm>
            <a:off x="6022975" y="5006975"/>
            <a:ext cx="96839" cy="146051"/>
          </a:xfrm>
          <a:custGeom>
            <a:avLst/>
            <a:gdLst/>
            <a:ahLst/>
            <a:cxnLst/>
            <a:rect l="0" t="0" r="0" b="0"/>
            <a:pathLst>
              <a:path w="96839" h="146051">
                <a:moveTo>
                  <a:pt x="96838" y="0"/>
                </a:moveTo>
                <a:lnTo>
                  <a:pt x="57150" y="146050"/>
                </a:lnTo>
                <a:lnTo>
                  <a:pt x="0" y="146050"/>
                </a:lnTo>
                <a:lnTo>
                  <a:pt x="39688"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50" name="Freihandform: Form 49">
            <a:extLst>
              <a:ext uri="{FF2B5EF4-FFF2-40B4-BE49-F238E27FC236}">
                <a16:creationId xmlns:a16="http://schemas.microsoft.com/office/drawing/2014/main" xmlns="" id="{38BCD4CB-E6C9-4435-B568-2577799EF686}"/>
              </a:ext>
            </a:extLst>
          </p:cNvPr>
          <p:cNvSpPr/>
          <p:nvPr>
            <p:custDataLst>
              <p:tags r:id="rId50"/>
            </p:custDataLst>
          </p:nvPr>
        </p:nvSpPr>
        <p:spPr bwMode="auto">
          <a:xfrm>
            <a:off x="6716713" y="5006975"/>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1" name="Freihandform: Form 40">
            <a:extLst>
              <a:ext uri="{FF2B5EF4-FFF2-40B4-BE49-F238E27FC236}">
                <a16:creationId xmlns:a16="http://schemas.microsoft.com/office/drawing/2014/main" xmlns="" id="{5EF01D67-587B-4E57-BE0D-DC5E1A4170F3}"/>
              </a:ext>
            </a:extLst>
          </p:cNvPr>
          <p:cNvSpPr/>
          <p:nvPr>
            <p:custDataLst>
              <p:tags r:id="rId51"/>
            </p:custDataLst>
          </p:nvPr>
        </p:nvSpPr>
        <p:spPr bwMode="auto">
          <a:xfrm>
            <a:off x="6080125" y="5006975"/>
            <a:ext cx="39689" cy="146051"/>
          </a:xfrm>
          <a:custGeom>
            <a:avLst/>
            <a:gdLst/>
            <a:ahLst/>
            <a:cxnLst/>
            <a:rect l="0" t="0" r="0" b="0"/>
            <a:pathLst>
              <a:path w="39689" h="146051">
                <a:moveTo>
                  <a:pt x="39688"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6" name="Freihandform: Form 35">
            <a:extLst>
              <a:ext uri="{FF2B5EF4-FFF2-40B4-BE49-F238E27FC236}">
                <a16:creationId xmlns:a16="http://schemas.microsoft.com/office/drawing/2014/main" xmlns="" id="{27391468-FE8B-4956-9A1E-1A6A8F2444C3}"/>
              </a:ext>
            </a:extLst>
          </p:cNvPr>
          <p:cNvSpPr/>
          <p:nvPr>
            <p:custDataLst>
              <p:tags r:id="rId52"/>
            </p:custDataLst>
          </p:nvPr>
        </p:nvSpPr>
        <p:spPr bwMode="auto">
          <a:xfrm>
            <a:off x="3463925" y="5006975"/>
            <a:ext cx="39689" cy="146051"/>
          </a:xfrm>
          <a:custGeom>
            <a:avLst/>
            <a:gdLst/>
            <a:ahLst/>
            <a:cxnLst/>
            <a:rect l="0" t="0" r="0" b="0"/>
            <a:pathLst>
              <a:path w="39689" h="146051">
                <a:moveTo>
                  <a:pt x="39688"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8" name="Freihandform: Form 47">
            <a:extLst>
              <a:ext uri="{FF2B5EF4-FFF2-40B4-BE49-F238E27FC236}">
                <a16:creationId xmlns:a16="http://schemas.microsoft.com/office/drawing/2014/main" xmlns="" id="{D9943D15-C302-4E82-981F-8BE49A75F049}"/>
              </a:ext>
            </a:extLst>
          </p:cNvPr>
          <p:cNvSpPr/>
          <p:nvPr>
            <p:custDataLst>
              <p:tags r:id="rId53"/>
            </p:custDataLst>
          </p:nvPr>
        </p:nvSpPr>
        <p:spPr bwMode="auto">
          <a:xfrm>
            <a:off x="6716713" y="5006975"/>
            <a:ext cx="39688" cy="146051"/>
          </a:xfrm>
          <a:custGeom>
            <a:avLst/>
            <a:gdLst/>
            <a:ahLst/>
            <a:cxnLst/>
            <a:rect l="0" t="0" r="0" b="0"/>
            <a:pathLst>
              <a:path w="39688" h="146051">
                <a:moveTo>
                  <a:pt x="39687"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Freihandform: Form 51">
            <a:extLst>
              <a:ext uri="{FF2B5EF4-FFF2-40B4-BE49-F238E27FC236}">
                <a16:creationId xmlns:a16="http://schemas.microsoft.com/office/drawing/2014/main" xmlns="" id="{E73D0370-3321-40BF-9DD8-D105F9DA48B8}"/>
              </a:ext>
            </a:extLst>
          </p:cNvPr>
          <p:cNvSpPr/>
          <p:nvPr>
            <p:custDataLst>
              <p:tags r:id="rId54"/>
            </p:custDataLst>
          </p:nvPr>
        </p:nvSpPr>
        <p:spPr bwMode="auto">
          <a:xfrm>
            <a:off x="7850188" y="5006975"/>
            <a:ext cx="39688" cy="146051"/>
          </a:xfrm>
          <a:custGeom>
            <a:avLst/>
            <a:gdLst/>
            <a:ahLst/>
            <a:cxnLst/>
            <a:rect l="0" t="0" r="0" b="0"/>
            <a:pathLst>
              <a:path w="39688" h="146051">
                <a:moveTo>
                  <a:pt x="39687"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7" name="Freihandform: Form 36">
            <a:extLst>
              <a:ext uri="{FF2B5EF4-FFF2-40B4-BE49-F238E27FC236}">
                <a16:creationId xmlns:a16="http://schemas.microsoft.com/office/drawing/2014/main" xmlns="" id="{5CB5BBD2-3EAE-4F2E-A44B-2894E3549D82}"/>
              </a:ext>
            </a:extLst>
          </p:cNvPr>
          <p:cNvSpPr/>
          <p:nvPr>
            <p:custDataLst>
              <p:tags r:id="rId55"/>
            </p:custDataLst>
          </p:nvPr>
        </p:nvSpPr>
        <p:spPr bwMode="auto">
          <a:xfrm>
            <a:off x="3521075" y="5006975"/>
            <a:ext cx="39689" cy="146051"/>
          </a:xfrm>
          <a:custGeom>
            <a:avLst/>
            <a:gdLst/>
            <a:ahLst/>
            <a:cxnLst/>
            <a:rect l="0" t="0" r="0" b="0"/>
            <a:pathLst>
              <a:path w="39689" h="146051">
                <a:moveTo>
                  <a:pt x="39688"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Freihandform: Form 39">
            <a:extLst>
              <a:ext uri="{FF2B5EF4-FFF2-40B4-BE49-F238E27FC236}">
                <a16:creationId xmlns:a16="http://schemas.microsoft.com/office/drawing/2014/main" xmlns="" id="{67DF6496-9AEB-42A0-82CC-FD58261044DE}"/>
              </a:ext>
            </a:extLst>
          </p:cNvPr>
          <p:cNvSpPr/>
          <p:nvPr>
            <p:custDataLst>
              <p:tags r:id="rId56"/>
            </p:custDataLst>
          </p:nvPr>
        </p:nvSpPr>
        <p:spPr bwMode="auto">
          <a:xfrm>
            <a:off x="6022975" y="5006975"/>
            <a:ext cx="39689" cy="146051"/>
          </a:xfrm>
          <a:custGeom>
            <a:avLst/>
            <a:gdLst/>
            <a:ahLst/>
            <a:cxnLst/>
            <a:rect l="0" t="0" r="0" b="0"/>
            <a:pathLst>
              <a:path w="39689" h="146051">
                <a:moveTo>
                  <a:pt x="39688"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5" name="Freihandform: Form 44">
            <a:extLst>
              <a:ext uri="{FF2B5EF4-FFF2-40B4-BE49-F238E27FC236}">
                <a16:creationId xmlns:a16="http://schemas.microsoft.com/office/drawing/2014/main" xmlns="" id="{4B506C18-22B3-4766-AA38-61D22C4FCF13}"/>
              </a:ext>
            </a:extLst>
          </p:cNvPr>
          <p:cNvSpPr/>
          <p:nvPr>
            <p:custDataLst>
              <p:tags r:id="rId57"/>
            </p:custDataLst>
          </p:nvPr>
        </p:nvSpPr>
        <p:spPr bwMode="auto">
          <a:xfrm>
            <a:off x="6502400" y="5006975"/>
            <a:ext cx="39689" cy="146051"/>
          </a:xfrm>
          <a:custGeom>
            <a:avLst/>
            <a:gdLst/>
            <a:ahLst/>
            <a:cxnLst/>
            <a:rect l="0" t="0" r="0" b="0"/>
            <a:pathLst>
              <a:path w="39689" h="146051">
                <a:moveTo>
                  <a:pt x="39688"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6" name="Freihandform: Form 45">
            <a:extLst>
              <a:ext uri="{FF2B5EF4-FFF2-40B4-BE49-F238E27FC236}">
                <a16:creationId xmlns:a16="http://schemas.microsoft.com/office/drawing/2014/main" xmlns="" id="{D214F789-B71D-44F7-8B60-F35C11800543}"/>
              </a:ext>
            </a:extLst>
          </p:cNvPr>
          <p:cNvSpPr/>
          <p:nvPr>
            <p:custDataLst>
              <p:tags r:id="rId58"/>
            </p:custDataLst>
          </p:nvPr>
        </p:nvSpPr>
        <p:spPr bwMode="auto">
          <a:xfrm>
            <a:off x="6559550" y="5006975"/>
            <a:ext cx="39689" cy="146051"/>
          </a:xfrm>
          <a:custGeom>
            <a:avLst/>
            <a:gdLst/>
            <a:ahLst/>
            <a:cxnLst/>
            <a:rect l="0" t="0" r="0" b="0"/>
            <a:pathLst>
              <a:path w="39689" h="146051">
                <a:moveTo>
                  <a:pt x="39688"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9" name="Freihandform: Form 48">
            <a:extLst>
              <a:ext uri="{FF2B5EF4-FFF2-40B4-BE49-F238E27FC236}">
                <a16:creationId xmlns:a16="http://schemas.microsoft.com/office/drawing/2014/main" xmlns="" id="{BC246DFB-A3BD-49E3-BCA1-5A6489FCB6A4}"/>
              </a:ext>
            </a:extLst>
          </p:cNvPr>
          <p:cNvSpPr/>
          <p:nvPr>
            <p:custDataLst>
              <p:tags r:id="rId59"/>
            </p:custDataLst>
          </p:nvPr>
        </p:nvSpPr>
        <p:spPr bwMode="auto">
          <a:xfrm>
            <a:off x="6773863" y="5006975"/>
            <a:ext cx="39688" cy="146051"/>
          </a:xfrm>
          <a:custGeom>
            <a:avLst/>
            <a:gdLst/>
            <a:ahLst/>
            <a:cxnLst/>
            <a:rect l="0" t="0" r="0" b="0"/>
            <a:pathLst>
              <a:path w="39688" h="146051">
                <a:moveTo>
                  <a:pt x="39687"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1" name="Freihandform: Form 50">
            <a:extLst>
              <a:ext uri="{FF2B5EF4-FFF2-40B4-BE49-F238E27FC236}">
                <a16:creationId xmlns:a16="http://schemas.microsoft.com/office/drawing/2014/main" xmlns="" id="{6DB21DCC-9F3D-4E05-934C-2F18C2E226A2}"/>
              </a:ext>
            </a:extLst>
          </p:cNvPr>
          <p:cNvSpPr/>
          <p:nvPr>
            <p:custDataLst>
              <p:tags r:id="rId60"/>
            </p:custDataLst>
          </p:nvPr>
        </p:nvSpPr>
        <p:spPr bwMode="auto">
          <a:xfrm>
            <a:off x="7793038" y="5006975"/>
            <a:ext cx="39688" cy="146051"/>
          </a:xfrm>
          <a:custGeom>
            <a:avLst/>
            <a:gdLst/>
            <a:ahLst/>
            <a:cxnLst/>
            <a:rect l="0" t="0" r="0" b="0"/>
            <a:pathLst>
              <a:path w="39688" h="146051">
                <a:moveTo>
                  <a:pt x="39687" y="0"/>
                </a:moveTo>
                <a:lnTo>
                  <a:pt x="0" y="146050"/>
                </a:lnTo>
              </a:path>
            </a:pathLst>
          </a:cu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7" name="Textplatzhalter 2"/>
          <p:cNvSpPr>
            <a:spLocks noGrp="1"/>
          </p:cNvSpPr>
          <p:nvPr>
            <p:custDataLst>
              <p:tags r:id="rId61"/>
            </p:custDataLst>
          </p:nvPr>
        </p:nvSpPr>
        <p:spPr bwMode="auto">
          <a:xfrm>
            <a:off x="4151312" y="5419725"/>
            <a:ext cx="1144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9CFF4724-E041-4174-B297-E2C133DF499D}" type="datetime'''Ei''''''''n''w''''''''''''oh''''ner ''i''''''n 1.0''''00'''">
              <a:rPr lang="de-DE" altLang="en-US" sz="1000" b="1" smtClean="0">
                <a:cs typeface="Arial" panose="020B0604020202020204" pitchFamily="34" charset="0"/>
              </a:rPr>
              <a:pPr/>
              <a:t>Einwohner in 1.000</a:t>
            </a:fld>
            <a:endParaRPr lang="de-DE" sz="1000" b="1" dirty="0">
              <a:latin typeface="Arial" panose="020B0604020202020204" pitchFamily="34" charset="0"/>
              <a:cs typeface="Arial" panose="020B0604020202020204" pitchFamily="34" charset="0"/>
              <a:sym typeface="Arial" panose="020B0604020202020204" pitchFamily="34" charset="0"/>
            </a:endParaRPr>
          </a:p>
        </p:txBody>
      </p:sp>
      <p:sp>
        <p:nvSpPr>
          <p:cNvPr id="263" name="Textplatzhalter 2">
            <a:extLst>
              <a:ext uri="{FF2B5EF4-FFF2-40B4-BE49-F238E27FC236}">
                <a16:creationId xmlns:a16="http://schemas.microsoft.com/office/drawing/2014/main" xmlns="" id="{A24EF2A6-652E-4AD6-A950-6D466D315FD2}"/>
              </a:ext>
            </a:extLst>
          </p:cNvPr>
          <p:cNvSpPr>
            <a:spLocks noGrp="1"/>
          </p:cNvSpPr>
          <p:nvPr>
            <p:custDataLst>
              <p:tags r:id="rId62"/>
            </p:custDataLst>
          </p:nvPr>
        </p:nvSpPr>
        <p:spPr bwMode="gray">
          <a:xfrm>
            <a:off x="6881813" y="3611563"/>
            <a:ext cx="2190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6BB8BA37-BBDD-4E51-92D3-455ED9040EB1}" type="datetime'''''''''''''''''''H''''H'''''''''''''''''''''''''''''">
              <a:rPr lang="de-DE" altLang="en-US" sz="1000" smtClean="0">
                <a:cs typeface="Arial" panose="020B0604020202020204" pitchFamily="34" charset="0"/>
              </a:rPr>
              <a:pPr lvl="1">
                <a:spcBef>
                  <a:spcPct val="0"/>
                </a:spcBef>
                <a:spcAft>
                  <a:spcPct val="0"/>
                </a:spcAft>
              </a:pPr>
              <a:t>HH</a:t>
            </a:fld>
            <a:endParaRPr lang="de-DE" sz="1000" dirty="0">
              <a:latin typeface="Arial" panose="020B0604020202020204" pitchFamily="34" charset="0"/>
              <a:cs typeface="Arial" panose="020B0604020202020204" pitchFamily="34" charset="0"/>
              <a:sym typeface="Arial" panose="020B0604020202020204" pitchFamily="34" charset="0"/>
            </a:endParaRPr>
          </a:p>
        </p:txBody>
      </p:sp>
      <p:sp>
        <p:nvSpPr>
          <p:cNvPr id="224" name="Textplatzhalter 2">
            <a:extLst>
              <a:ext uri="{FF2B5EF4-FFF2-40B4-BE49-F238E27FC236}">
                <a16:creationId xmlns:a16="http://schemas.microsoft.com/office/drawing/2014/main" xmlns="" id="{4F16CD42-7ACD-4C58-A990-EA79D928DE67}"/>
              </a:ext>
            </a:extLst>
          </p:cNvPr>
          <p:cNvSpPr>
            <a:spLocks noGrp="1"/>
          </p:cNvSpPr>
          <p:nvPr>
            <p:custDataLst>
              <p:tags r:id="rId63"/>
            </p:custDataLst>
          </p:nvPr>
        </p:nvSpPr>
        <p:spPr bwMode="gray">
          <a:xfrm>
            <a:off x="6453189" y="3968750"/>
            <a:ext cx="1190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DD4E4B34-D4E1-467F-B235-67EF83EB07E5}" type="datetime'''''''''''''''''''''''K'''''''''">
              <a:rPr lang="de-DE" altLang="en-US" sz="1000" smtClean="0">
                <a:cs typeface="Arial" panose="020B0604020202020204" pitchFamily="34" charset="0"/>
                <a:sym typeface="+mn-lt"/>
              </a:rPr>
              <a:pPr lvl="1">
                <a:spcBef>
                  <a:spcPct val="0"/>
                </a:spcBef>
                <a:spcAft>
                  <a:spcPct val="0"/>
                </a:spcAft>
              </a:pPr>
              <a:t>K</a:t>
            </a:fld>
            <a:endParaRPr lang="de-DE" sz="1000" dirty="0">
              <a:cs typeface="Arial" panose="020B0604020202020204" pitchFamily="34" charset="0"/>
              <a:sym typeface="+mn-lt"/>
            </a:endParaRPr>
          </a:p>
        </p:txBody>
      </p:sp>
      <p:sp>
        <p:nvSpPr>
          <p:cNvPr id="337" name="Textplatzhalter 2">
            <a:extLst>
              <a:ext uri="{FF2B5EF4-FFF2-40B4-BE49-F238E27FC236}">
                <a16:creationId xmlns:a16="http://schemas.microsoft.com/office/drawing/2014/main" xmlns="" id="{0103E948-768E-4F00-A0BE-A812A41D6456}"/>
              </a:ext>
            </a:extLst>
          </p:cNvPr>
          <p:cNvSpPr>
            <a:spLocks noGrp="1"/>
          </p:cNvSpPr>
          <p:nvPr>
            <p:custDataLst>
              <p:tags r:id="rId64"/>
            </p:custDataLst>
          </p:nvPr>
        </p:nvSpPr>
        <p:spPr bwMode="gray">
          <a:xfrm>
            <a:off x="8247063" y="3032125"/>
            <a:ext cx="119063"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B00C5724-DAED-4888-88D2-247CAD2D8C47}" type="datetime'''''''''''''B'''''''''''''''''">
              <a:rPr lang="de-DE" altLang="en-US" sz="1000" smtClean="0">
                <a:cs typeface="Arial" panose="020B0604020202020204" pitchFamily="34" charset="0"/>
              </a:rPr>
              <a:pPr lvl="1">
                <a:spcBef>
                  <a:spcPct val="0"/>
                </a:spcBef>
                <a:spcAft>
                  <a:spcPct val="0"/>
                </a:spcAft>
              </a:pPr>
              <a:t>B</a:t>
            </a:fld>
            <a:endParaRPr lang="de-DE" sz="1000" dirty="0">
              <a:latin typeface="Arial" panose="020B0604020202020204" pitchFamily="34" charset="0"/>
              <a:cs typeface="Arial" panose="020B0604020202020204" pitchFamily="34" charset="0"/>
              <a:sym typeface="Arial" panose="020B0604020202020204" pitchFamily="34" charset="0"/>
            </a:endParaRPr>
          </a:p>
        </p:txBody>
      </p:sp>
      <p:sp>
        <p:nvSpPr>
          <p:cNvPr id="347" name="Textplatzhalter 2">
            <a:extLst>
              <a:ext uri="{FF2B5EF4-FFF2-40B4-BE49-F238E27FC236}">
                <a16:creationId xmlns:a16="http://schemas.microsoft.com/office/drawing/2014/main" xmlns="" id="{24EF229C-A4BE-49C5-B522-87AA715BADAF}"/>
              </a:ext>
            </a:extLst>
          </p:cNvPr>
          <p:cNvSpPr>
            <a:spLocks noGrp="1"/>
          </p:cNvSpPr>
          <p:nvPr>
            <p:custDataLst>
              <p:tags r:id="rId65"/>
            </p:custDataLst>
          </p:nvPr>
        </p:nvSpPr>
        <p:spPr bwMode="gray">
          <a:xfrm>
            <a:off x="7537450" y="1792288"/>
            <a:ext cx="323850"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r>
              <a:rPr lang="de-DE" altLang="en-US" sz="1000" dirty="0">
                <a:cs typeface="Arial" panose="020B0604020202020204" pitchFamily="34" charset="0"/>
              </a:rPr>
              <a:t>Wien</a:t>
            </a:r>
            <a:endParaRPr lang="de-DE" sz="1000" dirty="0">
              <a:latin typeface="Arial" panose="020B0604020202020204" pitchFamily="34" charset="0"/>
              <a:cs typeface="Arial" panose="020B0604020202020204" pitchFamily="34" charset="0"/>
              <a:sym typeface="Arial" panose="020B0604020202020204" pitchFamily="34" charset="0"/>
            </a:endParaRPr>
          </a:p>
        </p:txBody>
      </p:sp>
      <p:sp>
        <p:nvSpPr>
          <p:cNvPr id="521" name="Textplatzhalter 2">
            <a:extLst>
              <a:ext uri="{FF2B5EF4-FFF2-40B4-BE49-F238E27FC236}">
                <a16:creationId xmlns:a16="http://schemas.microsoft.com/office/drawing/2014/main" xmlns="" id="{0E434FFB-3052-4150-940D-437C2A6A8DBB}"/>
              </a:ext>
            </a:extLst>
          </p:cNvPr>
          <p:cNvSpPr>
            <a:spLocks noGrp="1"/>
          </p:cNvSpPr>
          <p:nvPr>
            <p:custDataLst>
              <p:tags r:id="rId66"/>
            </p:custDataLst>
          </p:nvPr>
        </p:nvSpPr>
        <p:spPr bwMode="gray">
          <a:xfrm>
            <a:off x="6751638" y="2968625"/>
            <a:ext cx="1412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4D668B96-037A-4916-84E3-5636409471D2}" type="datetime'''''''''''''''''''''''''''''''''''''''''''''''''''''M'''''''''">
              <a:rPr lang="de-DE" altLang="en-US" sz="1000" smtClean="0">
                <a:cs typeface="Arial" panose="020B0604020202020204" pitchFamily="34" charset="0"/>
                <a:sym typeface="+mn-lt"/>
              </a:rPr>
              <a:pPr lvl="1">
                <a:spcBef>
                  <a:spcPct val="0"/>
                </a:spcBef>
                <a:spcAft>
                  <a:spcPct val="0"/>
                </a:spcAft>
              </a:pPr>
              <a:t>M</a:t>
            </a:fld>
            <a:endParaRPr lang="de-DE" sz="1000" dirty="0">
              <a:cs typeface="Arial" panose="020B0604020202020204" pitchFamily="34" charset="0"/>
              <a:sym typeface="+mn-lt"/>
            </a:endParaRPr>
          </a:p>
        </p:txBody>
      </p:sp>
      <p:sp>
        <p:nvSpPr>
          <p:cNvPr id="2" name="Titel 1"/>
          <p:cNvSpPr>
            <a:spLocks noGrp="1"/>
          </p:cNvSpPr>
          <p:nvPr>
            <p:ph type="title"/>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Die Angebotsdichte des ÖPNV in Wien liegt auf einem deutlich höheren Niveau als in den deutschen Städten</a:t>
            </a:r>
          </a:p>
        </p:txBody>
      </p:sp>
      <p:sp>
        <p:nvSpPr>
          <p:cNvPr id="3" name="Inhaltsplatzhalter 2"/>
          <p:cNvSpPr>
            <a:spLocks noGrp="1"/>
          </p:cNvSpPr>
          <p:nvPr>
            <p:ph idx="1"/>
          </p:nvPr>
        </p:nvSpPr>
        <p:spPr>
          <a:xfrm>
            <a:off x="451757" y="1083557"/>
            <a:ext cx="7692117" cy="292805"/>
          </a:xfrm>
        </p:spPr>
        <p:txBody>
          <a:bodyPr/>
          <a:lstStyle/>
          <a:p>
            <a:r>
              <a:rPr lang="de-DE" dirty="0">
                <a:latin typeface="Arial" panose="020B0604020202020204" pitchFamily="34" charset="0"/>
                <a:cs typeface="Arial" panose="020B0604020202020204" pitchFamily="34" charset="0"/>
                <a:sym typeface="Arial" panose="020B0604020202020204" pitchFamily="34" charset="0"/>
              </a:rPr>
              <a:t>Angebotsdichte bezogen auf Siedlungsfläche (geschwindigkeitsgewichtet)</a:t>
            </a:r>
          </a:p>
        </p:txBody>
      </p:sp>
      <p:sp>
        <p:nvSpPr>
          <p:cNvPr id="4" name="Foliennummernplatzhalter 3"/>
          <p:cNvSpPr>
            <a:spLocks noGrp="1"/>
          </p:cNvSpPr>
          <p:nvPr>
            <p:ph type="sldNum" sz="quarter" idx="11"/>
          </p:nvPr>
        </p:nvSpPr>
        <p:spPr>
          <a:xfrm>
            <a:off x="519428" y="6295779"/>
            <a:ext cx="227626" cy="246221"/>
          </a:xfrm>
        </p:spPr>
        <p:txBody>
          <a:bodyPr/>
          <a:lstStyle/>
          <a:p>
            <a:fld id="{CD21EFEB-933F-4F46-A5AD-B6372944D9E5}" type="slidenum">
              <a:rPr lang="de-DE" smtClean="0">
                <a:latin typeface="Arial" panose="020B0604020202020204" pitchFamily="34" charset="0"/>
                <a:cs typeface="Arial" panose="020B0604020202020204" pitchFamily="34" charset="0"/>
                <a:sym typeface="Arial" panose="020B0604020202020204" pitchFamily="34" charset="0"/>
              </a:rPr>
              <a:pPr/>
              <a:t>32</a:t>
            </a:fld>
            <a:endParaRPr lang="de-DE" dirty="0">
              <a:latin typeface="Arial" panose="020B0604020202020204" pitchFamily="34" charset="0"/>
              <a:cs typeface="Arial" panose="020B0604020202020204" pitchFamily="34" charset="0"/>
              <a:sym typeface="Arial" panose="020B0604020202020204" pitchFamily="34" charset="0"/>
            </a:endParaRPr>
          </a:p>
        </p:txBody>
      </p:sp>
      <p:cxnSp>
        <p:nvCxnSpPr>
          <p:cNvPr id="114" name="Gerade Verbindung 113"/>
          <p:cNvCxnSpPr>
            <a:cxnSpLocks/>
          </p:cNvCxnSpPr>
          <p:nvPr>
            <p:custDataLst>
              <p:tags r:id="rId67"/>
            </p:custDataLst>
          </p:nvPr>
        </p:nvCxnSpPr>
        <p:spPr>
          <a:xfrm>
            <a:off x="540196" y="5757748"/>
            <a:ext cx="8064054" cy="1"/>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15" name="Textfeld 114"/>
          <p:cNvSpPr txBox="1"/>
          <p:nvPr>
            <p:custDataLst>
              <p:tags r:id="rId68"/>
            </p:custDataLst>
          </p:nvPr>
        </p:nvSpPr>
        <p:spPr>
          <a:xfrm>
            <a:off x="451758" y="5893473"/>
            <a:ext cx="8165479" cy="215444"/>
          </a:xfrm>
          <a:prstGeom prst="rect">
            <a:avLst/>
          </a:prstGeom>
          <a:noFill/>
        </p:spPr>
        <p:txBody>
          <a:bodyPr wrap="square" rtlCol="0">
            <a:spAutoFit/>
          </a:bodyPr>
          <a:lstStyle/>
          <a:p>
            <a:pPr marL="0" lvl="1"/>
            <a:r>
              <a:rPr lang="de-DE" sz="800" dirty="0">
                <a:latin typeface="Arial" panose="020B0604020202020204" pitchFamily="34" charset="0"/>
                <a:cs typeface="Arial" panose="020B0604020202020204" pitchFamily="34" charset="0"/>
                <a:sym typeface="Arial" panose="020B0604020202020204" pitchFamily="34" charset="0"/>
              </a:rPr>
              <a:t>Quelle: </a:t>
            </a:r>
            <a:r>
              <a:rPr lang="de-DE" sz="800" dirty="0">
                <a:latin typeface="Arial" panose="020B0604020202020204" pitchFamily="34" charset="0"/>
                <a:cs typeface="Arial" panose="020B0604020202020204" pitchFamily="34" charset="0"/>
              </a:rPr>
              <a:t>Haltestellenabfahrten (civity 2019, Wiener Linien 2019), Einwohner (Destatis 2017, Statistik Austria 2018) , Fläche (Destatis 2017, Statistik Austria 2018)</a:t>
            </a:r>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116" name="Rectangle 7"/>
          <p:cNvSpPr>
            <a:spLocks noChangeArrowheads="1"/>
          </p:cNvSpPr>
          <p:nvPr/>
        </p:nvSpPr>
        <p:spPr bwMode="auto">
          <a:xfrm rot="16200000">
            <a:off x="-506845" y="3312472"/>
            <a:ext cx="2198038" cy="246221"/>
          </a:xfrm>
          <a:prstGeom prst="rect">
            <a:avLst/>
          </a:prstGeom>
          <a:noFill/>
          <a:ln w="9525">
            <a:noFill/>
            <a:miter lim="800000"/>
            <a:headEnd/>
            <a:tailEnd/>
          </a:ln>
          <a:effectLst/>
        </p:spPr>
        <p:txBody>
          <a:bodyPr wrap="none" anchor="ctr">
            <a:spAutoFit/>
          </a:bodyPr>
          <a:lstStyle/>
          <a:p>
            <a:pPr marL="190500" lvl="2" indent="-187325" algn="ctr">
              <a:spcBef>
                <a:spcPct val="40000"/>
              </a:spcBef>
              <a:buClr>
                <a:srgbClr val="868889"/>
              </a:buClr>
              <a:buSzPct val="90000"/>
              <a:buFont typeface="Wingdings 2" pitchFamily="18" charset="2"/>
              <a:buNone/>
            </a:pPr>
            <a:r>
              <a:rPr lang="de-DE" sz="1000" b="1" dirty="0">
                <a:solidFill>
                  <a:prstClr val="black"/>
                </a:solidFill>
                <a:latin typeface="Arial" panose="020B0604020202020204" pitchFamily="34" charset="0"/>
                <a:cs typeface="Arial" panose="020B0604020202020204" pitchFamily="34" charset="0"/>
                <a:sym typeface="Arial" panose="020B0604020202020204" pitchFamily="34" charset="0"/>
              </a:rPr>
              <a:t>Haltestellenabfahrten pro ha </a:t>
            </a:r>
            <a:r>
              <a:rPr lang="de-DE" sz="1000" b="1" dirty="0" err="1">
                <a:solidFill>
                  <a:prstClr val="black"/>
                </a:solidFill>
                <a:latin typeface="Arial" panose="020B0604020202020204" pitchFamily="34" charset="0"/>
                <a:cs typeface="Arial" panose="020B0604020202020204" pitchFamily="34" charset="0"/>
                <a:sym typeface="Arial" panose="020B0604020202020204" pitchFamily="34" charset="0"/>
              </a:rPr>
              <a:t>SuV</a:t>
            </a:r>
            <a:endParaRPr lang="de-DE" sz="10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61" name="Textfeld 160"/>
          <p:cNvSpPr txBox="1"/>
          <p:nvPr/>
        </p:nvSpPr>
        <p:spPr>
          <a:xfrm>
            <a:off x="1040904" y="4900518"/>
            <a:ext cx="1586880" cy="169277"/>
          </a:xfrm>
          <a:prstGeom prst="rect">
            <a:avLst/>
          </a:prstGeom>
          <a:noFill/>
        </p:spPr>
        <p:txBody>
          <a:bodyPr wrap="square" rtlCol="0">
            <a:spAutoFit/>
          </a:bodyPr>
          <a:lstStyle/>
          <a:p>
            <a:r>
              <a:rPr lang="de-DE" sz="500" dirty="0">
                <a:solidFill>
                  <a:schemeClr val="accent1"/>
                </a:solidFill>
                <a:latin typeface="Arial" panose="020B0604020202020204" pitchFamily="34" charset="0"/>
                <a:cs typeface="Arial" panose="020B0604020202020204" pitchFamily="34" charset="0"/>
                <a:sym typeface="Arial" panose="020B0604020202020204" pitchFamily="34" charset="0"/>
              </a:rPr>
              <a:t>© </a:t>
            </a:r>
            <a:r>
              <a:rPr lang="de-DE" sz="500" dirty="0" err="1">
                <a:solidFill>
                  <a:schemeClr val="accent1"/>
                </a:solidFill>
                <a:latin typeface="Arial" panose="020B0604020202020204" pitchFamily="34" charset="0"/>
                <a:cs typeface="Arial" panose="020B0604020202020204" pitchFamily="34" charset="0"/>
                <a:sym typeface="Arial" panose="020B0604020202020204" pitchFamily="34" charset="0"/>
              </a:rPr>
              <a:t>civity</a:t>
            </a:r>
            <a:r>
              <a:rPr lang="de-DE" sz="500" dirty="0">
                <a:solidFill>
                  <a:schemeClr val="accent1"/>
                </a:solidFill>
                <a:latin typeface="Arial" panose="020B0604020202020204" pitchFamily="34" charset="0"/>
                <a:cs typeface="Arial" panose="020B0604020202020204" pitchFamily="34" charset="0"/>
                <a:sym typeface="Arial" panose="020B0604020202020204" pitchFamily="34" charset="0"/>
              </a:rPr>
              <a:t> 2019 </a:t>
            </a:r>
          </a:p>
        </p:txBody>
      </p:sp>
      <p:grpSp>
        <p:nvGrpSpPr>
          <p:cNvPr id="293" name="Gruppieren 292">
            <a:extLst>
              <a:ext uri="{FF2B5EF4-FFF2-40B4-BE49-F238E27FC236}">
                <a16:creationId xmlns:a16="http://schemas.microsoft.com/office/drawing/2014/main" xmlns="" id="{BDFE7050-FC58-407F-8C83-91B90FB2EF3D}"/>
              </a:ext>
            </a:extLst>
          </p:cNvPr>
          <p:cNvGrpSpPr/>
          <p:nvPr/>
        </p:nvGrpSpPr>
        <p:grpSpPr>
          <a:xfrm>
            <a:off x="443359" y="5749225"/>
            <a:ext cx="3416725" cy="215444"/>
            <a:chOff x="5282633" y="5805843"/>
            <a:chExt cx="3416725" cy="215444"/>
          </a:xfrm>
        </p:grpSpPr>
        <p:sp>
          <p:nvSpPr>
            <p:cNvPr id="294" name="Rectangle 12">
              <a:extLst>
                <a:ext uri="{FF2B5EF4-FFF2-40B4-BE49-F238E27FC236}">
                  <a16:creationId xmlns:a16="http://schemas.microsoft.com/office/drawing/2014/main" xmlns="" id="{2A87F28B-A3D7-4E3E-BD7C-E4FC6DF5769C}"/>
                </a:ext>
              </a:extLst>
            </p:cNvPr>
            <p:cNvSpPr>
              <a:spLocks noChangeArrowheads="1"/>
            </p:cNvSpPr>
            <p:nvPr/>
          </p:nvSpPr>
          <p:spPr bwMode="auto">
            <a:xfrm>
              <a:off x="5282633" y="5805843"/>
              <a:ext cx="1072731" cy="215444"/>
            </a:xfrm>
            <a:prstGeom prst="rect">
              <a:avLst/>
            </a:prstGeom>
            <a:noFill/>
            <a:ln w="9525">
              <a:noFill/>
              <a:miter lim="800000"/>
              <a:headEnd/>
              <a:tailEnd/>
            </a:ln>
            <a:effectLst/>
          </p:spPr>
          <p:txBody>
            <a:bodyPr wrap="none" anchor="ctr">
              <a:spAutoFit/>
            </a:bodyPr>
            <a:lstStyle/>
            <a:p>
              <a:pPr marL="190500" lvl="2" indent="-187325" algn="ctr">
                <a:spcBef>
                  <a:spcPct val="40000"/>
                </a:spcBef>
                <a:buClr>
                  <a:srgbClr val="868889"/>
                </a:buClr>
                <a:buSzPct val="90000"/>
                <a:buFont typeface="Wingdings 2" pitchFamily="18" charset="2"/>
                <a:buNone/>
              </a:pPr>
              <a:r>
                <a:rPr lang="de-DE" sz="800" dirty="0">
                  <a:solidFill>
                    <a:prstClr val="black"/>
                  </a:solidFill>
                  <a:latin typeface="Arial" panose="020B0604020202020204" pitchFamily="34" charset="0"/>
                  <a:cs typeface="Arial" panose="020B0604020202020204" pitchFamily="34" charset="0"/>
                  <a:sym typeface="Arial" panose="020B0604020202020204" pitchFamily="34" charset="0"/>
                </a:rPr>
                <a:t>Einwohner in 1.000</a:t>
              </a:r>
            </a:p>
          </p:txBody>
        </p:sp>
        <p:sp>
          <p:nvSpPr>
            <p:cNvPr id="295" name="Ellipse 294">
              <a:extLst>
                <a:ext uri="{FF2B5EF4-FFF2-40B4-BE49-F238E27FC236}">
                  <a16:creationId xmlns:a16="http://schemas.microsoft.com/office/drawing/2014/main" xmlns="" id="{E141D5AE-DC88-433F-80B0-C1EB003DC697}"/>
                </a:ext>
              </a:extLst>
            </p:cNvPr>
            <p:cNvSpPr/>
            <p:nvPr/>
          </p:nvSpPr>
          <p:spPr>
            <a:xfrm>
              <a:off x="6347029" y="5884991"/>
              <a:ext cx="57151" cy="571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8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96" name="Rectangle 12">
              <a:extLst>
                <a:ext uri="{FF2B5EF4-FFF2-40B4-BE49-F238E27FC236}">
                  <a16:creationId xmlns:a16="http://schemas.microsoft.com/office/drawing/2014/main" xmlns="" id="{BCFDC874-33A2-46E3-987D-3F687D65F322}"/>
                </a:ext>
              </a:extLst>
            </p:cNvPr>
            <p:cNvSpPr>
              <a:spLocks noChangeArrowheads="1"/>
            </p:cNvSpPr>
            <p:nvPr/>
          </p:nvSpPr>
          <p:spPr bwMode="auto">
            <a:xfrm>
              <a:off x="6356486" y="5805843"/>
              <a:ext cx="567784" cy="215444"/>
            </a:xfrm>
            <a:prstGeom prst="rect">
              <a:avLst/>
            </a:prstGeom>
            <a:noFill/>
            <a:ln w="9525">
              <a:noFill/>
              <a:miter lim="800000"/>
              <a:headEnd/>
              <a:tailEnd/>
            </a:ln>
            <a:effectLst/>
          </p:spPr>
          <p:txBody>
            <a:bodyPr wrap="none" anchor="ctr">
              <a:spAutoFit/>
            </a:bodyPr>
            <a:lstStyle/>
            <a:p>
              <a:pPr marL="190500" lvl="2" indent="-187325">
                <a:spcBef>
                  <a:spcPct val="40000"/>
                </a:spcBef>
                <a:buClr>
                  <a:srgbClr val="868889"/>
                </a:buClr>
                <a:buSzPct val="90000"/>
                <a:buFont typeface="Wingdings 2" pitchFamily="18" charset="2"/>
                <a:buNone/>
              </a:pPr>
              <a:r>
                <a:rPr lang="de-DE" sz="800" dirty="0">
                  <a:solidFill>
                    <a:prstClr val="black"/>
                  </a:solidFill>
                  <a:latin typeface="Arial" panose="020B0604020202020204" pitchFamily="34" charset="0"/>
                  <a:cs typeface="Arial" panose="020B0604020202020204" pitchFamily="34" charset="0"/>
                  <a:sym typeface="Arial" panose="020B0604020202020204" pitchFamily="34" charset="0"/>
                </a:rPr>
                <a:t>120-250</a:t>
              </a:r>
            </a:p>
          </p:txBody>
        </p:sp>
        <p:sp>
          <p:nvSpPr>
            <p:cNvPr id="297" name="Ellipse 296">
              <a:extLst>
                <a:ext uri="{FF2B5EF4-FFF2-40B4-BE49-F238E27FC236}">
                  <a16:creationId xmlns:a16="http://schemas.microsoft.com/office/drawing/2014/main" xmlns="" id="{39BAB5FF-1C26-44DD-B1EA-FDED596B94D2}"/>
                </a:ext>
              </a:extLst>
            </p:cNvPr>
            <p:cNvSpPr/>
            <p:nvPr/>
          </p:nvSpPr>
          <p:spPr>
            <a:xfrm>
              <a:off x="6921008" y="5884991"/>
              <a:ext cx="57151" cy="57151"/>
            </a:xfrm>
            <a:prstGeom prst="ellipse">
              <a:avLst/>
            </a:prstGeom>
            <a:solidFill>
              <a:srgbClr val="4C6C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8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98" name="Rectangle 12">
              <a:extLst>
                <a:ext uri="{FF2B5EF4-FFF2-40B4-BE49-F238E27FC236}">
                  <a16:creationId xmlns:a16="http://schemas.microsoft.com/office/drawing/2014/main" xmlns="" id="{55DC42BD-1D93-4E3E-8614-EEAC14E0418B}"/>
                </a:ext>
              </a:extLst>
            </p:cNvPr>
            <p:cNvSpPr>
              <a:spLocks noChangeArrowheads="1"/>
            </p:cNvSpPr>
            <p:nvPr/>
          </p:nvSpPr>
          <p:spPr bwMode="auto">
            <a:xfrm>
              <a:off x="6930465" y="5805843"/>
              <a:ext cx="567784" cy="215444"/>
            </a:xfrm>
            <a:prstGeom prst="rect">
              <a:avLst/>
            </a:prstGeom>
            <a:noFill/>
            <a:ln w="9525">
              <a:noFill/>
              <a:miter lim="800000"/>
              <a:headEnd/>
              <a:tailEnd/>
            </a:ln>
            <a:effectLst/>
          </p:spPr>
          <p:txBody>
            <a:bodyPr wrap="none" anchor="ctr">
              <a:spAutoFit/>
            </a:bodyPr>
            <a:lstStyle/>
            <a:p>
              <a:pPr marL="190500" lvl="2" indent="-187325">
                <a:spcBef>
                  <a:spcPct val="40000"/>
                </a:spcBef>
                <a:buClr>
                  <a:srgbClr val="868889"/>
                </a:buClr>
                <a:buSzPct val="90000"/>
                <a:buFont typeface="Wingdings 2" pitchFamily="18" charset="2"/>
                <a:buNone/>
              </a:pPr>
              <a:r>
                <a:rPr lang="de-DE" sz="800" dirty="0">
                  <a:solidFill>
                    <a:prstClr val="black"/>
                  </a:solidFill>
                  <a:latin typeface="Arial" panose="020B0604020202020204" pitchFamily="34" charset="0"/>
                  <a:cs typeface="Arial" panose="020B0604020202020204" pitchFamily="34" charset="0"/>
                  <a:sym typeface="Arial" panose="020B0604020202020204" pitchFamily="34" charset="0"/>
                </a:rPr>
                <a:t>250-500</a:t>
              </a:r>
            </a:p>
          </p:txBody>
        </p:sp>
        <p:sp>
          <p:nvSpPr>
            <p:cNvPr id="299" name="Ellipse 298">
              <a:extLst>
                <a:ext uri="{FF2B5EF4-FFF2-40B4-BE49-F238E27FC236}">
                  <a16:creationId xmlns:a16="http://schemas.microsoft.com/office/drawing/2014/main" xmlns="" id="{2898561F-B66E-40AB-A5FD-2DBFB58997FE}"/>
                </a:ext>
              </a:extLst>
            </p:cNvPr>
            <p:cNvSpPr/>
            <p:nvPr/>
          </p:nvSpPr>
          <p:spPr>
            <a:xfrm>
              <a:off x="7510950" y="5884991"/>
              <a:ext cx="57151" cy="57151"/>
            </a:xfrm>
            <a:prstGeom prst="ellipse">
              <a:avLst/>
            </a:prstGeom>
            <a:solidFill>
              <a:srgbClr val="FFA90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8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00" name="Rectangle 12">
              <a:extLst>
                <a:ext uri="{FF2B5EF4-FFF2-40B4-BE49-F238E27FC236}">
                  <a16:creationId xmlns:a16="http://schemas.microsoft.com/office/drawing/2014/main" xmlns="" id="{B3B55C58-3ACE-4464-A45F-A93070340725}"/>
                </a:ext>
              </a:extLst>
            </p:cNvPr>
            <p:cNvSpPr>
              <a:spLocks noChangeArrowheads="1"/>
            </p:cNvSpPr>
            <p:nvPr/>
          </p:nvSpPr>
          <p:spPr bwMode="auto">
            <a:xfrm>
              <a:off x="7520407" y="5805843"/>
              <a:ext cx="567784" cy="215444"/>
            </a:xfrm>
            <a:prstGeom prst="rect">
              <a:avLst/>
            </a:prstGeom>
            <a:noFill/>
            <a:ln w="9525">
              <a:noFill/>
              <a:miter lim="800000"/>
              <a:headEnd/>
              <a:tailEnd/>
            </a:ln>
            <a:effectLst/>
          </p:spPr>
          <p:txBody>
            <a:bodyPr wrap="none" anchor="ctr">
              <a:spAutoFit/>
            </a:bodyPr>
            <a:lstStyle/>
            <a:p>
              <a:pPr marL="190500" lvl="2" indent="-187325">
                <a:spcBef>
                  <a:spcPct val="40000"/>
                </a:spcBef>
                <a:buClr>
                  <a:srgbClr val="868889"/>
                </a:buClr>
                <a:buSzPct val="90000"/>
                <a:buFont typeface="Wingdings 2" pitchFamily="18" charset="2"/>
                <a:buNone/>
              </a:pPr>
              <a:r>
                <a:rPr lang="de-DE" sz="800" dirty="0">
                  <a:solidFill>
                    <a:prstClr val="black"/>
                  </a:solidFill>
                  <a:latin typeface="Arial" panose="020B0604020202020204" pitchFamily="34" charset="0"/>
                  <a:cs typeface="Arial" panose="020B0604020202020204" pitchFamily="34" charset="0"/>
                  <a:sym typeface="Arial" panose="020B0604020202020204" pitchFamily="34" charset="0"/>
                </a:rPr>
                <a:t>500-750</a:t>
              </a:r>
            </a:p>
          </p:txBody>
        </p:sp>
        <p:sp>
          <p:nvSpPr>
            <p:cNvPr id="301" name="Ellipse 300">
              <a:extLst>
                <a:ext uri="{FF2B5EF4-FFF2-40B4-BE49-F238E27FC236}">
                  <a16:creationId xmlns:a16="http://schemas.microsoft.com/office/drawing/2014/main" xmlns="" id="{E85418A9-7CAE-48C4-BCC5-844EB47600A0}"/>
                </a:ext>
              </a:extLst>
            </p:cNvPr>
            <p:cNvSpPr/>
            <p:nvPr/>
          </p:nvSpPr>
          <p:spPr>
            <a:xfrm>
              <a:off x="8154177" y="5884991"/>
              <a:ext cx="57151" cy="5715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8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02" name="Rectangle 12">
              <a:extLst>
                <a:ext uri="{FF2B5EF4-FFF2-40B4-BE49-F238E27FC236}">
                  <a16:creationId xmlns:a16="http://schemas.microsoft.com/office/drawing/2014/main" xmlns="" id="{A7DB2BE4-E62C-4C70-84D2-740C36C9F651}"/>
                </a:ext>
              </a:extLst>
            </p:cNvPr>
            <p:cNvSpPr>
              <a:spLocks noChangeArrowheads="1"/>
            </p:cNvSpPr>
            <p:nvPr/>
          </p:nvSpPr>
          <p:spPr bwMode="auto">
            <a:xfrm>
              <a:off x="8163634" y="5805843"/>
              <a:ext cx="535724" cy="215444"/>
            </a:xfrm>
            <a:prstGeom prst="rect">
              <a:avLst/>
            </a:prstGeom>
            <a:noFill/>
            <a:ln w="9525">
              <a:noFill/>
              <a:miter lim="800000"/>
              <a:headEnd/>
              <a:tailEnd/>
            </a:ln>
            <a:effectLst/>
          </p:spPr>
          <p:txBody>
            <a:bodyPr wrap="none" anchor="ctr">
              <a:spAutoFit/>
            </a:bodyPr>
            <a:lstStyle/>
            <a:p>
              <a:pPr marL="190500" lvl="2" indent="-187325">
                <a:spcBef>
                  <a:spcPct val="40000"/>
                </a:spcBef>
                <a:buClr>
                  <a:srgbClr val="868889"/>
                </a:buClr>
                <a:buSzPct val="90000"/>
                <a:buFont typeface="Wingdings 2" pitchFamily="18" charset="2"/>
                <a:buNone/>
              </a:pPr>
              <a:r>
                <a:rPr lang="de-DE" sz="800" dirty="0">
                  <a:solidFill>
                    <a:prstClr val="black"/>
                  </a:solidFill>
                  <a:latin typeface="Arial" panose="020B0604020202020204" pitchFamily="34" charset="0"/>
                  <a:cs typeface="Arial" panose="020B0604020202020204" pitchFamily="34" charset="0"/>
                  <a:sym typeface="Arial" panose="020B0604020202020204" pitchFamily="34" charset="0"/>
                </a:rPr>
                <a:t>&gt; 1.000</a:t>
              </a:r>
            </a:p>
          </p:txBody>
        </p:sp>
      </p:grpSp>
    </p:spTree>
    <p:extLst>
      <p:ext uri="{BB962C8B-B14F-4D97-AF65-F5344CB8AC3E}">
        <p14:creationId xmlns:p14="http://schemas.microsoft.com/office/powerpoint/2010/main" val="3099514693"/>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017" name="think-cell Folie" r:id="rId182" imgW="216" imgH="216" progId="TCLayout.ActiveDocument.1">
                  <p:embed/>
                </p:oleObj>
              </mc:Choice>
              <mc:Fallback>
                <p:oleObj name="think-cell Folie" r:id="rId182" imgW="216" imgH="216" progId="TCLayout.ActiveDocument.1">
                  <p:embed/>
                  <p:pic>
                    <p:nvPicPr>
                      <p:cNvPr id="12" name="Objekt 11" hidden="1"/>
                      <p:cNvPicPr/>
                      <p:nvPr/>
                    </p:nvPicPr>
                    <p:blipFill>
                      <a:blip r:embed="rId183"/>
                      <a:stretch>
                        <a:fillRect/>
                      </a:stretch>
                    </p:blipFill>
                    <p:spPr>
                      <a:xfrm>
                        <a:off x="1588" y="1588"/>
                        <a:ext cx="1587" cy="1587"/>
                      </a:xfrm>
                      <a:prstGeom prst="rect">
                        <a:avLst/>
                      </a:prstGeom>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800" dirty="0">
              <a:solidFill>
                <a:schemeClr val="tx1"/>
              </a:solidFill>
              <a:latin typeface="Gotham Light" pitchFamily="50" charset="0"/>
              <a:cs typeface="Gotham Light" pitchFamily="50" charset="0"/>
              <a:sym typeface="Gotham Light" pitchFamily="50" charset="0"/>
            </a:endParaRPr>
          </a:p>
        </p:txBody>
      </p:sp>
      <p:sp>
        <p:nvSpPr>
          <p:cNvPr id="270" name="Ellipse 269">
            <a:extLst>
              <a:ext uri="{FF2B5EF4-FFF2-40B4-BE49-F238E27FC236}">
                <a16:creationId xmlns:a16="http://schemas.microsoft.com/office/drawing/2014/main" xmlns="" id="{D37D9C89-C172-4EE9-8D28-AF26C3B347D8}"/>
              </a:ext>
            </a:extLst>
          </p:cNvPr>
          <p:cNvSpPr/>
          <p:nvPr/>
        </p:nvSpPr>
        <p:spPr>
          <a:xfrm>
            <a:off x="7442201" y="2667820"/>
            <a:ext cx="292100" cy="292100"/>
          </a:xfrm>
          <a:prstGeom prst="ellipse">
            <a:avLst/>
          </a:prstGeom>
          <a:solidFill>
            <a:schemeClr val="accent6">
              <a:lumMod val="40000"/>
              <a:lumOff val="6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cxnSp>
        <p:nvCxnSpPr>
          <p:cNvPr id="160" name="Gerade Verbindung 159"/>
          <p:cNvCxnSpPr/>
          <p:nvPr>
            <p:custDataLst>
              <p:tags r:id="rId4"/>
            </p:custDataLst>
          </p:nvPr>
        </p:nvCxnSpPr>
        <p:spPr bwMode="gray">
          <a:xfrm>
            <a:off x="2667000" y="1730375"/>
            <a:ext cx="0" cy="3352800"/>
          </a:xfrm>
          <a:prstGeom prst="line">
            <a:avLst/>
          </a:prstGeom>
          <a:ln w="9525">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Gerade Verbindung 284"/>
          <p:cNvCxnSpPr/>
          <p:nvPr>
            <p:custDataLst>
              <p:tags r:id="rId5"/>
            </p:custDataLst>
          </p:nvPr>
        </p:nvCxnSpPr>
        <p:spPr bwMode="gray">
          <a:xfrm flipV="1">
            <a:off x="2667000" y="5083175"/>
            <a:ext cx="0" cy="33338"/>
          </a:xfrm>
          <a:prstGeom prst="line">
            <a:avLst/>
          </a:prstGeom>
          <a:ln w="9525" algn="ctr">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4" name="Gerade Verbindung 283"/>
          <p:cNvCxnSpPr/>
          <p:nvPr>
            <p:custDataLst>
              <p:tags r:id="rId6"/>
            </p:custDataLst>
          </p:nvPr>
        </p:nvCxnSpPr>
        <p:spPr bwMode="gray">
          <a:xfrm flipV="1">
            <a:off x="1392238" y="5083175"/>
            <a:ext cx="0" cy="33338"/>
          </a:xfrm>
          <a:prstGeom prst="line">
            <a:avLst/>
          </a:prstGeom>
          <a:ln w="9525" algn="ctr">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Gerade Verbindung 176"/>
          <p:cNvCxnSpPr/>
          <p:nvPr>
            <p:custDataLst>
              <p:tags r:id="rId7"/>
            </p:custDataLst>
          </p:nvPr>
        </p:nvCxnSpPr>
        <p:spPr bwMode="gray">
          <a:xfrm flipV="1">
            <a:off x="3303588" y="5083175"/>
            <a:ext cx="0" cy="33338"/>
          </a:xfrm>
          <a:prstGeom prst="line">
            <a:avLst/>
          </a:prstGeom>
          <a:ln w="9525" algn="ctr">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xmlns="" id="{677806E3-560E-409C-AAB7-605C282A64BC}"/>
              </a:ext>
            </a:extLst>
          </p:cNvPr>
          <p:cNvCxnSpPr/>
          <p:nvPr>
            <p:custDataLst>
              <p:tags r:id="rId8"/>
            </p:custDataLst>
          </p:nvPr>
        </p:nvCxnSpPr>
        <p:spPr bwMode="gray">
          <a:xfrm>
            <a:off x="722313" y="1730375"/>
            <a:ext cx="33337"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9" name="Gerade Verbindung 178"/>
          <p:cNvCxnSpPr/>
          <p:nvPr>
            <p:custDataLst>
              <p:tags r:id="rId9"/>
            </p:custDataLst>
          </p:nvPr>
        </p:nvCxnSpPr>
        <p:spPr bwMode="gray">
          <a:xfrm flipV="1">
            <a:off x="6072188" y="5083175"/>
            <a:ext cx="0" cy="33338"/>
          </a:xfrm>
          <a:prstGeom prst="line">
            <a:avLst/>
          </a:prstGeom>
          <a:ln w="9525" algn="ctr">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xmlns="" id="{81CCFE56-B9EE-43DB-AFD4-1B7F92037CD7}"/>
              </a:ext>
            </a:extLst>
          </p:cNvPr>
          <p:cNvCxnSpPr/>
          <p:nvPr>
            <p:custDataLst>
              <p:tags r:id="rId10"/>
            </p:custDataLst>
          </p:nvPr>
        </p:nvCxnSpPr>
        <p:spPr bwMode="gray">
          <a:xfrm>
            <a:off x="722313" y="4610100"/>
            <a:ext cx="33337"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xmlns="" id="{23780CE5-7FE9-41D9-AF35-2047A995F066}"/>
              </a:ext>
            </a:extLst>
          </p:cNvPr>
          <p:cNvCxnSpPr/>
          <p:nvPr>
            <p:custDataLst>
              <p:tags r:id="rId11"/>
            </p:custDataLst>
          </p:nvPr>
        </p:nvCxnSpPr>
        <p:spPr bwMode="gray">
          <a:xfrm>
            <a:off x="722313" y="3665538"/>
            <a:ext cx="33337"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xmlns="" id="{FF417C10-C872-42F8-B73B-E491F2880A24}"/>
              </a:ext>
            </a:extLst>
          </p:cNvPr>
          <p:cNvCxnSpPr/>
          <p:nvPr>
            <p:custDataLst>
              <p:tags r:id="rId12"/>
            </p:custDataLst>
          </p:nvPr>
        </p:nvCxnSpPr>
        <p:spPr bwMode="gray">
          <a:xfrm>
            <a:off x="722313" y="4137025"/>
            <a:ext cx="33337"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a:extLst>
              <a:ext uri="{FF2B5EF4-FFF2-40B4-BE49-F238E27FC236}">
                <a16:creationId xmlns:a16="http://schemas.microsoft.com/office/drawing/2014/main" xmlns="" id="{2CD3CD21-9097-41F2-8314-C7584D84A392}"/>
              </a:ext>
            </a:extLst>
          </p:cNvPr>
          <p:cNvCxnSpPr/>
          <p:nvPr>
            <p:custDataLst>
              <p:tags r:id="rId13"/>
            </p:custDataLst>
          </p:nvPr>
        </p:nvCxnSpPr>
        <p:spPr bwMode="gray">
          <a:xfrm>
            <a:off x="722313" y="5083175"/>
            <a:ext cx="33337"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xmlns="" id="{EFF1C458-A5E7-424A-AFE6-187CF1FA096E}"/>
              </a:ext>
            </a:extLst>
          </p:cNvPr>
          <p:cNvCxnSpPr/>
          <p:nvPr>
            <p:custDataLst>
              <p:tags r:id="rId14"/>
            </p:custDataLst>
          </p:nvPr>
        </p:nvCxnSpPr>
        <p:spPr bwMode="gray">
          <a:xfrm flipV="1">
            <a:off x="7743825" y="5083175"/>
            <a:ext cx="0" cy="33338"/>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5" name="Gerade Verbindung 174"/>
          <p:cNvCxnSpPr/>
          <p:nvPr>
            <p:custDataLst>
              <p:tags r:id="rId15"/>
            </p:custDataLst>
          </p:nvPr>
        </p:nvCxnSpPr>
        <p:spPr bwMode="gray">
          <a:xfrm flipV="1">
            <a:off x="755650" y="5083175"/>
            <a:ext cx="0" cy="33338"/>
          </a:xfrm>
          <a:prstGeom prst="line">
            <a:avLst/>
          </a:prstGeom>
          <a:ln w="9525" algn="ctr">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7" name="Gerade Verbindung 286"/>
          <p:cNvCxnSpPr/>
          <p:nvPr>
            <p:custDataLst>
              <p:tags r:id="rId16"/>
            </p:custDataLst>
          </p:nvPr>
        </p:nvCxnSpPr>
        <p:spPr bwMode="gray">
          <a:xfrm flipV="1">
            <a:off x="5435600" y="5083175"/>
            <a:ext cx="0" cy="33338"/>
          </a:xfrm>
          <a:prstGeom prst="line">
            <a:avLst/>
          </a:prstGeom>
          <a:ln w="9525" algn="ctr">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6" name="Gerade Verbindung 285"/>
          <p:cNvCxnSpPr/>
          <p:nvPr>
            <p:custDataLst>
              <p:tags r:id="rId17"/>
            </p:custDataLst>
          </p:nvPr>
        </p:nvCxnSpPr>
        <p:spPr bwMode="gray">
          <a:xfrm flipV="1">
            <a:off x="3941763" y="5083175"/>
            <a:ext cx="0" cy="33338"/>
          </a:xfrm>
          <a:prstGeom prst="line">
            <a:avLst/>
          </a:prstGeom>
          <a:ln w="9525" algn="ctr">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xmlns="" id="{F908BD01-BB54-47C3-A640-03E34DBB0404}"/>
              </a:ext>
            </a:extLst>
          </p:cNvPr>
          <p:cNvCxnSpPr/>
          <p:nvPr>
            <p:custDataLst>
              <p:tags r:id="rId18"/>
            </p:custDataLst>
          </p:nvPr>
        </p:nvCxnSpPr>
        <p:spPr bwMode="gray">
          <a:xfrm flipV="1">
            <a:off x="8685213" y="5083175"/>
            <a:ext cx="0" cy="33338"/>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6" name="Gerade Verbindung 175"/>
          <p:cNvCxnSpPr/>
          <p:nvPr>
            <p:custDataLst>
              <p:tags r:id="rId19"/>
            </p:custDataLst>
          </p:nvPr>
        </p:nvCxnSpPr>
        <p:spPr bwMode="gray">
          <a:xfrm flipV="1">
            <a:off x="2030413" y="5083175"/>
            <a:ext cx="0" cy="33338"/>
          </a:xfrm>
          <a:prstGeom prst="line">
            <a:avLst/>
          </a:prstGeom>
          <a:ln w="9525" algn="ctr">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xmlns="" id="{062EDA54-ABE7-4869-B045-FE83C9B430AB}"/>
              </a:ext>
            </a:extLst>
          </p:cNvPr>
          <p:cNvCxnSpPr/>
          <p:nvPr>
            <p:custDataLst>
              <p:tags r:id="rId20"/>
            </p:custDataLst>
          </p:nvPr>
        </p:nvCxnSpPr>
        <p:spPr bwMode="gray">
          <a:xfrm>
            <a:off x="722313" y="3192463"/>
            <a:ext cx="33337"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xmlns="" id="{1D49B0BD-C825-4F6F-9A93-AA4F3883BC3C}"/>
              </a:ext>
            </a:extLst>
          </p:cNvPr>
          <p:cNvCxnSpPr/>
          <p:nvPr>
            <p:custDataLst>
              <p:tags r:id="rId21"/>
            </p:custDataLst>
          </p:nvPr>
        </p:nvCxnSpPr>
        <p:spPr bwMode="gray">
          <a:xfrm flipV="1">
            <a:off x="4578350" y="5083175"/>
            <a:ext cx="0" cy="33338"/>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77" name="Chart 3">
            <a:extLst>
              <a:ext uri="{FF2B5EF4-FFF2-40B4-BE49-F238E27FC236}">
                <a16:creationId xmlns:a16="http://schemas.microsoft.com/office/drawing/2014/main" xmlns="" id="{AF6345C5-4659-438C-9605-3E1478DA6EDD}"/>
              </a:ext>
            </a:extLst>
          </p:cNvPr>
          <p:cNvGraphicFramePr/>
          <p:nvPr>
            <p:custDataLst>
              <p:tags r:id="rId22"/>
            </p:custDataLst>
          </p:nvPr>
        </p:nvGraphicFramePr>
        <p:xfrm>
          <a:off x="673100" y="1647825"/>
          <a:ext cx="8094663" cy="3517900"/>
        </p:xfrm>
        <a:graphic>
          <a:graphicData uri="http://schemas.openxmlformats.org/drawingml/2006/chart">
            <c:chart xmlns:c="http://schemas.openxmlformats.org/drawingml/2006/chart" xmlns:r="http://schemas.openxmlformats.org/officeDocument/2006/relationships" r:id="rId184"/>
          </a:graphicData>
        </a:graphic>
      </p:graphicFrame>
      <p:sp>
        <p:nvSpPr>
          <p:cNvPr id="393" name="Textplatzhalter 2">
            <a:extLst>
              <a:ext uri="{FF2B5EF4-FFF2-40B4-BE49-F238E27FC236}">
                <a16:creationId xmlns:a16="http://schemas.microsoft.com/office/drawing/2014/main" xmlns="" id="{B6962360-ED0F-4E5C-9AB4-9644541DF7EF}"/>
              </a:ext>
            </a:extLst>
          </p:cNvPr>
          <p:cNvSpPr>
            <a:spLocks noGrp="1"/>
          </p:cNvSpPr>
          <p:nvPr>
            <p:custDataLst>
              <p:tags r:id="rId23"/>
            </p:custDataLst>
          </p:nvPr>
        </p:nvSpPr>
        <p:spPr bwMode="gray">
          <a:xfrm>
            <a:off x="584200" y="5022850"/>
            <a:ext cx="71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r">
              <a:spcBef>
                <a:spcPct val="0"/>
              </a:spcBef>
              <a:spcAft>
                <a:spcPct val="0"/>
              </a:spcAft>
            </a:pPr>
            <a:fld id="{0673347D-9A9F-4075-8AE9-8A7A2EA7B8D0}" type="datetime'''''''''0'''''''''''''''''''">
              <a:rPr lang="de-DE" altLang="en-US" sz="800" smtClean="0">
                <a:latin typeface="Gotham Light" pitchFamily="50" charset="0"/>
                <a:cs typeface="Gotham Light" pitchFamily="50" charset="0"/>
                <a:sym typeface="Gotham Light" pitchFamily="50" charset="0"/>
              </a:rPr>
              <a:pPr lvl="1" algn="r">
                <a:spcBef>
                  <a:spcPct val="0"/>
                </a:spcBef>
                <a:spcAft>
                  <a:spcPct val="0"/>
                </a:spcAft>
              </a:pPr>
              <a:t>0</a:t>
            </a:fld>
            <a:endParaRPr lang="de-DE" sz="800" dirty="0">
              <a:latin typeface="Gotham Light" pitchFamily="50" charset="0"/>
              <a:cs typeface="Gotham Light" pitchFamily="50" charset="0"/>
              <a:sym typeface="Gotham Light" pitchFamily="50" charset="0"/>
            </a:endParaRPr>
          </a:p>
        </p:txBody>
      </p:sp>
      <p:sp>
        <p:nvSpPr>
          <p:cNvPr id="161" name="Textplatzhalter 2">
            <a:extLst>
              <a:ext uri="{FF2B5EF4-FFF2-40B4-BE49-F238E27FC236}">
                <a16:creationId xmlns:a16="http://schemas.microsoft.com/office/drawing/2014/main" xmlns="" id="{E738BB38-BD6B-4D60-9207-71374CC74359}"/>
              </a:ext>
            </a:extLst>
          </p:cNvPr>
          <p:cNvSpPr>
            <a:spLocks noGrp="1"/>
          </p:cNvSpPr>
          <p:nvPr>
            <p:custDataLst>
              <p:tags r:id="rId24"/>
            </p:custDataLst>
          </p:nvPr>
        </p:nvSpPr>
        <p:spPr bwMode="gray">
          <a:xfrm>
            <a:off x="4473575" y="5149850"/>
            <a:ext cx="2095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1C36E477-C956-44EF-9D1E-7F435169598F}" type="datetime'''''4''''''''''''''''''''''''''''''''''''0''''''''''0'''''''''">
              <a:rPr lang="de-DE" altLang="en-US" sz="800" smtClean="0">
                <a:latin typeface="Gotham Light" pitchFamily="50" charset="0"/>
                <a:cs typeface="Gotham Light" pitchFamily="50" charset="0"/>
                <a:sym typeface="Gotham Light" pitchFamily="50" charset="0"/>
              </a:rPr>
              <a:pPr lvl="1" algn="ctr">
                <a:spcBef>
                  <a:spcPct val="0"/>
                </a:spcBef>
                <a:spcAft>
                  <a:spcPct val="0"/>
                </a:spcAft>
              </a:pPr>
              <a:t>400</a:t>
            </a:fld>
            <a:endParaRPr lang="de-DE" sz="800" dirty="0">
              <a:latin typeface="Gotham Light" pitchFamily="50" charset="0"/>
              <a:cs typeface="Gotham Light" pitchFamily="50" charset="0"/>
              <a:sym typeface="Gotham Light" pitchFamily="50" charset="0"/>
            </a:endParaRPr>
          </a:p>
        </p:txBody>
      </p:sp>
      <p:sp>
        <p:nvSpPr>
          <p:cNvPr id="383" name="Textplatzhalter 2">
            <a:extLst>
              <a:ext uri="{FF2B5EF4-FFF2-40B4-BE49-F238E27FC236}">
                <a16:creationId xmlns:a16="http://schemas.microsoft.com/office/drawing/2014/main" xmlns="" id="{E7C4ED9B-9AD2-4F97-A674-A7A83C64BCA1}"/>
              </a:ext>
            </a:extLst>
          </p:cNvPr>
          <p:cNvSpPr>
            <a:spLocks noGrp="1"/>
          </p:cNvSpPr>
          <p:nvPr>
            <p:custDataLst>
              <p:tags r:id="rId25"/>
            </p:custDataLst>
          </p:nvPr>
        </p:nvSpPr>
        <p:spPr bwMode="gray">
          <a:xfrm>
            <a:off x="528638" y="1670050"/>
            <a:ext cx="1270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r">
              <a:spcBef>
                <a:spcPct val="0"/>
              </a:spcBef>
              <a:spcAft>
                <a:spcPct val="0"/>
              </a:spcAft>
            </a:pPr>
            <a:fld id="{3949808E-0887-458F-AD1D-667CB283F184}" type="datetime'''5''''''''''''''6'''''''''''">
              <a:rPr lang="de-DE" altLang="en-US" sz="800" smtClean="0">
                <a:latin typeface="Gotham Light" pitchFamily="50" charset="0"/>
                <a:cs typeface="Gotham Light" pitchFamily="50" charset="0"/>
                <a:sym typeface="Gotham Light" pitchFamily="50" charset="0"/>
              </a:rPr>
              <a:pPr lvl="1" algn="r">
                <a:spcBef>
                  <a:spcPct val="0"/>
                </a:spcBef>
                <a:spcAft>
                  <a:spcPct val="0"/>
                </a:spcAft>
              </a:pPr>
              <a:t>56</a:t>
            </a:fld>
            <a:endParaRPr lang="de-DE" sz="800" dirty="0">
              <a:latin typeface="Gotham Light" pitchFamily="50" charset="0"/>
              <a:cs typeface="Gotham Light" pitchFamily="50" charset="0"/>
              <a:sym typeface="Gotham Light" pitchFamily="50" charset="0"/>
            </a:endParaRPr>
          </a:p>
        </p:txBody>
      </p:sp>
      <p:sp>
        <p:nvSpPr>
          <p:cNvPr id="382" name="Textplatzhalter 2">
            <a:extLst>
              <a:ext uri="{FF2B5EF4-FFF2-40B4-BE49-F238E27FC236}">
                <a16:creationId xmlns:a16="http://schemas.microsoft.com/office/drawing/2014/main" xmlns="" id="{CC62EBFF-82CE-449A-9DB0-10CB77E77B3B}"/>
              </a:ext>
            </a:extLst>
          </p:cNvPr>
          <p:cNvSpPr>
            <a:spLocks noGrp="1"/>
          </p:cNvSpPr>
          <p:nvPr>
            <p:custDataLst>
              <p:tags r:id="rId26"/>
            </p:custDataLst>
          </p:nvPr>
        </p:nvSpPr>
        <p:spPr bwMode="gray">
          <a:xfrm>
            <a:off x="557213" y="3132138"/>
            <a:ext cx="984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r">
              <a:spcBef>
                <a:spcPct val="0"/>
              </a:spcBef>
              <a:spcAft>
                <a:spcPct val="0"/>
              </a:spcAft>
            </a:pPr>
            <a:fld id="{317B06EF-07A0-423F-BF6D-05C3D664CA5B}" type="datetime'''''''1''''''''''6'''''''''">
              <a:rPr lang="de-DE" altLang="en-US" sz="800" smtClean="0">
                <a:latin typeface="Gotham Light" pitchFamily="50" charset="0"/>
                <a:cs typeface="Gotham Light" pitchFamily="50" charset="0"/>
                <a:sym typeface="Gotham Light" pitchFamily="50" charset="0"/>
              </a:rPr>
              <a:pPr lvl="1" algn="r">
                <a:spcBef>
                  <a:spcPct val="0"/>
                </a:spcBef>
                <a:spcAft>
                  <a:spcPct val="0"/>
                </a:spcAft>
              </a:pPr>
              <a:t>16</a:t>
            </a:fld>
            <a:endParaRPr lang="de-DE" sz="800" dirty="0">
              <a:latin typeface="Gotham Light" pitchFamily="50" charset="0"/>
              <a:cs typeface="Gotham Light" pitchFamily="50" charset="0"/>
              <a:sym typeface="Gotham Light" pitchFamily="50" charset="0"/>
            </a:endParaRPr>
          </a:p>
        </p:txBody>
      </p:sp>
      <p:sp>
        <p:nvSpPr>
          <p:cNvPr id="381" name="Textplatzhalter 2">
            <a:extLst>
              <a:ext uri="{FF2B5EF4-FFF2-40B4-BE49-F238E27FC236}">
                <a16:creationId xmlns:a16="http://schemas.microsoft.com/office/drawing/2014/main" xmlns="" id="{CAF45559-870C-4AC8-B6AC-0ECD4F8EDEF7}"/>
              </a:ext>
            </a:extLst>
          </p:cNvPr>
          <p:cNvSpPr>
            <a:spLocks noGrp="1"/>
          </p:cNvSpPr>
          <p:nvPr>
            <p:custDataLst>
              <p:tags r:id="rId27"/>
            </p:custDataLst>
          </p:nvPr>
        </p:nvSpPr>
        <p:spPr bwMode="gray">
          <a:xfrm>
            <a:off x="561975" y="3605213"/>
            <a:ext cx="936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r">
              <a:spcBef>
                <a:spcPct val="0"/>
              </a:spcBef>
              <a:spcAft>
                <a:spcPct val="0"/>
              </a:spcAft>
            </a:pPr>
            <a:fld id="{0E4E5BC0-CE61-4E2C-9CBA-8D8FE7EEFE81}" type="datetime'''''1''2'''''''''''''''''''''''''''''''''''''''''''''''''''">
              <a:rPr lang="de-DE" altLang="en-US" sz="800" smtClean="0">
                <a:latin typeface="Gotham Light" pitchFamily="50" charset="0"/>
                <a:cs typeface="Gotham Light" pitchFamily="50" charset="0"/>
                <a:sym typeface="Gotham Light" pitchFamily="50" charset="0"/>
              </a:rPr>
              <a:pPr lvl="1" algn="r">
                <a:spcBef>
                  <a:spcPct val="0"/>
                </a:spcBef>
                <a:spcAft>
                  <a:spcPct val="0"/>
                </a:spcAft>
              </a:pPr>
              <a:t>12</a:t>
            </a:fld>
            <a:endParaRPr lang="de-DE" sz="800" dirty="0">
              <a:latin typeface="Gotham Light" pitchFamily="50" charset="0"/>
              <a:cs typeface="Gotham Light" pitchFamily="50" charset="0"/>
              <a:sym typeface="Gotham Light" pitchFamily="50" charset="0"/>
            </a:endParaRPr>
          </a:p>
        </p:txBody>
      </p:sp>
      <p:sp>
        <p:nvSpPr>
          <p:cNvPr id="169" name="Textplatzhalter 2"/>
          <p:cNvSpPr>
            <a:spLocks noGrp="1"/>
          </p:cNvSpPr>
          <p:nvPr>
            <p:custDataLst>
              <p:tags r:id="rId28"/>
            </p:custDataLst>
          </p:nvPr>
        </p:nvSpPr>
        <p:spPr bwMode="gray">
          <a:xfrm>
            <a:off x="1928813" y="5149850"/>
            <a:ext cx="203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2FE23653-9A74-4028-A56F-C44DCE5028A8}" type="datetime'''2''''''''''''''''''''''''''''''''''0''''''0'''''''''''''''''">
              <a:rPr lang="de-DE" altLang="en-US" sz="800">
                <a:latin typeface="Gotham Light" pitchFamily="50" charset="0"/>
                <a:cs typeface="Gotham Light" pitchFamily="50" charset="0"/>
                <a:sym typeface="Gotham Light" pitchFamily="50" charset="0"/>
              </a:rPr>
              <a:pPr lvl="1" algn="ctr">
                <a:spcBef>
                  <a:spcPct val="0"/>
                </a:spcBef>
                <a:spcAft>
                  <a:spcPct val="0"/>
                </a:spcAft>
              </a:pPr>
              <a:t>200</a:t>
            </a:fld>
            <a:endParaRPr lang="de-DE" sz="800" dirty="0">
              <a:latin typeface="Gotham Light" pitchFamily="50" charset="0"/>
              <a:cs typeface="Gotham Light" pitchFamily="50" charset="0"/>
              <a:sym typeface="Gotham Light" pitchFamily="50" charset="0"/>
            </a:endParaRPr>
          </a:p>
        </p:txBody>
      </p:sp>
      <p:sp>
        <p:nvSpPr>
          <p:cNvPr id="145" name="Textplatzhalter 2"/>
          <p:cNvSpPr>
            <a:spLocks noGrp="1"/>
          </p:cNvSpPr>
          <p:nvPr>
            <p:custDataLst>
              <p:tags r:id="rId29"/>
            </p:custDataLst>
          </p:nvPr>
        </p:nvSpPr>
        <p:spPr bwMode="gray">
          <a:xfrm>
            <a:off x="3844925" y="5149850"/>
            <a:ext cx="1952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494DDB00-947E-41C4-A5E1-B3CF357A3EF3}" type="datetime'3''''''''''''''5''''''''''''''0'">
              <a:rPr lang="de-DE" altLang="en-US" sz="800">
                <a:latin typeface="Gotham Light" pitchFamily="50" charset="0"/>
                <a:cs typeface="Gotham Light" pitchFamily="50" charset="0"/>
                <a:sym typeface="Gotham Light" pitchFamily="50" charset="0"/>
              </a:rPr>
              <a:pPr lvl="1" algn="ctr">
                <a:spcBef>
                  <a:spcPct val="0"/>
                </a:spcBef>
                <a:spcAft>
                  <a:spcPct val="0"/>
                </a:spcAft>
              </a:pPr>
              <a:t>350</a:t>
            </a:fld>
            <a:endParaRPr lang="de-DE" sz="800" dirty="0">
              <a:latin typeface="Gotham Light" pitchFamily="50" charset="0"/>
              <a:cs typeface="Gotham Light" pitchFamily="50" charset="0"/>
              <a:sym typeface="Gotham Light" pitchFamily="50" charset="0"/>
            </a:endParaRPr>
          </a:p>
        </p:txBody>
      </p:sp>
      <p:sp>
        <p:nvSpPr>
          <p:cNvPr id="380" name="Textplatzhalter 2">
            <a:extLst>
              <a:ext uri="{FF2B5EF4-FFF2-40B4-BE49-F238E27FC236}">
                <a16:creationId xmlns:a16="http://schemas.microsoft.com/office/drawing/2014/main" xmlns="" id="{4D0DC1CB-9275-4668-925D-456368FF3819}"/>
              </a:ext>
            </a:extLst>
          </p:cNvPr>
          <p:cNvSpPr>
            <a:spLocks noGrp="1"/>
          </p:cNvSpPr>
          <p:nvPr>
            <p:custDataLst>
              <p:tags r:id="rId30"/>
            </p:custDataLst>
          </p:nvPr>
        </p:nvSpPr>
        <p:spPr bwMode="gray">
          <a:xfrm>
            <a:off x="592138" y="4076700"/>
            <a:ext cx="635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r">
              <a:spcBef>
                <a:spcPct val="0"/>
              </a:spcBef>
              <a:spcAft>
                <a:spcPct val="0"/>
              </a:spcAft>
            </a:pPr>
            <a:fld id="{7837E833-F66C-4265-9B55-F6689F4D4F36}" type="datetime'''''''''''''''''''''''8'''''''''''">
              <a:rPr lang="de-DE" altLang="en-US" sz="800" smtClean="0">
                <a:latin typeface="Gotham Light" pitchFamily="50" charset="0"/>
                <a:cs typeface="Gotham Light" pitchFamily="50" charset="0"/>
                <a:sym typeface="Gotham Light" pitchFamily="50" charset="0"/>
              </a:rPr>
              <a:pPr lvl="1" algn="r">
                <a:spcBef>
                  <a:spcPct val="0"/>
                </a:spcBef>
                <a:spcAft>
                  <a:spcPct val="0"/>
                </a:spcAft>
              </a:pPr>
              <a:t>8</a:t>
            </a:fld>
            <a:endParaRPr lang="de-DE" sz="800" dirty="0">
              <a:latin typeface="Gotham Light" pitchFamily="50" charset="0"/>
              <a:cs typeface="Gotham Light" pitchFamily="50" charset="0"/>
              <a:sym typeface="Gotham Light" pitchFamily="50" charset="0"/>
            </a:endParaRPr>
          </a:p>
        </p:txBody>
      </p:sp>
      <p:sp>
        <p:nvSpPr>
          <p:cNvPr id="172" name="Textplatzhalter 2"/>
          <p:cNvSpPr>
            <a:spLocks noGrp="1"/>
          </p:cNvSpPr>
          <p:nvPr>
            <p:custDataLst>
              <p:tags r:id="rId31"/>
            </p:custDataLst>
          </p:nvPr>
        </p:nvSpPr>
        <p:spPr bwMode="gray">
          <a:xfrm>
            <a:off x="5969000" y="5149850"/>
            <a:ext cx="2079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E51B3EF9-B9F7-49BA-89FC-77E76713E17A}" type="datetime'''''''6''''''''00'''''''''''''''''''''''''''">
              <a:rPr lang="de-DE" altLang="en-US" sz="800">
                <a:latin typeface="Gotham Light" pitchFamily="50" charset="0"/>
                <a:cs typeface="Gotham Light" pitchFamily="50" charset="0"/>
                <a:sym typeface="Gotham Light" pitchFamily="50" charset="0"/>
              </a:rPr>
              <a:pPr lvl="1" algn="ctr">
                <a:spcBef>
                  <a:spcPct val="0"/>
                </a:spcBef>
                <a:spcAft>
                  <a:spcPct val="0"/>
                </a:spcAft>
              </a:pPr>
              <a:t>600</a:t>
            </a:fld>
            <a:endParaRPr lang="de-DE" sz="800" dirty="0">
              <a:latin typeface="Gotham Light" pitchFamily="50" charset="0"/>
              <a:cs typeface="Gotham Light" pitchFamily="50" charset="0"/>
              <a:sym typeface="Gotham Light" pitchFamily="50" charset="0"/>
            </a:endParaRPr>
          </a:p>
        </p:txBody>
      </p:sp>
      <p:sp>
        <p:nvSpPr>
          <p:cNvPr id="182" name="Textplatzhalter 2">
            <a:extLst>
              <a:ext uri="{FF2B5EF4-FFF2-40B4-BE49-F238E27FC236}">
                <a16:creationId xmlns:a16="http://schemas.microsoft.com/office/drawing/2014/main" xmlns="" id="{2AD26194-3AC5-4B6D-AC32-7BED11751E62}"/>
              </a:ext>
            </a:extLst>
          </p:cNvPr>
          <p:cNvSpPr>
            <a:spLocks noGrp="1"/>
          </p:cNvSpPr>
          <p:nvPr>
            <p:custDataLst>
              <p:tags r:id="rId32"/>
            </p:custDataLst>
          </p:nvPr>
        </p:nvSpPr>
        <p:spPr bwMode="gray">
          <a:xfrm>
            <a:off x="8539163" y="5149850"/>
            <a:ext cx="2936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52795688-9BC9-4BC7-A2A2-B89C3D82B77B}" type="datetime'''''''''3''.''''''''''''''''''''''''''''''''600'''">
              <a:rPr lang="de-DE" altLang="en-US" sz="800" smtClean="0">
                <a:latin typeface="Gotham Light" pitchFamily="50" charset="0"/>
                <a:cs typeface="Gotham Light" pitchFamily="50" charset="0"/>
                <a:sym typeface="Gotham Light" pitchFamily="50" charset="0"/>
              </a:rPr>
              <a:pPr lvl="1" algn="ctr">
                <a:spcBef>
                  <a:spcPct val="0"/>
                </a:spcBef>
                <a:spcAft>
                  <a:spcPct val="0"/>
                </a:spcAft>
              </a:pPr>
              <a:t>3.600</a:t>
            </a:fld>
            <a:endParaRPr lang="de-DE" sz="800" dirty="0">
              <a:latin typeface="Gotham Light" pitchFamily="50" charset="0"/>
              <a:cs typeface="Gotham Light" pitchFamily="50" charset="0"/>
              <a:sym typeface="Gotham Light" pitchFamily="50" charset="0"/>
            </a:endParaRPr>
          </a:p>
        </p:txBody>
      </p:sp>
      <p:sp>
        <p:nvSpPr>
          <p:cNvPr id="168" name="Textplatzhalter 2"/>
          <p:cNvSpPr>
            <a:spLocks noGrp="1"/>
          </p:cNvSpPr>
          <p:nvPr>
            <p:custDataLst>
              <p:tags r:id="rId33"/>
            </p:custDataLst>
          </p:nvPr>
        </p:nvSpPr>
        <p:spPr bwMode="gray">
          <a:xfrm>
            <a:off x="668338" y="5149850"/>
            <a:ext cx="1762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C0403151-624A-441B-943B-E4A4780B6ED2}" type="datetime'''''''1''''''''''''''''''''''''0''0'''''''''''''''''''">
              <a:rPr lang="de-DE" altLang="en-US" sz="800">
                <a:latin typeface="Gotham Light" pitchFamily="50" charset="0"/>
                <a:cs typeface="Gotham Light" pitchFamily="50" charset="0"/>
                <a:sym typeface="Gotham Light" pitchFamily="50" charset="0"/>
              </a:rPr>
              <a:pPr lvl="1" algn="ctr">
                <a:spcBef>
                  <a:spcPct val="0"/>
                </a:spcBef>
                <a:spcAft>
                  <a:spcPct val="0"/>
                </a:spcAft>
              </a:pPr>
              <a:t>100</a:t>
            </a:fld>
            <a:endParaRPr lang="de-DE" sz="800" dirty="0">
              <a:latin typeface="Gotham Light" pitchFamily="50" charset="0"/>
              <a:cs typeface="Gotham Light" pitchFamily="50" charset="0"/>
              <a:sym typeface="Gotham Light" pitchFamily="50" charset="0"/>
            </a:endParaRPr>
          </a:p>
        </p:txBody>
      </p:sp>
      <p:sp>
        <p:nvSpPr>
          <p:cNvPr id="143" name="Textplatzhalter 2"/>
          <p:cNvSpPr>
            <a:spLocks noGrp="1"/>
          </p:cNvSpPr>
          <p:nvPr>
            <p:custDataLst>
              <p:tags r:id="rId34"/>
            </p:custDataLst>
          </p:nvPr>
        </p:nvSpPr>
        <p:spPr bwMode="gray">
          <a:xfrm>
            <a:off x="1309688" y="5149850"/>
            <a:ext cx="1666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B13BE0E1-F0C1-4666-BF16-ECFE211D13F5}" type="datetime'''''''''''''''''''''''''''''''''''''''''1''''''''5''''0'">
              <a:rPr lang="de-DE" altLang="en-US" sz="800">
                <a:latin typeface="Gotham Light" pitchFamily="50" charset="0"/>
                <a:cs typeface="Gotham Light" pitchFamily="50" charset="0"/>
                <a:sym typeface="Gotham Light" pitchFamily="50" charset="0"/>
              </a:rPr>
              <a:pPr lvl="1" algn="ctr">
                <a:spcBef>
                  <a:spcPct val="0"/>
                </a:spcBef>
                <a:spcAft>
                  <a:spcPct val="0"/>
                </a:spcAft>
              </a:pPr>
              <a:t>150</a:t>
            </a:fld>
            <a:endParaRPr lang="de-DE" sz="800" dirty="0">
              <a:latin typeface="Gotham Light" pitchFamily="50" charset="0"/>
              <a:cs typeface="Gotham Light" pitchFamily="50" charset="0"/>
              <a:sym typeface="Gotham Light" pitchFamily="50" charset="0"/>
            </a:endParaRPr>
          </a:p>
        </p:txBody>
      </p:sp>
      <p:sp>
        <p:nvSpPr>
          <p:cNvPr id="379" name="Textplatzhalter 2">
            <a:extLst>
              <a:ext uri="{FF2B5EF4-FFF2-40B4-BE49-F238E27FC236}">
                <a16:creationId xmlns:a16="http://schemas.microsoft.com/office/drawing/2014/main" xmlns="" id="{B753067C-0C4D-49B5-AB70-6AF63E3D4545}"/>
              </a:ext>
            </a:extLst>
          </p:cNvPr>
          <p:cNvSpPr>
            <a:spLocks noGrp="1"/>
          </p:cNvSpPr>
          <p:nvPr>
            <p:custDataLst>
              <p:tags r:id="rId35"/>
            </p:custDataLst>
          </p:nvPr>
        </p:nvSpPr>
        <p:spPr bwMode="gray">
          <a:xfrm>
            <a:off x="588963" y="4549775"/>
            <a:ext cx="666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r">
              <a:spcBef>
                <a:spcPct val="0"/>
              </a:spcBef>
              <a:spcAft>
                <a:spcPct val="0"/>
              </a:spcAft>
            </a:pPr>
            <a:fld id="{08992049-1F0E-4625-B6EB-C624AB35E090}" type="datetime'''4'''''''''''''''''''">
              <a:rPr lang="de-DE" altLang="en-US" sz="800" smtClean="0">
                <a:latin typeface="Gotham Light" pitchFamily="50" charset="0"/>
                <a:cs typeface="Gotham Light" pitchFamily="50" charset="0"/>
                <a:sym typeface="Gotham Light" pitchFamily="50" charset="0"/>
              </a:rPr>
              <a:pPr lvl="1" algn="r">
                <a:spcBef>
                  <a:spcPct val="0"/>
                </a:spcBef>
                <a:spcAft>
                  <a:spcPct val="0"/>
                </a:spcAft>
              </a:pPr>
              <a:t>4</a:t>
            </a:fld>
            <a:endParaRPr lang="de-DE" sz="800" dirty="0">
              <a:latin typeface="Gotham Light" pitchFamily="50" charset="0"/>
              <a:cs typeface="Gotham Light" pitchFamily="50" charset="0"/>
              <a:sym typeface="Gotham Light" pitchFamily="50" charset="0"/>
            </a:endParaRPr>
          </a:p>
        </p:txBody>
      </p:sp>
      <p:sp>
        <p:nvSpPr>
          <p:cNvPr id="144" name="Textplatzhalter 2"/>
          <p:cNvSpPr>
            <a:spLocks noGrp="1"/>
          </p:cNvSpPr>
          <p:nvPr>
            <p:custDataLst>
              <p:tags r:id="rId36"/>
            </p:custDataLst>
          </p:nvPr>
        </p:nvSpPr>
        <p:spPr bwMode="gray">
          <a:xfrm>
            <a:off x="2570163" y="5149850"/>
            <a:ext cx="193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D9257F27-E3D3-44CC-ACA0-581B2AB6D131}" type="datetime'''''''''''''''''2''''50'''''''''''''''">
              <a:rPr lang="de-DE" altLang="en-US" sz="800">
                <a:latin typeface="Gotham Light" pitchFamily="50" charset="0"/>
                <a:cs typeface="Gotham Light" pitchFamily="50" charset="0"/>
                <a:sym typeface="Gotham Light" pitchFamily="50" charset="0"/>
              </a:rPr>
              <a:pPr lvl="1" algn="ctr">
                <a:spcBef>
                  <a:spcPct val="0"/>
                </a:spcBef>
                <a:spcAft>
                  <a:spcPct val="0"/>
                </a:spcAft>
              </a:pPr>
              <a:t>250</a:t>
            </a:fld>
            <a:endParaRPr lang="de-DE" sz="800" dirty="0">
              <a:latin typeface="Gotham Light" pitchFamily="50" charset="0"/>
              <a:cs typeface="Gotham Light" pitchFamily="50" charset="0"/>
              <a:sym typeface="Gotham Light" pitchFamily="50" charset="0"/>
            </a:endParaRPr>
          </a:p>
        </p:txBody>
      </p:sp>
      <p:sp>
        <p:nvSpPr>
          <p:cNvPr id="170" name="Textplatzhalter 2"/>
          <p:cNvSpPr>
            <a:spLocks noGrp="1"/>
          </p:cNvSpPr>
          <p:nvPr>
            <p:custDataLst>
              <p:tags r:id="rId37"/>
            </p:custDataLst>
          </p:nvPr>
        </p:nvSpPr>
        <p:spPr bwMode="gray">
          <a:xfrm>
            <a:off x="3201988" y="5149850"/>
            <a:ext cx="2047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4696B774-142D-49F4-9267-AC1E72EF3B26}" type="datetime'''''''''''''3''''''''''''''''''''''''''''''''''''0''''''''0'''">
              <a:rPr lang="de-DE" altLang="en-US" sz="800">
                <a:latin typeface="Gotham Light" pitchFamily="50" charset="0"/>
                <a:cs typeface="Gotham Light" pitchFamily="50" charset="0"/>
                <a:sym typeface="Gotham Light" pitchFamily="50" charset="0"/>
              </a:rPr>
              <a:pPr lvl="1" algn="ctr">
                <a:spcBef>
                  <a:spcPct val="0"/>
                </a:spcBef>
                <a:spcAft>
                  <a:spcPct val="0"/>
                </a:spcAft>
              </a:pPr>
              <a:t>300</a:t>
            </a:fld>
            <a:endParaRPr lang="de-DE" sz="800" dirty="0">
              <a:latin typeface="Gotham Light" pitchFamily="50" charset="0"/>
              <a:cs typeface="Gotham Light" pitchFamily="50" charset="0"/>
              <a:sym typeface="Gotham Light" pitchFamily="50" charset="0"/>
            </a:endParaRPr>
          </a:p>
        </p:txBody>
      </p:sp>
      <p:sp>
        <p:nvSpPr>
          <p:cNvPr id="166" name="Textplatzhalter 2">
            <a:extLst>
              <a:ext uri="{FF2B5EF4-FFF2-40B4-BE49-F238E27FC236}">
                <a16:creationId xmlns:a16="http://schemas.microsoft.com/office/drawing/2014/main" xmlns="" id="{F3326702-B1AB-4E68-B6BB-D052A739A912}"/>
              </a:ext>
            </a:extLst>
          </p:cNvPr>
          <p:cNvSpPr>
            <a:spLocks noGrp="1"/>
          </p:cNvSpPr>
          <p:nvPr>
            <p:custDataLst>
              <p:tags r:id="rId38"/>
            </p:custDataLst>
          </p:nvPr>
        </p:nvSpPr>
        <p:spPr bwMode="gray">
          <a:xfrm>
            <a:off x="7612063" y="5149850"/>
            <a:ext cx="2651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F97E19BB-4C58-41AE-9C83-1B9717E74A92}" type="datetime'''''1''''''''''''''.''9''0''''''''''''''0'''''''''''''''">
              <a:rPr lang="de-DE" altLang="en-US" sz="800" smtClean="0">
                <a:latin typeface="Gotham Light" pitchFamily="50" charset="0"/>
                <a:cs typeface="Gotham Light" pitchFamily="50" charset="0"/>
                <a:sym typeface="Gotham Light" pitchFamily="50" charset="0"/>
              </a:rPr>
              <a:pPr lvl="1" algn="ctr">
                <a:spcBef>
                  <a:spcPct val="0"/>
                </a:spcBef>
                <a:spcAft>
                  <a:spcPct val="0"/>
                </a:spcAft>
              </a:pPr>
              <a:t>1.900</a:t>
            </a:fld>
            <a:endParaRPr lang="de-DE" sz="800" dirty="0">
              <a:latin typeface="Gotham Light" pitchFamily="50" charset="0"/>
              <a:cs typeface="Gotham Light" pitchFamily="50" charset="0"/>
              <a:sym typeface="Gotham Light" pitchFamily="50" charset="0"/>
            </a:endParaRPr>
          </a:p>
        </p:txBody>
      </p:sp>
      <p:sp>
        <p:nvSpPr>
          <p:cNvPr id="146" name="Textplatzhalter 2"/>
          <p:cNvSpPr>
            <a:spLocks noGrp="1"/>
          </p:cNvSpPr>
          <p:nvPr>
            <p:custDataLst>
              <p:tags r:id="rId39"/>
            </p:custDataLst>
          </p:nvPr>
        </p:nvSpPr>
        <p:spPr bwMode="gray">
          <a:xfrm>
            <a:off x="5338763" y="5149850"/>
            <a:ext cx="1952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lgn="ctr">
              <a:spcBef>
                <a:spcPct val="0"/>
              </a:spcBef>
              <a:spcAft>
                <a:spcPct val="0"/>
              </a:spcAft>
            </a:pPr>
            <a:fld id="{4D310B30-EA1E-44FF-BE24-38E5303543E3}" type="datetime'''''''''''''''''''''''''''''''''5''''5''''''''''''''''0'''''''">
              <a:rPr lang="de-DE" altLang="en-US" sz="800">
                <a:latin typeface="Gotham Light" pitchFamily="50" charset="0"/>
                <a:cs typeface="Gotham Light" pitchFamily="50" charset="0"/>
                <a:sym typeface="Gotham Light" pitchFamily="50" charset="0"/>
              </a:rPr>
              <a:pPr lvl="1" algn="ctr">
                <a:spcBef>
                  <a:spcPct val="0"/>
                </a:spcBef>
                <a:spcAft>
                  <a:spcPct val="0"/>
                </a:spcAft>
              </a:pPr>
              <a:t>550</a:t>
            </a:fld>
            <a:endParaRPr lang="de-DE" sz="800" dirty="0">
              <a:latin typeface="Gotham Light" pitchFamily="50" charset="0"/>
              <a:cs typeface="Gotham Light" pitchFamily="50" charset="0"/>
              <a:sym typeface="Gotham Light" pitchFamily="50" charset="0"/>
            </a:endParaRPr>
          </a:p>
        </p:txBody>
      </p:sp>
      <p:cxnSp>
        <p:nvCxnSpPr>
          <p:cNvPr id="107" name="Gerader Verbinder 106">
            <a:extLst>
              <a:ext uri="{FF2B5EF4-FFF2-40B4-BE49-F238E27FC236}">
                <a16:creationId xmlns:a16="http://schemas.microsoft.com/office/drawing/2014/main" xmlns="" id="{EB211161-3301-4CDF-BA67-5BB94AA513A4}"/>
              </a:ext>
            </a:extLst>
          </p:cNvPr>
          <p:cNvCxnSpPr>
            <a:cxnSpLocks/>
          </p:cNvCxnSpPr>
          <p:nvPr>
            <p:custDataLst>
              <p:tags r:id="rId40"/>
            </p:custDataLst>
          </p:nvPr>
        </p:nvCxnSpPr>
        <p:spPr bwMode="gray">
          <a:xfrm>
            <a:off x="2667000" y="3795713"/>
            <a:ext cx="2130425"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5" name="Gerader Verbinder 314">
            <a:extLst>
              <a:ext uri="{FF2B5EF4-FFF2-40B4-BE49-F238E27FC236}">
                <a16:creationId xmlns:a16="http://schemas.microsoft.com/office/drawing/2014/main" xmlns="" id="{92A4EF1A-2141-46CB-B32C-39AEC878936E}"/>
              </a:ext>
            </a:extLst>
          </p:cNvPr>
          <p:cNvCxnSpPr>
            <a:cxnSpLocks/>
          </p:cNvCxnSpPr>
          <p:nvPr>
            <p:custDataLst>
              <p:tags r:id="rId41"/>
            </p:custDataLst>
          </p:nvPr>
        </p:nvCxnSpPr>
        <p:spPr bwMode="gray">
          <a:xfrm flipV="1">
            <a:off x="4797425" y="1730374"/>
            <a:ext cx="0" cy="3352800"/>
          </a:xfrm>
          <a:prstGeom prst="line">
            <a:avLst/>
          </a:prstGeom>
          <a:ln w="9525" cap="flat" cmpd="sng" algn="ctr">
            <a:solidFill>
              <a:schemeClr val="accent5"/>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xmlns="" id="{485944B0-F808-4F1E-8696-C420D4F2CD89}"/>
              </a:ext>
            </a:extLst>
          </p:cNvPr>
          <p:cNvCxnSpPr>
            <a:cxnSpLocks/>
          </p:cNvCxnSpPr>
          <p:nvPr>
            <p:custDataLst>
              <p:tags r:id="rId42"/>
            </p:custDataLst>
          </p:nvPr>
        </p:nvCxnSpPr>
        <p:spPr bwMode="gray">
          <a:xfrm>
            <a:off x="6881813" y="3735388"/>
            <a:ext cx="1790700"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0" name="Gerader Verbinder 329">
            <a:extLst>
              <a:ext uri="{FF2B5EF4-FFF2-40B4-BE49-F238E27FC236}">
                <a16:creationId xmlns:a16="http://schemas.microsoft.com/office/drawing/2014/main" xmlns="" id="{5A0766BE-484E-4DFF-9130-321433B24E01}"/>
              </a:ext>
            </a:extLst>
          </p:cNvPr>
          <p:cNvCxnSpPr>
            <a:cxnSpLocks/>
          </p:cNvCxnSpPr>
          <p:nvPr>
            <p:custDataLst>
              <p:tags r:id="rId43"/>
            </p:custDataLst>
          </p:nvPr>
        </p:nvCxnSpPr>
        <p:spPr bwMode="gray">
          <a:xfrm>
            <a:off x="755650" y="2751138"/>
            <a:ext cx="7929563" cy="0"/>
          </a:xfrm>
          <a:prstGeom prst="line">
            <a:avLst/>
          </a:prstGeom>
          <a:ln w="9525" cap="flat" cmpd="sng" algn="ctr">
            <a:solidFill>
              <a:schemeClr val="accent5"/>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xmlns="" id="{507EE436-7D0A-4065-9BFE-26B2B250DE5C}"/>
              </a:ext>
            </a:extLst>
          </p:cNvPr>
          <p:cNvCxnSpPr>
            <a:cxnSpLocks/>
          </p:cNvCxnSpPr>
          <p:nvPr>
            <p:custDataLst>
              <p:tags r:id="rId44"/>
            </p:custDataLst>
          </p:nvPr>
        </p:nvCxnSpPr>
        <p:spPr bwMode="gray">
          <a:xfrm>
            <a:off x="755650" y="3405188"/>
            <a:ext cx="1911350"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2" name="Gerade Verbindung 291"/>
          <p:cNvCxnSpPr>
            <a:cxnSpLocks/>
          </p:cNvCxnSpPr>
          <p:nvPr>
            <p:custDataLst>
              <p:tags r:id="rId45"/>
            </p:custDataLst>
          </p:nvPr>
        </p:nvCxnSpPr>
        <p:spPr bwMode="gray">
          <a:xfrm>
            <a:off x="6881813" y="1730374"/>
            <a:ext cx="0" cy="3352800"/>
          </a:xfrm>
          <a:prstGeom prst="line">
            <a:avLst/>
          </a:prstGeom>
          <a:ln w="9525">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xmlns="" id="{A31C7EAB-7D3E-4174-8AF0-31D6D61FA2E3}"/>
              </a:ext>
            </a:extLst>
          </p:cNvPr>
          <p:cNvCxnSpPr>
            <a:cxnSpLocks/>
          </p:cNvCxnSpPr>
          <p:nvPr>
            <p:custDataLst>
              <p:tags r:id="rId46"/>
            </p:custDataLst>
          </p:nvPr>
        </p:nvCxnSpPr>
        <p:spPr bwMode="gray">
          <a:xfrm>
            <a:off x="4797425" y="3711575"/>
            <a:ext cx="2084388" cy="0"/>
          </a:xfrm>
          <a:prstGeom prst="line">
            <a:avLst/>
          </a:pr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useBgFill="1">
        <p:nvSpPr>
          <p:cNvPr id="55" name="Freihandform: Form 54">
            <a:extLst>
              <a:ext uri="{FF2B5EF4-FFF2-40B4-BE49-F238E27FC236}">
                <a16:creationId xmlns:a16="http://schemas.microsoft.com/office/drawing/2014/main" xmlns="" id="{8F6B5128-4D7B-4B26-9187-6DC5179A45F5}"/>
              </a:ext>
            </a:extLst>
          </p:cNvPr>
          <p:cNvSpPr/>
          <p:nvPr>
            <p:custDataLst>
              <p:tags r:id="rId47"/>
            </p:custDataLst>
          </p:nvPr>
        </p:nvSpPr>
        <p:spPr bwMode="auto">
          <a:xfrm>
            <a:off x="682625" y="2584450"/>
            <a:ext cx="146051" cy="96839"/>
          </a:xfrm>
          <a:custGeom>
            <a:avLst/>
            <a:gdLst/>
            <a:ahLst/>
            <a:cxnLst/>
            <a:rect l="0" t="0" r="0" b="0"/>
            <a:pathLst>
              <a:path w="146051" h="96839">
                <a:moveTo>
                  <a:pt x="0" y="39688"/>
                </a:moveTo>
                <a:lnTo>
                  <a:pt x="146050" y="0"/>
                </a:lnTo>
                <a:lnTo>
                  <a:pt x="146050" y="57150"/>
                </a:lnTo>
                <a:lnTo>
                  <a:pt x="0" y="9683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58" name="Freihandform: Form 57">
            <a:extLst>
              <a:ext uri="{FF2B5EF4-FFF2-40B4-BE49-F238E27FC236}">
                <a16:creationId xmlns:a16="http://schemas.microsoft.com/office/drawing/2014/main" xmlns="" id="{6EA5FED9-7F18-448F-9C08-1C276F18C550}"/>
              </a:ext>
            </a:extLst>
          </p:cNvPr>
          <p:cNvSpPr/>
          <p:nvPr>
            <p:custDataLst>
              <p:tags r:id="rId48"/>
            </p:custDataLst>
          </p:nvPr>
        </p:nvSpPr>
        <p:spPr bwMode="auto">
          <a:xfrm>
            <a:off x="682625" y="2714625"/>
            <a:ext cx="146051" cy="96839"/>
          </a:xfrm>
          <a:custGeom>
            <a:avLst/>
            <a:gdLst/>
            <a:ahLst/>
            <a:cxnLst/>
            <a:rect l="0" t="0" r="0" b="0"/>
            <a:pathLst>
              <a:path w="146051" h="96839">
                <a:moveTo>
                  <a:pt x="0" y="39688"/>
                </a:moveTo>
                <a:lnTo>
                  <a:pt x="146050" y="0"/>
                </a:lnTo>
                <a:lnTo>
                  <a:pt x="146050" y="57150"/>
                </a:lnTo>
                <a:lnTo>
                  <a:pt x="0" y="9683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61" name="Freihandform: Form 60">
            <a:extLst>
              <a:ext uri="{FF2B5EF4-FFF2-40B4-BE49-F238E27FC236}">
                <a16:creationId xmlns:a16="http://schemas.microsoft.com/office/drawing/2014/main" xmlns="" id="{BED033C7-ABE5-4FE0-9573-B74E3A1A1BAF}"/>
              </a:ext>
            </a:extLst>
          </p:cNvPr>
          <p:cNvSpPr/>
          <p:nvPr>
            <p:custDataLst>
              <p:tags r:id="rId49"/>
            </p:custDataLst>
          </p:nvPr>
        </p:nvSpPr>
        <p:spPr bwMode="auto">
          <a:xfrm>
            <a:off x="682625" y="2844800"/>
            <a:ext cx="146051" cy="96839"/>
          </a:xfrm>
          <a:custGeom>
            <a:avLst/>
            <a:gdLst/>
            <a:ahLst/>
            <a:cxnLst/>
            <a:rect l="0" t="0" r="0" b="0"/>
            <a:pathLst>
              <a:path w="146051" h="96839">
                <a:moveTo>
                  <a:pt x="0" y="39688"/>
                </a:moveTo>
                <a:lnTo>
                  <a:pt x="146050" y="0"/>
                </a:lnTo>
                <a:lnTo>
                  <a:pt x="146050" y="57150"/>
                </a:lnTo>
                <a:lnTo>
                  <a:pt x="0" y="9683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52" name="Freihandform: Form 51">
            <a:extLst>
              <a:ext uri="{FF2B5EF4-FFF2-40B4-BE49-F238E27FC236}">
                <a16:creationId xmlns:a16="http://schemas.microsoft.com/office/drawing/2014/main" xmlns="" id="{D3D2A42D-A04B-409A-A278-8247FCD7A4AB}"/>
              </a:ext>
            </a:extLst>
          </p:cNvPr>
          <p:cNvSpPr/>
          <p:nvPr>
            <p:custDataLst>
              <p:tags r:id="rId50"/>
            </p:custDataLst>
          </p:nvPr>
        </p:nvSpPr>
        <p:spPr bwMode="auto">
          <a:xfrm>
            <a:off x="682625" y="2090738"/>
            <a:ext cx="146051" cy="96838"/>
          </a:xfrm>
          <a:custGeom>
            <a:avLst/>
            <a:gdLst/>
            <a:ahLst/>
            <a:cxnLst/>
            <a:rect l="0" t="0" r="0" b="0"/>
            <a:pathLst>
              <a:path w="146051" h="96838">
                <a:moveTo>
                  <a:pt x="0" y="39687"/>
                </a:moveTo>
                <a:lnTo>
                  <a:pt x="146050" y="0"/>
                </a:lnTo>
                <a:lnTo>
                  <a:pt x="146050" y="57150"/>
                </a:lnTo>
                <a:lnTo>
                  <a:pt x="0" y="9683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53" name="Freihandform: Form 52">
            <a:extLst>
              <a:ext uri="{FF2B5EF4-FFF2-40B4-BE49-F238E27FC236}">
                <a16:creationId xmlns:a16="http://schemas.microsoft.com/office/drawing/2014/main" xmlns="" id="{CB4E8607-5D78-4595-A0A2-78FACCC8DB80}"/>
              </a:ext>
            </a:extLst>
          </p:cNvPr>
          <p:cNvSpPr/>
          <p:nvPr>
            <p:custDataLst>
              <p:tags r:id="rId51"/>
            </p:custDataLst>
          </p:nvPr>
        </p:nvSpPr>
        <p:spPr bwMode="auto">
          <a:xfrm>
            <a:off x="682625" y="2584450"/>
            <a:ext cx="146051" cy="39689"/>
          </a:xfrm>
          <a:custGeom>
            <a:avLst/>
            <a:gdLst/>
            <a:ahLst/>
            <a:cxnLst/>
            <a:rect l="0" t="0" r="0" b="0"/>
            <a:pathLst>
              <a:path w="146051" h="39689">
                <a:moveTo>
                  <a:pt x="0" y="39688"/>
                </a:moveTo>
                <a:lnTo>
                  <a:pt x="146050" y="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9" name="Freihandform: Form 58">
            <a:extLst>
              <a:ext uri="{FF2B5EF4-FFF2-40B4-BE49-F238E27FC236}">
                <a16:creationId xmlns:a16="http://schemas.microsoft.com/office/drawing/2014/main" xmlns="" id="{D6B84446-F2B1-43BD-8D4B-06B537EC2FD2}"/>
              </a:ext>
            </a:extLst>
          </p:cNvPr>
          <p:cNvSpPr/>
          <p:nvPr>
            <p:custDataLst>
              <p:tags r:id="rId52"/>
            </p:custDataLst>
          </p:nvPr>
        </p:nvSpPr>
        <p:spPr bwMode="auto">
          <a:xfrm>
            <a:off x="682625" y="2844800"/>
            <a:ext cx="146051" cy="39689"/>
          </a:xfrm>
          <a:custGeom>
            <a:avLst/>
            <a:gdLst/>
            <a:ahLst/>
            <a:cxnLst/>
            <a:rect l="0" t="0" r="0" b="0"/>
            <a:pathLst>
              <a:path w="146051" h="39689">
                <a:moveTo>
                  <a:pt x="0" y="39688"/>
                </a:moveTo>
                <a:lnTo>
                  <a:pt x="146050" y="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7" name="Freihandform: Form 56">
            <a:extLst>
              <a:ext uri="{FF2B5EF4-FFF2-40B4-BE49-F238E27FC236}">
                <a16:creationId xmlns:a16="http://schemas.microsoft.com/office/drawing/2014/main" xmlns="" id="{C0DF0A9E-D8F8-45B8-B552-E5FCC0B971BD}"/>
              </a:ext>
            </a:extLst>
          </p:cNvPr>
          <p:cNvSpPr/>
          <p:nvPr>
            <p:custDataLst>
              <p:tags r:id="rId53"/>
            </p:custDataLst>
          </p:nvPr>
        </p:nvSpPr>
        <p:spPr bwMode="auto">
          <a:xfrm>
            <a:off x="682625" y="2771775"/>
            <a:ext cx="146051" cy="39689"/>
          </a:xfrm>
          <a:custGeom>
            <a:avLst/>
            <a:gdLst/>
            <a:ahLst/>
            <a:cxnLst/>
            <a:rect l="0" t="0" r="0" b="0"/>
            <a:pathLst>
              <a:path w="146051" h="39689">
                <a:moveTo>
                  <a:pt x="0" y="39688"/>
                </a:moveTo>
                <a:lnTo>
                  <a:pt x="146050" y="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1" name="Freihandform: Form 50">
            <a:extLst>
              <a:ext uri="{FF2B5EF4-FFF2-40B4-BE49-F238E27FC236}">
                <a16:creationId xmlns:a16="http://schemas.microsoft.com/office/drawing/2014/main" xmlns="" id="{B52C9DF4-492F-4D08-A32F-60EE1761C92E}"/>
              </a:ext>
            </a:extLst>
          </p:cNvPr>
          <p:cNvSpPr/>
          <p:nvPr>
            <p:custDataLst>
              <p:tags r:id="rId54"/>
            </p:custDataLst>
          </p:nvPr>
        </p:nvSpPr>
        <p:spPr bwMode="auto">
          <a:xfrm>
            <a:off x="682625" y="2147888"/>
            <a:ext cx="146051" cy="39688"/>
          </a:xfrm>
          <a:custGeom>
            <a:avLst/>
            <a:gdLst/>
            <a:ahLst/>
            <a:cxnLst/>
            <a:rect l="0" t="0" r="0" b="0"/>
            <a:pathLst>
              <a:path w="146051" h="39688">
                <a:moveTo>
                  <a:pt x="0" y="39687"/>
                </a:moveTo>
                <a:lnTo>
                  <a:pt x="146050" y="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0" name="Freihandform: Form 59">
            <a:extLst>
              <a:ext uri="{FF2B5EF4-FFF2-40B4-BE49-F238E27FC236}">
                <a16:creationId xmlns:a16="http://schemas.microsoft.com/office/drawing/2014/main" xmlns="" id="{A5391B03-8AE9-4028-95AA-F2C8213AF15E}"/>
              </a:ext>
            </a:extLst>
          </p:cNvPr>
          <p:cNvSpPr/>
          <p:nvPr>
            <p:custDataLst>
              <p:tags r:id="rId55"/>
            </p:custDataLst>
          </p:nvPr>
        </p:nvSpPr>
        <p:spPr bwMode="auto">
          <a:xfrm>
            <a:off x="682625" y="2901950"/>
            <a:ext cx="146051" cy="39689"/>
          </a:xfrm>
          <a:custGeom>
            <a:avLst/>
            <a:gdLst/>
            <a:ahLst/>
            <a:cxnLst/>
            <a:rect l="0" t="0" r="0" b="0"/>
            <a:pathLst>
              <a:path w="146051" h="39689">
                <a:moveTo>
                  <a:pt x="0" y="39688"/>
                </a:moveTo>
                <a:lnTo>
                  <a:pt x="146050" y="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0" name="Freihandform: Form 49">
            <a:extLst>
              <a:ext uri="{FF2B5EF4-FFF2-40B4-BE49-F238E27FC236}">
                <a16:creationId xmlns:a16="http://schemas.microsoft.com/office/drawing/2014/main" xmlns="" id="{6F07E0C7-7EEF-4C5A-9793-99EF1F51A064}"/>
              </a:ext>
            </a:extLst>
          </p:cNvPr>
          <p:cNvSpPr/>
          <p:nvPr>
            <p:custDataLst>
              <p:tags r:id="rId56"/>
            </p:custDataLst>
          </p:nvPr>
        </p:nvSpPr>
        <p:spPr bwMode="auto">
          <a:xfrm>
            <a:off x="682625" y="2090738"/>
            <a:ext cx="146051" cy="39688"/>
          </a:xfrm>
          <a:custGeom>
            <a:avLst/>
            <a:gdLst/>
            <a:ahLst/>
            <a:cxnLst/>
            <a:rect l="0" t="0" r="0" b="0"/>
            <a:pathLst>
              <a:path w="146051" h="39688">
                <a:moveTo>
                  <a:pt x="0" y="39687"/>
                </a:moveTo>
                <a:lnTo>
                  <a:pt x="146050" y="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4" name="Freihandform: Form 53">
            <a:extLst>
              <a:ext uri="{FF2B5EF4-FFF2-40B4-BE49-F238E27FC236}">
                <a16:creationId xmlns:a16="http://schemas.microsoft.com/office/drawing/2014/main" xmlns="" id="{9D33E555-8BEE-4CAB-B009-FAE4FFB8B62C}"/>
              </a:ext>
            </a:extLst>
          </p:cNvPr>
          <p:cNvSpPr/>
          <p:nvPr>
            <p:custDataLst>
              <p:tags r:id="rId57"/>
            </p:custDataLst>
          </p:nvPr>
        </p:nvSpPr>
        <p:spPr bwMode="auto">
          <a:xfrm>
            <a:off x="682625" y="2641600"/>
            <a:ext cx="146051" cy="39689"/>
          </a:xfrm>
          <a:custGeom>
            <a:avLst/>
            <a:gdLst/>
            <a:ahLst/>
            <a:cxnLst/>
            <a:rect l="0" t="0" r="0" b="0"/>
            <a:pathLst>
              <a:path w="146051" h="39689">
                <a:moveTo>
                  <a:pt x="0" y="39688"/>
                </a:moveTo>
                <a:lnTo>
                  <a:pt x="146050" y="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6" name="Freihandform: Form 55">
            <a:extLst>
              <a:ext uri="{FF2B5EF4-FFF2-40B4-BE49-F238E27FC236}">
                <a16:creationId xmlns:a16="http://schemas.microsoft.com/office/drawing/2014/main" xmlns="" id="{D9C35E25-E2D2-4524-A149-C93BD76C17B1}"/>
              </a:ext>
            </a:extLst>
          </p:cNvPr>
          <p:cNvSpPr/>
          <p:nvPr>
            <p:custDataLst>
              <p:tags r:id="rId58"/>
            </p:custDataLst>
          </p:nvPr>
        </p:nvSpPr>
        <p:spPr bwMode="auto">
          <a:xfrm>
            <a:off x="682625" y="2714625"/>
            <a:ext cx="146051" cy="39689"/>
          </a:xfrm>
          <a:custGeom>
            <a:avLst/>
            <a:gdLst/>
            <a:ahLst/>
            <a:cxnLst/>
            <a:rect l="0" t="0" r="0" b="0"/>
            <a:pathLst>
              <a:path w="146051" h="39689">
                <a:moveTo>
                  <a:pt x="0" y="39688"/>
                </a:moveTo>
                <a:lnTo>
                  <a:pt x="146050" y="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useBgFill="1">
        <p:nvSpPr>
          <p:cNvPr id="8" name="Freihandform: Form 7">
            <a:extLst>
              <a:ext uri="{FF2B5EF4-FFF2-40B4-BE49-F238E27FC236}">
                <a16:creationId xmlns:a16="http://schemas.microsoft.com/office/drawing/2014/main" xmlns="" id="{A60F573B-0ED9-4B39-9401-6D75C887D3D8}"/>
              </a:ext>
            </a:extLst>
          </p:cNvPr>
          <p:cNvSpPr/>
          <p:nvPr>
            <p:custDataLst>
              <p:tags r:id="rId59"/>
            </p:custDataLst>
          </p:nvPr>
        </p:nvSpPr>
        <p:spPr bwMode="auto">
          <a:xfrm>
            <a:off x="4684713" y="5010150"/>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21" name="Freihandform: Form 20">
            <a:extLst>
              <a:ext uri="{FF2B5EF4-FFF2-40B4-BE49-F238E27FC236}">
                <a16:creationId xmlns:a16="http://schemas.microsoft.com/office/drawing/2014/main" xmlns="" id="{EE89E6E2-64F5-4A2B-84EF-573B2211712D}"/>
              </a:ext>
            </a:extLst>
          </p:cNvPr>
          <p:cNvSpPr/>
          <p:nvPr>
            <p:custDataLst>
              <p:tags r:id="rId60"/>
            </p:custDataLst>
          </p:nvPr>
        </p:nvSpPr>
        <p:spPr bwMode="auto">
          <a:xfrm>
            <a:off x="7361238" y="5010150"/>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24" name="Freihandform: Form 23">
            <a:extLst>
              <a:ext uri="{FF2B5EF4-FFF2-40B4-BE49-F238E27FC236}">
                <a16:creationId xmlns:a16="http://schemas.microsoft.com/office/drawing/2014/main" xmlns="" id="{43F00F88-05AB-449F-8181-CFCCAD5E398F}"/>
              </a:ext>
            </a:extLst>
          </p:cNvPr>
          <p:cNvSpPr/>
          <p:nvPr>
            <p:custDataLst>
              <p:tags r:id="rId61"/>
            </p:custDataLst>
          </p:nvPr>
        </p:nvSpPr>
        <p:spPr bwMode="auto">
          <a:xfrm>
            <a:off x="7491413" y="5010150"/>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34" name="Freihandform: Form 33">
            <a:extLst>
              <a:ext uri="{FF2B5EF4-FFF2-40B4-BE49-F238E27FC236}">
                <a16:creationId xmlns:a16="http://schemas.microsoft.com/office/drawing/2014/main" xmlns="" id="{4E32A532-DEE9-46F3-88BF-9D6E110FFB27}"/>
              </a:ext>
            </a:extLst>
          </p:cNvPr>
          <p:cNvSpPr/>
          <p:nvPr>
            <p:custDataLst>
              <p:tags r:id="rId62"/>
            </p:custDataLst>
          </p:nvPr>
        </p:nvSpPr>
        <p:spPr bwMode="auto">
          <a:xfrm>
            <a:off x="7937500" y="5010150"/>
            <a:ext cx="96839" cy="146051"/>
          </a:xfrm>
          <a:custGeom>
            <a:avLst/>
            <a:gdLst/>
            <a:ahLst/>
            <a:cxnLst/>
            <a:rect l="0" t="0" r="0" b="0"/>
            <a:pathLst>
              <a:path w="96839" h="146051">
                <a:moveTo>
                  <a:pt x="96838" y="0"/>
                </a:moveTo>
                <a:lnTo>
                  <a:pt x="57150" y="146050"/>
                </a:lnTo>
                <a:lnTo>
                  <a:pt x="0" y="146050"/>
                </a:lnTo>
                <a:lnTo>
                  <a:pt x="39688"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11" name="Freihandform: Form 10">
            <a:extLst>
              <a:ext uri="{FF2B5EF4-FFF2-40B4-BE49-F238E27FC236}">
                <a16:creationId xmlns:a16="http://schemas.microsoft.com/office/drawing/2014/main" xmlns="" id="{EC99BDD5-A489-4034-A3A2-3F37B5AB9C28}"/>
              </a:ext>
            </a:extLst>
          </p:cNvPr>
          <p:cNvSpPr/>
          <p:nvPr>
            <p:custDataLst>
              <p:tags r:id="rId63"/>
            </p:custDataLst>
          </p:nvPr>
        </p:nvSpPr>
        <p:spPr bwMode="auto">
          <a:xfrm>
            <a:off x="6497638" y="5010150"/>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15" name="Freihandform: Form 14">
            <a:extLst>
              <a:ext uri="{FF2B5EF4-FFF2-40B4-BE49-F238E27FC236}">
                <a16:creationId xmlns:a16="http://schemas.microsoft.com/office/drawing/2014/main" xmlns="" id="{D14026B0-8092-425D-B55E-1A060C54658B}"/>
              </a:ext>
            </a:extLst>
          </p:cNvPr>
          <p:cNvSpPr/>
          <p:nvPr>
            <p:custDataLst>
              <p:tags r:id="rId64"/>
            </p:custDataLst>
          </p:nvPr>
        </p:nvSpPr>
        <p:spPr bwMode="auto">
          <a:xfrm>
            <a:off x="6794500" y="5010150"/>
            <a:ext cx="96839" cy="146051"/>
          </a:xfrm>
          <a:custGeom>
            <a:avLst/>
            <a:gdLst/>
            <a:ahLst/>
            <a:cxnLst/>
            <a:rect l="0" t="0" r="0" b="0"/>
            <a:pathLst>
              <a:path w="96839" h="146051">
                <a:moveTo>
                  <a:pt x="96838" y="0"/>
                </a:moveTo>
                <a:lnTo>
                  <a:pt x="57150" y="146050"/>
                </a:lnTo>
                <a:lnTo>
                  <a:pt x="0" y="146050"/>
                </a:lnTo>
                <a:lnTo>
                  <a:pt x="39688"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useBgFill="1">
        <p:nvSpPr>
          <p:cNvPr id="18" name="Freihandform: Form 17">
            <a:extLst>
              <a:ext uri="{FF2B5EF4-FFF2-40B4-BE49-F238E27FC236}">
                <a16:creationId xmlns:a16="http://schemas.microsoft.com/office/drawing/2014/main" xmlns="" id="{10B159FF-BA87-469C-917B-49ECA129A20B}"/>
              </a:ext>
            </a:extLst>
          </p:cNvPr>
          <p:cNvSpPr/>
          <p:nvPr>
            <p:custDataLst>
              <p:tags r:id="rId65"/>
            </p:custDataLst>
          </p:nvPr>
        </p:nvSpPr>
        <p:spPr bwMode="auto">
          <a:xfrm>
            <a:off x="7135813" y="5010150"/>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4" name="Freihandform: Form 13">
            <a:extLst>
              <a:ext uri="{FF2B5EF4-FFF2-40B4-BE49-F238E27FC236}">
                <a16:creationId xmlns:a16="http://schemas.microsoft.com/office/drawing/2014/main" xmlns="" id="{11E4789F-34F9-498C-9A0B-868486ECF404}"/>
              </a:ext>
            </a:extLst>
          </p:cNvPr>
          <p:cNvSpPr/>
          <p:nvPr>
            <p:custDataLst>
              <p:tags r:id="rId66"/>
            </p:custDataLst>
          </p:nvPr>
        </p:nvSpPr>
        <p:spPr bwMode="auto">
          <a:xfrm>
            <a:off x="6851650" y="5010150"/>
            <a:ext cx="39689" cy="146051"/>
          </a:xfrm>
          <a:custGeom>
            <a:avLst/>
            <a:gdLst/>
            <a:ahLst/>
            <a:cxnLst/>
            <a:rect l="0" t="0" r="0" b="0"/>
            <a:pathLst>
              <a:path w="39689" h="146051">
                <a:moveTo>
                  <a:pt x="39688"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3" name="Freihandform: Form 12">
            <a:extLst>
              <a:ext uri="{FF2B5EF4-FFF2-40B4-BE49-F238E27FC236}">
                <a16:creationId xmlns:a16="http://schemas.microsoft.com/office/drawing/2014/main" xmlns="" id="{02E4A0A6-89A3-4E3E-8A8E-20D62204E91E}"/>
              </a:ext>
            </a:extLst>
          </p:cNvPr>
          <p:cNvSpPr/>
          <p:nvPr>
            <p:custDataLst>
              <p:tags r:id="rId67"/>
            </p:custDataLst>
          </p:nvPr>
        </p:nvSpPr>
        <p:spPr bwMode="auto">
          <a:xfrm>
            <a:off x="6794500" y="5010150"/>
            <a:ext cx="39689" cy="146051"/>
          </a:xfrm>
          <a:custGeom>
            <a:avLst/>
            <a:gdLst/>
            <a:ahLst/>
            <a:cxnLst/>
            <a:rect l="0" t="0" r="0" b="0"/>
            <a:pathLst>
              <a:path w="39689" h="146051">
                <a:moveTo>
                  <a:pt x="39688"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Freihandform: Form 15">
            <a:extLst>
              <a:ext uri="{FF2B5EF4-FFF2-40B4-BE49-F238E27FC236}">
                <a16:creationId xmlns:a16="http://schemas.microsoft.com/office/drawing/2014/main" xmlns="" id="{DC65C7F1-FADE-4AEF-A6A0-E2AA46A3D6D7}"/>
              </a:ext>
            </a:extLst>
          </p:cNvPr>
          <p:cNvSpPr/>
          <p:nvPr>
            <p:custDataLst>
              <p:tags r:id="rId68"/>
            </p:custDataLst>
          </p:nvPr>
        </p:nvSpPr>
        <p:spPr bwMode="auto">
          <a:xfrm>
            <a:off x="7135813"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Freihandform: Form 19">
            <a:extLst>
              <a:ext uri="{FF2B5EF4-FFF2-40B4-BE49-F238E27FC236}">
                <a16:creationId xmlns:a16="http://schemas.microsoft.com/office/drawing/2014/main" xmlns="" id="{58453126-6320-4A7E-8685-09682F891072}"/>
              </a:ext>
            </a:extLst>
          </p:cNvPr>
          <p:cNvSpPr/>
          <p:nvPr>
            <p:custDataLst>
              <p:tags r:id="rId69"/>
            </p:custDataLst>
          </p:nvPr>
        </p:nvSpPr>
        <p:spPr bwMode="auto">
          <a:xfrm>
            <a:off x="7418388"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 name="Freihandform: Form 21">
            <a:extLst>
              <a:ext uri="{FF2B5EF4-FFF2-40B4-BE49-F238E27FC236}">
                <a16:creationId xmlns:a16="http://schemas.microsoft.com/office/drawing/2014/main" xmlns="" id="{DAB21D4D-15F3-4AB6-8368-5B037AC72A8B}"/>
              </a:ext>
            </a:extLst>
          </p:cNvPr>
          <p:cNvSpPr/>
          <p:nvPr>
            <p:custDataLst>
              <p:tags r:id="rId70"/>
            </p:custDataLst>
          </p:nvPr>
        </p:nvSpPr>
        <p:spPr bwMode="auto">
          <a:xfrm>
            <a:off x="7491413"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 name="Freihandform: Form 5">
            <a:extLst>
              <a:ext uri="{FF2B5EF4-FFF2-40B4-BE49-F238E27FC236}">
                <a16:creationId xmlns:a16="http://schemas.microsoft.com/office/drawing/2014/main" xmlns="" id="{76581BBA-FEA7-4905-A5A0-A43832FAD315}"/>
              </a:ext>
            </a:extLst>
          </p:cNvPr>
          <p:cNvSpPr/>
          <p:nvPr>
            <p:custDataLst>
              <p:tags r:id="rId71"/>
            </p:custDataLst>
          </p:nvPr>
        </p:nvSpPr>
        <p:spPr bwMode="auto">
          <a:xfrm>
            <a:off x="4684713"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 name="Freihandform: Form 6">
            <a:extLst>
              <a:ext uri="{FF2B5EF4-FFF2-40B4-BE49-F238E27FC236}">
                <a16:creationId xmlns:a16="http://schemas.microsoft.com/office/drawing/2014/main" xmlns="" id="{9640FD12-03DA-485B-A66A-57DACE08FFA8}"/>
              </a:ext>
            </a:extLst>
          </p:cNvPr>
          <p:cNvSpPr/>
          <p:nvPr>
            <p:custDataLst>
              <p:tags r:id="rId72"/>
            </p:custDataLst>
          </p:nvPr>
        </p:nvSpPr>
        <p:spPr bwMode="auto">
          <a:xfrm>
            <a:off x="4741863"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Freihandform: Form 8">
            <a:extLst>
              <a:ext uri="{FF2B5EF4-FFF2-40B4-BE49-F238E27FC236}">
                <a16:creationId xmlns:a16="http://schemas.microsoft.com/office/drawing/2014/main" xmlns="" id="{8E9075C3-3CA9-4A8C-8A67-E9690805400D}"/>
              </a:ext>
            </a:extLst>
          </p:cNvPr>
          <p:cNvSpPr/>
          <p:nvPr>
            <p:custDataLst>
              <p:tags r:id="rId73"/>
            </p:custDataLst>
          </p:nvPr>
        </p:nvSpPr>
        <p:spPr bwMode="auto">
          <a:xfrm>
            <a:off x="6497638"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 name="Freihandform: Form 9">
            <a:extLst>
              <a:ext uri="{FF2B5EF4-FFF2-40B4-BE49-F238E27FC236}">
                <a16:creationId xmlns:a16="http://schemas.microsoft.com/office/drawing/2014/main" xmlns="" id="{96206F6B-F373-4E8A-98B3-5BAB38951E2B}"/>
              </a:ext>
            </a:extLst>
          </p:cNvPr>
          <p:cNvSpPr/>
          <p:nvPr>
            <p:custDataLst>
              <p:tags r:id="rId74"/>
            </p:custDataLst>
          </p:nvPr>
        </p:nvSpPr>
        <p:spPr bwMode="auto">
          <a:xfrm>
            <a:off x="6554788"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7" name="Freihandform: Form 16">
            <a:extLst>
              <a:ext uri="{FF2B5EF4-FFF2-40B4-BE49-F238E27FC236}">
                <a16:creationId xmlns:a16="http://schemas.microsoft.com/office/drawing/2014/main" xmlns="" id="{E4BEA2C7-9078-4F75-A3E1-43A5AF2B126A}"/>
              </a:ext>
            </a:extLst>
          </p:cNvPr>
          <p:cNvSpPr/>
          <p:nvPr>
            <p:custDataLst>
              <p:tags r:id="rId75"/>
            </p:custDataLst>
          </p:nvPr>
        </p:nvSpPr>
        <p:spPr bwMode="auto">
          <a:xfrm>
            <a:off x="7192963"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9" name="Freihandform: Form 18">
            <a:extLst>
              <a:ext uri="{FF2B5EF4-FFF2-40B4-BE49-F238E27FC236}">
                <a16:creationId xmlns:a16="http://schemas.microsoft.com/office/drawing/2014/main" xmlns="" id="{6493D9B0-C9A2-4E17-9901-BABD3CCCD58A}"/>
              </a:ext>
            </a:extLst>
          </p:cNvPr>
          <p:cNvSpPr/>
          <p:nvPr>
            <p:custDataLst>
              <p:tags r:id="rId76"/>
            </p:custDataLst>
          </p:nvPr>
        </p:nvSpPr>
        <p:spPr bwMode="auto">
          <a:xfrm>
            <a:off x="7361238"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Freihandform: Form 22">
            <a:extLst>
              <a:ext uri="{FF2B5EF4-FFF2-40B4-BE49-F238E27FC236}">
                <a16:creationId xmlns:a16="http://schemas.microsoft.com/office/drawing/2014/main" xmlns="" id="{06C45C2F-7381-4CD5-947F-862F84901945}"/>
              </a:ext>
            </a:extLst>
          </p:cNvPr>
          <p:cNvSpPr/>
          <p:nvPr>
            <p:custDataLst>
              <p:tags r:id="rId77"/>
            </p:custDataLst>
          </p:nvPr>
        </p:nvSpPr>
        <p:spPr bwMode="auto">
          <a:xfrm>
            <a:off x="7548563" y="5010150"/>
            <a:ext cx="39688" cy="146051"/>
          </a:xfrm>
          <a:custGeom>
            <a:avLst/>
            <a:gdLst/>
            <a:ahLst/>
            <a:cxnLst/>
            <a:rect l="0" t="0" r="0" b="0"/>
            <a:pathLst>
              <a:path w="39688" h="146051">
                <a:moveTo>
                  <a:pt x="39687"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2" name="Freihandform: Form 31">
            <a:extLst>
              <a:ext uri="{FF2B5EF4-FFF2-40B4-BE49-F238E27FC236}">
                <a16:creationId xmlns:a16="http://schemas.microsoft.com/office/drawing/2014/main" xmlns="" id="{EAF37A41-CD4C-4A8D-B201-2ED72CBCC255}"/>
              </a:ext>
            </a:extLst>
          </p:cNvPr>
          <p:cNvSpPr/>
          <p:nvPr>
            <p:custDataLst>
              <p:tags r:id="rId78"/>
            </p:custDataLst>
          </p:nvPr>
        </p:nvSpPr>
        <p:spPr bwMode="auto">
          <a:xfrm>
            <a:off x="7937500" y="5010150"/>
            <a:ext cx="39689" cy="146051"/>
          </a:xfrm>
          <a:custGeom>
            <a:avLst/>
            <a:gdLst/>
            <a:ahLst/>
            <a:cxnLst/>
            <a:rect l="0" t="0" r="0" b="0"/>
            <a:pathLst>
              <a:path w="39689" h="146051">
                <a:moveTo>
                  <a:pt x="39688"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3" name="Freihandform: Form 32">
            <a:extLst>
              <a:ext uri="{FF2B5EF4-FFF2-40B4-BE49-F238E27FC236}">
                <a16:creationId xmlns:a16="http://schemas.microsoft.com/office/drawing/2014/main" xmlns="" id="{138A8651-09FB-4404-8C9F-05C5732AB45B}"/>
              </a:ext>
            </a:extLst>
          </p:cNvPr>
          <p:cNvSpPr/>
          <p:nvPr>
            <p:custDataLst>
              <p:tags r:id="rId79"/>
            </p:custDataLst>
          </p:nvPr>
        </p:nvSpPr>
        <p:spPr bwMode="auto">
          <a:xfrm>
            <a:off x="7994650" y="5010150"/>
            <a:ext cx="39689" cy="146051"/>
          </a:xfrm>
          <a:custGeom>
            <a:avLst/>
            <a:gdLst/>
            <a:ahLst/>
            <a:cxnLst/>
            <a:rect l="0" t="0" r="0" b="0"/>
            <a:pathLst>
              <a:path w="39689" h="146051">
                <a:moveTo>
                  <a:pt x="39688" y="0"/>
                </a:moveTo>
                <a:lnTo>
                  <a:pt x="0" y="146050"/>
                </a:lnTo>
              </a:path>
            </a:pathLst>
          </a:custGeom>
          <a:ln w="9525"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33" name="Gerader Verbinder 132">
            <a:extLst>
              <a:ext uri="{FF2B5EF4-FFF2-40B4-BE49-F238E27FC236}">
                <a16:creationId xmlns:a16="http://schemas.microsoft.com/office/drawing/2014/main" xmlns="" id="{CDB6816F-3F56-4D9C-8B65-D64702E41B51}"/>
              </a:ext>
            </a:extLst>
          </p:cNvPr>
          <p:cNvCxnSpPr/>
          <p:nvPr>
            <p:custDataLst>
              <p:tags r:id="rId80"/>
            </p:custDataLst>
          </p:nvPr>
        </p:nvCxnSpPr>
        <p:spPr bwMode="auto">
          <a:xfrm flipH="1">
            <a:off x="1090613" y="3606800"/>
            <a:ext cx="20638" cy="2127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xmlns="" id="{70633F8C-2FD4-467C-8C64-E0F777A45DF7}"/>
              </a:ext>
            </a:extLst>
          </p:cNvPr>
          <p:cNvCxnSpPr/>
          <p:nvPr>
            <p:custDataLst>
              <p:tags r:id="rId81"/>
            </p:custDataLst>
          </p:nvPr>
        </p:nvCxnSpPr>
        <p:spPr bwMode="auto">
          <a:xfrm flipH="1" flipV="1">
            <a:off x="1622425" y="4038600"/>
            <a:ext cx="104775" cy="619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Gerader Verbinder 151">
            <a:extLst>
              <a:ext uri="{FF2B5EF4-FFF2-40B4-BE49-F238E27FC236}">
                <a16:creationId xmlns:a16="http://schemas.microsoft.com/office/drawing/2014/main" xmlns="" id="{56104A76-72DB-4FED-B2C2-9EF4F6AE9AE9}"/>
              </a:ext>
            </a:extLst>
          </p:cNvPr>
          <p:cNvCxnSpPr/>
          <p:nvPr>
            <p:custDataLst>
              <p:tags r:id="rId82"/>
            </p:custDataLst>
          </p:nvPr>
        </p:nvCxnSpPr>
        <p:spPr bwMode="auto">
          <a:xfrm flipH="1" flipV="1">
            <a:off x="1079500" y="4224337"/>
            <a:ext cx="101600" cy="1539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a:extLst>
              <a:ext uri="{FF2B5EF4-FFF2-40B4-BE49-F238E27FC236}">
                <a16:creationId xmlns:a16="http://schemas.microsoft.com/office/drawing/2014/main" xmlns="" id="{A0E7D9F8-D310-42AE-B202-A4DDB62F0829}"/>
              </a:ext>
            </a:extLst>
          </p:cNvPr>
          <p:cNvCxnSpPr>
            <a:cxnSpLocks/>
          </p:cNvCxnSpPr>
          <p:nvPr>
            <p:custDataLst>
              <p:tags r:id="rId83"/>
            </p:custDataLst>
          </p:nvPr>
        </p:nvCxnSpPr>
        <p:spPr bwMode="auto">
          <a:xfrm>
            <a:off x="1443038" y="3703638"/>
            <a:ext cx="34925" cy="2333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5" name="Gerader Verbinder 344">
            <a:extLst>
              <a:ext uri="{FF2B5EF4-FFF2-40B4-BE49-F238E27FC236}">
                <a16:creationId xmlns:a16="http://schemas.microsoft.com/office/drawing/2014/main" xmlns="" id="{0D0A84B4-991F-4398-9CEE-85035197F2C0}"/>
              </a:ext>
            </a:extLst>
          </p:cNvPr>
          <p:cNvCxnSpPr>
            <a:cxnSpLocks/>
          </p:cNvCxnSpPr>
          <p:nvPr>
            <p:custDataLst>
              <p:tags r:id="rId84"/>
            </p:custDataLst>
          </p:nvPr>
        </p:nvCxnSpPr>
        <p:spPr bwMode="auto">
          <a:xfrm flipH="1">
            <a:off x="1562100" y="3825875"/>
            <a:ext cx="17463" cy="1793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a:extLst>
              <a:ext uri="{FF2B5EF4-FFF2-40B4-BE49-F238E27FC236}">
                <a16:creationId xmlns:a16="http://schemas.microsoft.com/office/drawing/2014/main" xmlns="" id="{D55CB974-A548-4D46-9E0D-6C145522A33F}"/>
              </a:ext>
            </a:extLst>
          </p:cNvPr>
          <p:cNvCxnSpPr>
            <a:cxnSpLocks/>
          </p:cNvCxnSpPr>
          <p:nvPr>
            <p:custDataLst>
              <p:tags r:id="rId85"/>
            </p:custDataLst>
          </p:nvPr>
        </p:nvCxnSpPr>
        <p:spPr bwMode="auto">
          <a:xfrm flipH="1" flipV="1">
            <a:off x="923925" y="4075113"/>
            <a:ext cx="188913" cy="571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r Verbinder 140">
            <a:extLst>
              <a:ext uri="{FF2B5EF4-FFF2-40B4-BE49-F238E27FC236}">
                <a16:creationId xmlns:a16="http://schemas.microsoft.com/office/drawing/2014/main" xmlns="" id="{BD61CE9D-9D92-42AA-8727-95FD3C7B2165}"/>
              </a:ext>
            </a:extLst>
          </p:cNvPr>
          <p:cNvCxnSpPr/>
          <p:nvPr>
            <p:custDataLst>
              <p:tags r:id="rId86"/>
            </p:custDataLst>
          </p:nvPr>
        </p:nvCxnSpPr>
        <p:spPr bwMode="auto">
          <a:xfrm>
            <a:off x="2452688" y="4243388"/>
            <a:ext cx="38100" cy="285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9" name="Gerader Verbinder 318">
            <a:extLst>
              <a:ext uri="{FF2B5EF4-FFF2-40B4-BE49-F238E27FC236}">
                <a16:creationId xmlns:a16="http://schemas.microsoft.com/office/drawing/2014/main" xmlns="" id="{7630C611-EEE0-4C6A-B0A1-3789A84A5CE4}"/>
              </a:ext>
            </a:extLst>
          </p:cNvPr>
          <p:cNvCxnSpPr/>
          <p:nvPr>
            <p:custDataLst>
              <p:tags r:id="rId87"/>
            </p:custDataLst>
          </p:nvPr>
        </p:nvCxnSpPr>
        <p:spPr bwMode="auto">
          <a:xfrm flipH="1">
            <a:off x="1897063" y="3792538"/>
            <a:ext cx="41275" cy="412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xmlns="" id="{346AD6F3-A2CD-44FA-8271-B8BCE69B53FF}"/>
              </a:ext>
            </a:extLst>
          </p:cNvPr>
          <p:cNvCxnSpPr/>
          <p:nvPr>
            <p:custDataLst>
              <p:tags r:id="rId88"/>
            </p:custDataLst>
          </p:nvPr>
        </p:nvCxnSpPr>
        <p:spPr bwMode="auto">
          <a:xfrm flipV="1">
            <a:off x="896938" y="4286250"/>
            <a:ext cx="19050" cy="285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xmlns="" id="{FDDE93BA-8575-400C-AF28-73D45A9A6C25}"/>
              </a:ext>
            </a:extLst>
          </p:cNvPr>
          <p:cNvCxnSpPr/>
          <p:nvPr>
            <p:custDataLst>
              <p:tags r:id="rId89"/>
            </p:custDataLst>
          </p:nvPr>
        </p:nvCxnSpPr>
        <p:spPr bwMode="auto">
          <a:xfrm flipH="1">
            <a:off x="1093788" y="3729038"/>
            <a:ext cx="77788" cy="93662"/>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0" name="Gerader Verbinder 349">
            <a:extLst>
              <a:ext uri="{FF2B5EF4-FFF2-40B4-BE49-F238E27FC236}">
                <a16:creationId xmlns:a16="http://schemas.microsoft.com/office/drawing/2014/main" xmlns="" id="{C26ADF81-0104-482F-BD68-E7FC2225F081}"/>
              </a:ext>
            </a:extLst>
          </p:cNvPr>
          <p:cNvCxnSpPr>
            <a:cxnSpLocks/>
          </p:cNvCxnSpPr>
          <p:nvPr>
            <p:custDataLst>
              <p:tags r:id="rId90"/>
            </p:custDataLst>
          </p:nvPr>
        </p:nvCxnSpPr>
        <p:spPr bwMode="auto">
          <a:xfrm flipH="1">
            <a:off x="1589088" y="3948114"/>
            <a:ext cx="41275" cy="555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Gerader Verbinder 154">
            <a:extLst>
              <a:ext uri="{FF2B5EF4-FFF2-40B4-BE49-F238E27FC236}">
                <a16:creationId xmlns:a16="http://schemas.microsoft.com/office/drawing/2014/main" xmlns="" id="{76171D07-6F77-4CC1-B90F-78C54557A97A}"/>
              </a:ext>
            </a:extLst>
          </p:cNvPr>
          <p:cNvCxnSpPr/>
          <p:nvPr>
            <p:custDataLst>
              <p:tags r:id="rId91"/>
            </p:custDataLst>
          </p:nvPr>
        </p:nvCxnSpPr>
        <p:spPr bwMode="auto">
          <a:xfrm flipH="1" flipV="1">
            <a:off x="1701799" y="4005263"/>
            <a:ext cx="203200" cy="841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Gerader Verbinder 146">
            <a:extLst>
              <a:ext uri="{FF2B5EF4-FFF2-40B4-BE49-F238E27FC236}">
                <a16:creationId xmlns:a16="http://schemas.microsoft.com/office/drawing/2014/main" xmlns="" id="{EC14AD22-323D-4F7C-A124-6E6AB2B774D1}"/>
              </a:ext>
            </a:extLst>
          </p:cNvPr>
          <p:cNvCxnSpPr/>
          <p:nvPr>
            <p:custDataLst>
              <p:tags r:id="rId92"/>
            </p:custDataLst>
          </p:nvPr>
        </p:nvCxnSpPr>
        <p:spPr bwMode="auto">
          <a:xfrm flipH="1">
            <a:off x="1781175" y="3808413"/>
            <a:ext cx="28575" cy="1492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xmlns="" id="{9CFB6D46-9C15-4370-A26D-E1E635653FBE}"/>
              </a:ext>
            </a:extLst>
          </p:cNvPr>
          <p:cNvCxnSpPr/>
          <p:nvPr>
            <p:custDataLst>
              <p:tags r:id="rId93"/>
            </p:custDataLst>
          </p:nvPr>
        </p:nvCxnSpPr>
        <p:spPr bwMode="auto">
          <a:xfrm flipH="1">
            <a:off x="1087438" y="3963988"/>
            <a:ext cx="55562" cy="317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9" name="Textplatzhalter 2"/>
          <p:cNvSpPr>
            <a:spLocks noGrp="1"/>
          </p:cNvSpPr>
          <p:nvPr>
            <p:custDataLst>
              <p:tags r:id="rId94"/>
            </p:custDataLst>
          </p:nvPr>
        </p:nvSpPr>
        <p:spPr bwMode="gray">
          <a:xfrm>
            <a:off x="928688" y="2897188"/>
            <a:ext cx="3825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5EE6D8B3-20A0-4901-BF55-C9394B453615}" type="datetime'''C''H''_''''''''W''''''''''''''''''''''I'''''''''''''''''''''">
              <a:rPr lang="de-DE" altLang="en-US" sz="800" smtClean="0">
                <a:latin typeface="Gotham Light" pitchFamily="50" charset="0"/>
                <a:cs typeface="Gotham Light" pitchFamily="50" charset="0"/>
                <a:sym typeface="Gotham Light" pitchFamily="50" charset="0"/>
              </a:rPr>
              <a:pPr lvl="1">
                <a:spcBef>
                  <a:spcPct val="0"/>
                </a:spcBef>
                <a:spcAft>
                  <a:spcPct val="0"/>
                </a:spcAft>
              </a:pPr>
              <a:t>CH_WI</a:t>
            </a:fld>
            <a:endParaRPr lang="de-DE" sz="800" dirty="0">
              <a:latin typeface="Gotham Light" pitchFamily="50" charset="0"/>
              <a:cs typeface="Gotham Light" pitchFamily="50" charset="0"/>
              <a:sym typeface="Gotham Light" pitchFamily="50" charset="0"/>
            </a:endParaRPr>
          </a:p>
        </p:txBody>
      </p:sp>
      <p:sp>
        <p:nvSpPr>
          <p:cNvPr id="248" name="Textplatzhalter 2"/>
          <p:cNvSpPr>
            <a:spLocks noGrp="1"/>
          </p:cNvSpPr>
          <p:nvPr>
            <p:custDataLst>
              <p:tags r:id="rId95"/>
            </p:custDataLst>
          </p:nvPr>
        </p:nvSpPr>
        <p:spPr bwMode="gray">
          <a:xfrm>
            <a:off x="2940050" y="3740150"/>
            <a:ext cx="16986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AF0A488-0197-4EDE-BEB9-6391C5138426}" type="datetime'''''''''''''''''W''''''''''I'''''''''''''''''''''''''''''''">
              <a:rPr lang="de-DE" altLang="en-US" sz="800" smtClean="0">
                <a:latin typeface="Gotham Light" pitchFamily="50" charset="0"/>
                <a:cs typeface="Gotham Light" pitchFamily="50" charset="0"/>
                <a:sym typeface="Gotham Light" pitchFamily="50" charset="0"/>
              </a:rPr>
              <a:pPr lvl="1">
                <a:spcBef>
                  <a:spcPct val="0"/>
                </a:spcBef>
                <a:spcAft>
                  <a:spcPct val="0"/>
                </a:spcAft>
              </a:pPr>
              <a:t>WI</a:t>
            </a:fld>
            <a:endParaRPr lang="de-DE" sz="800" dirty="0">
              <a:latin typeface="Gotham Light" pitchFamily="50" charset="0"/>
              <a:cs typeface="Gotham Light" pitchFamily="50" charset="0"/>
              <a:sym typeface="Gotham Light" pitchFamily="50" charset="0"/>
            </a:endParaRPr>
          </a:p>
        </p:txBody>
      </p:sp>
      <p:sp>
        <p:nvSpPr>
          <p:cNvPr id="232" name="Textplatzhalter 2"/>
          <p:cNvSpPr>
            <a:spLocks noGrp="1"/>
          </p:cNvSpPr>
          <p:nvPr>
            <p:custDataLst>
              <p:tags r:id="rId96"/>
            </p:custDataLst>
          </p:nvPr>
        </p:nvSpPr>
        <p:spPr bwMode="gray">
          <a:xfrm>
            <a:off x="2286000" y="4468813"/>
            <a:ext cx="17462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395E29BD-8FF6-4B68-834F-CF06A7BC25CF}" type="datetime'''''K''''''''''''''''''''''R'''''''''''''''''''''''''''">
              <a:rPr lang="de-DE" altLang="en-US" sz="800" smtClean="0">
                <a:latin typeface="Gotham Light" pitchFamily="50" charset="0"/>
                <a:cs typeface="Gotham Light" pitchFamily="50" charset="0"/>
                <a:sym typeface="Gotham Light" pitchFamily="50" charset="0"/>
              </a:rPr>
              <a:pPr lvl="1">
                <a:spcBef>
                  <a:spcPct val="0"/>
                </a:spcBef>
                <a:spcAft>
                  <a:spcPct val="0"/>
                </a:spcAft>
              </a:pPr>
              <a:t>KR</a:t>
            </a:fld>
            <a:endParaRPr lang="de-DE" sz="800" dirty="0">
              <a:latin typeface="Gotham Light" pitchFamily="50" charset="0"/>
              <a:cs typeface="Gotham Light" pitchFamily="50" charset="0"/>
              <a:sym typeface="Gotham Light" pitchFamily="50" charset="0"/>
            </a:endParaRPr>
          </a:p>
        </p:txBody>
      </p:sp>
      <p:sp>
        <p:nvSpPr>
          <p:cNvPr id="231" name="Textplatzhalter 2"/>
          <p:cNvSpPr>
            <a:spLocks noGrp="1"/>
          </p:cNvSpPr>
          <p:nvPr>
            <p:custDataLst>
              <p:tags r:id="rId97"/>
            </p:custDataLst>
          </p:nvPr>
        </p:nvSpPr>
        <p:spPr bwMode="gray">
          <a:xfrm>
            <a:off x="3270250" y="4167188"/>
            <a:ext cx="1984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BDDC3361-94B3-44E6-B67A-7E7370E6A19A}" type="datetime'''''M''''''''''''''A'''''''">
              <a:rPr lang="de-DE" altLang="en-US" sz="800" smtClean="0">
                <a:latin typeface="Gotham Light" pitchFamily="50" charset="0"/>
                <a:cs typeface="Gotham Light" pitchFamily="50" charset="0"/>
                <a:sym typeface="Gotham Light" pitchFamily="50" charset="0"/>
              </a:rPr>
              <a:pPr lvl="1">
                <a:spcBef>
                  <a:spcPct val="0"/>
                </a:spcBef>
                <a:spcAft>
                  <a:spcPct val="0"/>
                </a:spcAft>
              </a:pPr>
              <a:t>MA</a:t>
            </a:fld>
            <a:endParaRPr lang="de-DE" sz="800" dirty="0">
              <a:latin typeface="Gotham Light" pitchFamily="50" charset="0"/>
              <a:cs typeface="Gotham Light" pitchFamily="50" charset="0"/>
              <a:sym typeface="Gotham Light" pitchFamily="50" charset="0"/>
            </a:endParaRPr>
          </a:p>
        </p:txBody>
      </p:sp>
      <p:sp>
        <p:nvSpPr>
          <p:cNvPr id="230" name="Textplatzhalter 2"/>
          <p:cNvSpPr>
            <a:spLocks noGrp="1"/>
          </p:cNvSpPr>
          <p:nvPr>
            <p:custDataLst>
              <p:tags r:id="rId98"/>
            </p:custDataLst>
          </p:nvPr>
        </p:nvSpPr>
        <p:spPr bwMode="gray">
          <a:xfrm>
            <a:off x="1706563" y="2143125"/>
            <a:ext cx="3952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8502D02B-9E92-4058-94CA-02143AEF1EC4}" type="datetime'''''C''''H''''''''''''''''''''''''''''''_''''BA'''''''''''''">
              <a:rPr lang="de-DE" altLang="en-US" sz="800" smtClean="0">
                <a:latin typeface="Gotham Light" pitchFamily="50" charset="0"/>
                <a:cs typeface="Gotham Light" pitchFamily="50" charset="0"/>
                <a:sym typeface="Gotham Light" pitchFamily="50" charset="0"/>
              </a:rPr>
              <a:pPr lvl="1">
                <a:spcBef>
                  <a:spcPct val="0"/>
                </a:spcBef>
                <a:spcAft>
                  <a:spcPct val="0"/>
                </a:spcAft>
              </a:pPr>
              <a:t>CH_BA</a:t>
            </a:fld>
            <a:endParaRPr lang="de-DE" sz="800" dirty="0">
              <a:latin typeface="Gotham Light" pitchFamily="50" charset="0"/>
              <a:cs typeface="Gotham Light" pitchFamily="50" charset="0"/>
              <a:sym typeface="Gotham Light" pitchFamily="50" charset="0"/>
            </a:endParaRPr>
          </a:p>
        </p:txBody>
      </p:sp>
      <p:sp>
        <p:nvSpPr>
          <p:cNvPr id="228" name="Textplatzhalter 2"/>
          <p:cNvSpPr>
            <a:spLocks noGrp="1"/>
          </p:cNvSpPr>
          <p:nvPr>
            <p:custDataLst>
              <p:tags r:id="rId99"/>
            </p:custDataLst>
          </p:nvPr>
        </p:nvSpPr>
        <p:spPr bwMode="gray">
          <a:xfrm>
            <a:off x="2708275" y="3997325"/>
            <a:ext cx="1968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47D6E083-1085-4B45-8FE7-4F5285EF2D3B}" type="datetime'''''''''''''''M''G'''''''''''''''''''''''''''''''''">
              <a:rPr lang="de-DE" altLang="en-US" sz="800">
                <a:latin typeface="Gotham Light"/>
                <a:cs typeface="Gotham Light"/>
                <a:sym typeface="Gotham Light"/>
              </a:rPr>
              <a:pPr/>
              <a:t>MG</a:t>
            </a:fld>
            <a:endParaRPr lang="de-DE" sz="800" dirty="0">
              <a:latin typeface="Gotham Light"/>
              <a:cs typeface="Gotham Light"/>
              <a:sym typeface="Gotham Light"/>
            </a:endParaRPr>
          </a:p>
        </p:txBody>
      </p:sp>
      <p:sp>
        <p:nvSpPr>
          <p:cNvPr id="227" name="Textplatzhalter 2"/>
          <p:cNvSpPr>
            <a:spLocks noGrp="1"/>
          </p:cNvSpPr>
          <p:nvPr>
            <p:custDataLst>
              <p:tags r:id="rId100"/>
            </p:custDataLst>
          </p:nvPr>
        </p:nvSpPr>
        <p:spPr bwMode="gray">
          <a:xfrm>
            <a:off x="7069138" y="4162425"/>
            <a:ext cx="10160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65418950-9240-4D47-8016-BECAAF5B4A67}" type="datetime'''''''''''K'''''''''''''''''''''''''''''''''''''''''''">
              <a:rPr lang="de-DE" altLang="en-US" sz="800" smtClean="0">
                <a:latin typeface="Gotham Light" pitchFamily="50" charset="0"/>
                <a:cs typeface="Gotham Light" pitchFamily="50" charset="0"/>
                <a:sym typeface="Gotham Light" pitchFamily="50" charset="0"/>
              </a:rPr>
              <a:pPr lvl="1">
                <a:spcBef>
                  <a:spcPct val="0"/>
                </a:spcBef>
                <a:spcAft>
                  <a:spcPct val="0"/>
                </a:spcAft>
              </a:pPr>
              <a:t>K</a:t>
            </a:fld>
            <a:endParaRPr lang="de-DE" sz="800" dirty="0">
              <a:latin typeface="Gotham Light" pitchFamily="50" charset="0"/>
              <a:cs typeface="Gotham Light" pitchFamily="50" charset="0"/>
              <a:sym typeface="Gotham Light" pitchFamily="50" charset="0"/>
            </a:endParaRPr>
          </a:p>
        </p:txBody>
      </p:sp>
      <p:sp>
        <p:nvSpPr>
          <p:cNvPr id="226" name="Textplatzhalter 2"/>
          <p:cNvSpPr>
            <a:spLocks noGrp="1"/>
          </p:cNvSpPr>
          <p:nvPr>
            <p:custDataLst>
              <p:tags r:id="rId101"/>
            </p:custDataLst>
          </p:nvPr>
        </p:nvSpPr>
        <p:spPr bwMode="gray">
          <a:xfrm>
            <a:off x="2271713" y="4121150"/>
            <a:ext cx="1968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CE97776D-F148-48C3-97E4-7170B4BD7769}" type="datetime'''''''''''''''''''''''M''D'''''''''''''''''''''">
              <a:rPr lang="de-DE" altLang="en-US" sz="800" smtClean="0">
                <a:latin typeface="Gotham Light" pitchFamily="50" charset="0"/>
                <a:cs typeface="Gotham Light" pitchFamily="50" charset="0"/>
                <a:sym typeface="Gotham Light" pitchFamily="50" charset="0"/>
              </a:rPr>
              <a:pPr lvl="1">
                <a:spcBef>
                  <a:spcPct val="0"/>
                </a:spcBef>
                <a:spcAft>
                  <a:spcPct val="0"/>
                </a:spcAft>
              </a:pPr>
              <a:t>MD</a:t>
            </a:fld>
            <a:endParaRPr lang="de-DE" sz="800" dirty="0">
              <a:latin typeface="Gotham Light" pitchFamily="50" charset="0"/>
              <a:cs typeface="Gotham Light" pitchFamily="50" charset="0"/>
              <a:sym typeface="Gotham Light" pitchFamily="50" charset="0"/>
            </a:endParaRPr>
          </a:p>
        </p:txBody>
      </p:sp>
      <p:sp>
        <p:nvSpPr>
          <p:cNvPr id="225" name="Textplatzhalter 2"/>
          <p:cNvSpPr>
            <a:spLocks noGrp="1"/>
          </p:cNvSpPr>
          <p:nvPr>
            <p:custDataLst>
              <p:tags r:id="rId102"/>
            </p:custDataLst>
          </p:nvPr>
        </p:nvSpPr>
        <p:spPr bwMode="gray">
          <a:xfrm>
            <a:off x="1349375" y="2614613"/>
            <a:ext cx="31432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4030D701-6B03-40A2-82C2-9C641386C3A4}" type="datetime'''''''''''''''''C''''''''''''H''_''''''''''''''B'''''''''''">
              <a:rPr lang="de-DE" altLang="en-US" sz="800" smtClean="0">
                <a:latin typeface="Gotham Light" pitchFamily="50" charset="0"/>
                <a:cs typeface="Gotham Light" pitchFamily="50" charset="0"/>
                <a:sym typeface="Gotham Light" pitchFamily="50" charset="0"/>
              </a:rPr>
              <a:pPr lvl="1">
                <a:spcBef>
                  <a:spcPct val="0"/>
                </a:spcBef>
                <a:spcAft>
                  <a:spcPct val="0"/>
                </a:spcAft>
              </a:pPr>
              <a:t>CH_B</a:t>
            </a:fld>
            <a:endParaRPr lang="de-DE" sz="800" dirty="0">
              <a:latin typeface="Gotham Light" pitchFamily="50" charset="0"/>
              <a:cs typeface="Gotham Light" pitchFamily="50" charset="0"/>
              <a:sym typeface="Gotham Light" pitchFamily="50" charset="0"/>
            </a:endParaRPr>
          </a:p>
        </p:txBody>
      </p:sp>
      <p:sp>
        <p:nvSpPr>
          <p:cNvPr id="223" name="Textplatzhalter 2"/>
          <p:cNvSpPr>
            <a:spLocks noGrp="1"/>
          </p:cNvSpPr>
          <p:nvPr>
            <p:custDataLst>
              <p:tags r:id="rId103"/>
            </p:custDataLst>
          </p:nvPr>
        </p:nvSpPr>
        <p:spPr bwMode="gray">
          <a:xfrm>
            <a:off x="2562225" y="3736975"/>
            <a:ext cx="1333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55A5B835-0ED8-48E3-8F02-C83ACEA8B95A}" type="datetime'''''''''''''''''''''K''I'''''''''''''''''''''''''''''''''''''">
              <a:rPr lang="de-DE" altLang="en-US" sz="800" b="1" smtClean="0">
                <a:latin typeface="Gotham Light" pitchFamily="50" charset="0"/>
                <a:cs typeface="Gotham Light" pitchFamily="50" charset="0"/>
                <a:sym typeface="Gotham Light" pitchFamily="50" charset="0"/>
              </a:rPr>
              <a:pPr lvl="1">
                <a:spcBef>
                  <a:spcPct val="0"/>
                </a:spcBef>
                <a:spcAft>
                  <a:spcPct val="0"/>
                </a:spcAft>
              </a:pPr>
              <a:t>KI</a:t>
            </a:fld>
            <a:endParaRPr lang="de-DE" sz="800" b="1" dirty="0">
              <a:latin typeface="Gotham Light" pitchFamily="50" charset="0"/>
              <a:cs typeface="Gotham Light" pitchFamily="50" charset="0"/>
              <a:sym typeface="Gotham Light" pitchFamily="50" charset="0"/>
            </a:endParaRPr>
          </a:p>
        </p:txBody>
      </p:sp>
      <p:sp>
        <p:nvSpPr>
          <p:cNvPr id="222" name="Textplatzhalter 2"/>
          <p:cNvSpPr>
            <a:spLocks noGrp="1"/>
          </p:cNvSpPr>
          <p:nvPr>
            <p:custDataLst>
              <p:tags r:id="rId104"/>
            </p:custDataLst>
          </p:nvPr>
        </p:nvSpPr>
        <p:spPr bwMode="gray">
          <a:xfrm>
            <a:off x="1112838" y="4095750"/>
            <a:ext cx="1666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77A6AEEE-E558-4FE6-A23D-61D20D4AB5F8}" type="datetime'''''''''''''''''''''''R''''''''''''''S'''''''''''''''">
              <a:rPr lang="de-DE" altLang="en-US" sz="800" smtClean="0">
                <a:latin typeface="Gotham Light" pitchFamily="50" charset="0"/>
                <a:cs typeface="Gotham Light" pitchFamily="50" charset="0"/>
                <a:sym typeface="Gotham Light" pitchFamily="50" charset="0"/>
              </a:rPr>
              <a:pPr lvl="1">
                <a:spcBef>
                  <a:spcPct val="0"/>
                </a:spcBef>
                <a:spcAft>
                  <a:spcPct val="0"/>
                </a:spcAft>
              </a:pPr>
              <a:t>RS</a:t>
            </a:fld>
            <a:endParaRPr lang="de-DE" sz="800" dirty="0">
              <a:latin typeface="Gotham Light" pitchFamily="50" charset="0"/>
              <a:cs typeface="Gotham Light" pitchFamily="50" charset="0"/>
              <a:sym typeface="Gotham Light" pitchFamily="50" charset="0"/>
            </a:endParaRPr>
          </a:p>
        </p:txBody>
      </p:sp>
      <p:sp>
        <p:nvSpPr>
          <p:cNvPr id="217" name="Textplatzhalter 2"/>
          <p:cNvSpPr>
            <a:spLocks noGrp="1"/>
          </p:cNvSpPr>
          <p:nvPr>
            <p:custDataLst>
              <p:tags r:id="rId105"/>
            </p:custDataLst>
          </p:nvPr>
        </p:nvSpPr>
        <p:spPr bwMode="gray">
          <a:xfrm>
            <a:off x="928688" y="3911600"/>
            <a:ext cx="841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639D03E7-6B98-4D20-BED3-1893B9BACA05}" type="datetime'''''''''''''''''''''''''''''''''J'''''''">
              <a:rPr lang="de-DE" altLang="en-US" sz="800" smtClean="0">
                <a:latin typeface="Gotham Light" pitchFamily="50" charset="0"/>
                <a:cs typeface="Gotham Light" pitchFamily="50" charset="0"/>
                <a:sym typeface="Gotham Light" pitchFamily="50" charset="0"/>
              </a:rPr>
              <a:pPr lvl="1">
                <a:spcBef>
                  <a:spcPct val="0"/>
                </a:spcBef>
                <a:spcAft>
                  <a:spcPct val="0"/>
                </a:spcAft>
              </a:pPr>
              <a:t>J</a:t>
            </a:fld>
            <a:endParaRPr lang="de-DE" sz="800" dirty="0">
              <a:latin typeface="Gotham Light" pitchFamily="50" charset="0"/>
              <a:cs typeface="Gotham Light" pitchFamily="50" charset="0"/>
              <a:sym typeface="Gotham Light" pitchFamily="50" charset="0"/>
            </a:endParaRPr>
          </a:p>
        </p:txBody>
      </p:sp>
      <p:sp>
        <p:nvSpPr>
          <p:cNvPr id="203" name="Textplatzhalter 2"/>
          <p:cNvSpPr>
            <a:spLocks noGrp="1"/>
          </p:cNvSpPr>
          <p:nvPr>
            <p:custDataLst>
              <p:tags r:id="rId106"/>
            </p:custDataLst>
          </p:nvPr>
        </p:nvSpPr>
        <p:spPr bwMode="gray">
          <a:xfrm>
            <a:off x="1739900" y="3686175"/>
            <a:ext cx="1666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5C75244E-4B64-4993-B5F0-5B21FB45768A}" type="datetime'''''''''''''''''''''''''''''''''''''''''''''SB'">
              <a:rPr lang="de-DE" altLang="en-US" sz="800" smtClean="0">
                <a:latin typeface="Gotham Light" pitchFamily="50" charset="0"/>
                <a:cs typeface="Gotham Light" pitchFamily="50" charset="0"/>
                <a:sym typeface="Gotham Light" pitchFamily="50" charset="0"/>
              </a:rPr>
              <a:pPr lvl="1">
                <a:spcBef>
                  <a:spcPct val="0"/>
                </a:spcBef>
                <a:spcAft>
                  <a:spcPct val="0"/>
                </a:spcAft>
              </a:pPr>
              <a:t>SB</a:t>
            </a:fld>
            <a:endParaRPr lang="de-DE" sz="800" dirty="0">
              <a:latin typeface="Gotham Light" pitchFamily="50" charset="0"/>
              <a:cs typeface="Gotham Light" pitchFamily="50" charset="0"/>
              <a:sym typeface="Gotham Light" pitchFamily="50" charset="0"/>
            </a:endParaRPr>
          </a:p>
        </p:txBody>
      </p:sp>
      <p:sp>
        <p:nvSpPr>
          <p:cNvPr id="200" name="Textplatzhalter 2"/>
          <p:cNvSpPr>
            <a:spLocks noGrp="1"/>
          </p:cNvSpPr>
          <p:nvPr>
            <p:custDataLst>
              <p:tags r:id="rId107"/>
            </p:custDataLst>
          </p:nvPr>
        </p:nvSpPr>
        <p:spPr bwMode="gray">
          <a:xfrm>
            <a:off x="1727200" y="4092575"/>
            <a:ext cx="17780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E090A4CB-E75B-47A0-ABD9-84F1D0412931}" type="datetime'''''''''''O''''''''''L'''''''''''''''''''''''''">
              <a:rPr lang="de-DE" altLang="en-US" sz="800" smtClean="0">
                <a:latin typeface="Gotham Light" pitchFamily="50" charset="0"/>
                <a:cs typeface="Gotham Light" pitchFamily="50" charset="0"/>
                <a:sym typeface="Gotham Light" pitchFamily="50" charset="0"/>
              </a:rPr>
              <a:pPr lvl="1">
                <a:spcBef>
                  <a:spcPct val="0"/>
                </a:spcBef>
                <a:spcAft>
                  <a:spcPct val="0"/>
                </a:spcAft>
              </a:pPr>
              <a:t>OL</a:t>
            </a:fld>
            <a:endParaRPr lang="de-DE" sz="800" dirty="0">
              <a:latin typeface="Gotham Light" pitchFamily="50" charset="0"/>
              <a:cs typeface="Gotham Light" pitchFamily="50" charset="0"/>
              <a:sym typeface="Gotham Light" pitchFamily="50" charset="0"/>
            </a:endParaRPr>
          </a:p>
        </p:txBody>
      </p:sp>
      <p:sp>
        <p:nvSpPr>
          <p:cNvPr id="197" name="Textplatzhalter 2"/>
          <p:cNvSpPr>
            <a:spLocks noGrp="1"/>
          </p:cNvSpPr>
          <p:nvPr>
            <p:custDataLst>
              <p:tags r:id="rId108"/>
            </p:custDataLst>
          </p:nvPr>
        </p:nvSpPr>
        <p:spPr bwMode="gray">
          <a:xfrm>
            <a:off x="3222625" y="3716338"/>
            <a:ext cx="1095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76158532-200D-4727-A0BB-35185F1396F8}" type="datetime'''''''''''''''''''A'''''''''''''''''''''''''''''''''''''''">
              <a:rPr lang="de-DE" altLang="en-US" sz="800" smtClean="0">
                <a:latin typeface="Gotham Light" pitchFamily="50" charset="0"/>
                <a:cs typeface="Gotham Light" pitchFamily="50" charset="0"/>
                <a:sym typeface="Gotham Light" pitchFamily="50" charset="0"/>
              </a:rPr>
              <a:pPr lvl="1">
                <a:spcBef>
                  <a:spcPct val="0"/>
                </a:spcBef>
                <a:spcAft>
                  <a:spcPct val="0"/>
                </a:spcAft>
              </a:pPr>
              <a:t>A</a:t>
            </a:fld>
            <a:endParaRPr lang="de-DE" sz="800" dirty="0">
              <a:latin typeface="Gotham Light" pitchFamily="50" charset="0"/>
              <a:cs typeface="Gotham Light" pitchFamily="50" charset="0"/>
              <a:sym typeface="Gotham Light" pitchFamily="50" charset="0"/>
            </a:endParaRPr>
          </a:p>
        </p:txBody>
      </p:sp>
      <p:sp>
        <p:nvSpPr>
          <p:cNvPr id="196" name="Textplatzhalter 2"/>
          <p:cNvSpPr>
            <a:spLocks noGrp="1"/>
          </p:cNvSpPr>
          <p:nvPr>
            <p:custDataLst>
              <p:tags r:id="rId109"/>
            </p:custDataLst>
          </p:nvPr>
        </p:nvSpPr>
        <p:spPr bwMode="gray">
          <a:xfrm>
            <a:off x="3478213" y="3894138"/>
            <a:ext cx="18256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DC8C0869-BF6C-47FA-9863-2355C73A63E5}" type="datetime'''''''''''''''''''''''''''''''''''''K''''''''''''''''''A'''''">
              <a:rPr lang="de-DE" altLang="en-US" sz="800" smtClean="0">
                <a:latin typeface="Gotham Light" pitchFamily="50" charset="0"/>
                <a:cs typeface="Gotham Light" pitchFamily="50" charset="0"/>
                <a:sym typeface="Gotham Light" pitchFamily="50" charset="0"/>
              </a:rPr>
              <a:pPr lvl="1">
                <a:spcBef>
                  <a:spcPct val="0"/>
                </a:spcBef>
                <a:spcAft>
                  <a:spcPct val="0"/>
                </a:spcAft>
              </a:pPr>
              <a:t>KA</a:t>
            </a:fld>
            <a:endParaRPr lang="de-DE" sz="800" dirty="0">
              <a:latin typeface="Gotham Light" pitchFamily="50" charset="0"/>
              <a:cs typeface="Gotham Light" pitchFamily="50" charset="0"/>
              <a:sym typeface="Gotham Light" pitchFamily="50" charset="0"/>
            </a:endParaRPr>
          </a:p>
        </p:txBody>
      </p:sp>
      <p:sp>
        <p:nvSpPr>
          <p:cNvPr id="195" name="Textplatzhalter 2"/>
          <p:cNvSpPr>
            <a:spLocks noGrp="1"/>
          </p:cNvSpPr>
          <p:nvPr>
            <p:custDataLst>
              <p:tags r:id="rId110"/>
            </p:custDataLst>
          </p:nvPr>
        </p:nvSpPr>
        <p:spPr bwMode="gray">
          <a:xfrm>
            <a:off x="928688" y="3636963"/>
            <a:ext cx="16351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51EE8F00-6497-4BF1-A1F0-53CB72E92860}" type="datetime'''''''''''PF'''''''''''''''">
              <a:rPr lang="de-DE" altLang="en-US" sz="800" smtClean="0">
                <a:latin typeface="Gotham Light" pitchFamily="50" charset="0"/>
                <a:cs typeface="Gotham Light" pitchFamily="50" charset="0"/>
                <a:sym typeface="Gotham Light" pitchFamily="50" charset="0"/>
              </a:rPr>
              <a:pPr lvl="1">
                <a:spcBef>
                  <a:spcPct val="0"/>
                </a:spcBef>
                <a:spcAft>
                  <a:spcPct val="0"/>
                </a:spcAft>
              </a:pPr>
              <a:t>PF</a:t>
            </a:fld>
            <a:endParaRPr lang="de-DE" sz="800" dirty="0">
              <a:latin typeface="Gotham Light" pitchFamily="50" charset="0"/>
              <a:cs typeface="Gotham Light" pitchFamily="50" charset="0"/>
              <a:sym typeface="Gotham Light" pitchFamily="50" charset="0"/>
            </a:endParaRPr>
          </a:p>
        </p:txBody>
      </p:sp>
      <p:sp>
        <p:nvSpPr>
          <p:cNvPr id="194" name="Textplatzhalter 2"/>
          <p:cNvSpPr>
            <a:spLocks noGrp="1"/>
          </p:cNvSpPr>
          <p:nvPr>
            <p:custDataLst>
              <p:tags r:id="rId111"/>
            </p:custDataLst>
          </p:nvPr>
        </p:nvSpPr>
        <p:spPr bwMode="gray">
          <a:xfrm>
            <a:off x="2301875" y="3775075"/>
            <a:ext cx="16827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A53FDD93-A269-4B7D-B148-422CD243B557}" type="datetime'''''''''''''''''''''''''''F''''''''R'''''''''''''''''''''''">
              <a:rPr lang="de-DE" altLang="en-US" sz="800" smtClean="0">
                <a:latin typeface="Gotham Light" pitchFamily="50" charset="0"/>
                <a:cs typeface="Gotham Light" pitchFamily="50" charset="0"/>
                <a:sym typeface="Gotham Light" pitchFamily="50" charset="0"/>
              </a:rPr>
              <a:pPr lvl="1">
                <a:spcBef>
                  <a:spcPct val="0"/>
                </a:spcBef>
                <a:spcAft>
                  <a:spcPct val="0"/>
                </a:spcAft>
              </a:pPr>
              <a:t>FR</a:t>
            </a:fld>
            <a:endParaRPr lang="de-DE" sz="800" dirty="0">
              <a:latin typeface="Gotham Light" pitchFamily="50" charset="0"/>
              <a:cs typeface="Gotham Light" pitchFamily="50" charset="0"/>
              <a:sym typeface="Gotham Light" pitchFamily="50" charset="0"/>
            </a:endParaRPr>
          </a:p>
        </p:txBody>
      </p:sp>
      <p:sp>
        <p:nvSpPr>
          <p:cNvPr id="233" name="Textplatzhalter 2"/>
          <p:cNvSpPr>
            <a:spLocks noGrp="1"/>
          </p:cNvSpPr>
          <p:nvPr>
            <p:custDataLst>
              <p:tags r:id="rId112"/>
            </p:custDataLst>
          </p:nvPr>
        </p:nvSpPr>
        <p:spPr bwMode="gray">
          <a:xfrm>
            <a:off x="5656263" y="3886200"/>
            <a:ext cx="9207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5A787FE3-F5D8-453E-8DF1-07B0810BF3BF}" type="datetime'''''''''''''''''''''''''''L'''''''''''''''">
              <a:rPr lang="de-DE" altLang="en-US" sz="800" smtClean="0">
                <a:latin typeface="Gotham Light" pitchFamily="50" charset="0"/>
                <a:cs typeface="Gotham Light" pitchFamily="50" charset="0"/>
                <a:sym typeface="Gotham Light" pitchFamily="50" charset="0"/>
              </a:rPr>
              <a:pPr lvl="1">
                <a:spcBef>
                  <a:spcPct val="0"/>
                </a:spcBef>
                <a:spcAft>
                  <a:spcPct val="0"/>
                </a:spcAft>
              </a:pPr>
              <a:t>L</a:t>
            </a:fld>
            <a:endParaRPr lang="de-DE" sz="800" dirty="0">
              <a:latin typeface="Gotham Light" pitchFamily="50" charset="0"/>
              <a:cs typeface="Gotham Light" pitchFamily="50" charset="0"/>
              <a:sym typeface="Gotham Light" pitchFamily="50" charset="0"/>
            </a:endParaRPr>
          </a:p>
        </p:txBody>
      </p:sp>
      <p:sp>
        <p:nvSpPr>
          <p:cNvPr id="213" name="Textplatzhalter 2"/>
          <p:cNvSpPr>
            <a:spLocks noGrp="1"/>
          </p:cNvSpPr>
          <p:nvPr>
            <p:custDataLst>
              <p:tags r:id="rId113"/>
            </p:custDataLst>
          </p:nvPr>
        </p:nvSpPr>
        <p:spPr bwMode="gray">
          <a:xfrm>
            <a:off x="4013200" y="3632200"/>
            <a:ext cx="1412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65F0C42-9F57-4BB6-A864-043BDDC1456C}" type="datetime'''''''W'''''">
              <a:rPr lang="de-DE" altLang="en-US" sz="800" smtClean="0">
                <a:latin typeface="Gotham Light" pitchFamily="50" charset="0"/>
                <a:cs typeface="Gotham Light" pitchFamily="50" charset="0"/>
                <a:sym typeface="Gotham Light" pitchFamily="50" charset="0"/>
              </a:rPr>
              <a:pPr lvl="1">
                <a:spcBef>
                  <a:spcPct val="0"/>
                </a:spcBef>
                <a:spcAft>
                  <a:spcPct val="0"/>
                </a:spcAft>
              </a:pPr>
              <a:t>W</a:t>
            </a:fld>
            <a:endParaRPr lang="de-DE" sz="800" dirty="0">
              <a:latin typeface="Gotham Light" pitchFamily="50" charset="0"/>
              <a:cs typeface="Gotham Light" pitchFamily="50" charset="0"/>
              <a:sym typeface="Gotham Light" pitchFamily="50" charset="0"/>
            </a:endParaRPr>
          </a:p>
        </p:txBody>
      </p:sp>
      <p:sp>
        <p:nvSpPr>
          <p:cNvPr id="212" name="Textplatzhalter 2"/>
          <p:cNvSpPr>
            <a:spLocks noGrp="1"/>
          </p:cNvSpPr>
          <p:nvPr>
            <p:custDataLst>
              <p:tags r:id="rId114"/>
            </p:custDataLst>
          </p:nvPr>
        </p:nvSpPr>
        <p:spPr bwMode="gray">
          <a:xfrm>
            <a:off x="1284288" y="4095750"/>
            <a:ext cx="17780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278BF23F-7F4C-4CA1-BFD1-41BC2CB9B110}" type="datetime'''''''''''''''''''N''''''E'''''''''''''''''''''''">
              <a:rPr lang="de-DE" altLang="en-US" sz="800" smtClean="0">
                <a:latin typeface="Gotham Light" pitchFamily="50" charset="0"/>
                <a:cs typeface="Gotham Light" pitchFamily="50" charset="0"/>
                <a:sym typeface="Gotham Light" pitchFamily="50" charset="0"/>
              </a:rPr>
              <a:pPr lvl="1">
                <a:spcBef>
                  <a:spcPct val="0"/>
                </a:spcBef>
                <a:spcAft>
                  <a:spcPct val="0"/>
                </a:spcAft>
              </a:pPr>
              <a:t>NE</a:t>
            </a:fld>
            <a:endParaRPr lang="de-DE" sz="800" dirty="0">
              <a:latin typeface="Gotham Light" pitchFamily="50" charset="0"/>
              <a:cs typeface="Gotham Light" pitchFamily="50" charset="0"/>
              <a:sym typeface="Gotham Light" pitchFamily="50" charset="0"/>
            </a:endParaRPr>
          </a:p>
        </p:txBody>
      </p:sp>
      <p:sp>
        <p:nvSpPr>
          <p:cNvPr id="211" name="Textplatzhalter 2"/>
          <p:cNvSpPr>
            <a:spLocks noGrp="1"/>
          </p:cNvSpPr>
          <p:nvPr>
            <p:custDataLst>
              <p:tags r:id="rId115"/>
            </p:custDataLst>
          </p:nvPr>
        </p:nvSpPr>
        <p:spPr bwMode="gray">
          <a:xfrm>
            <a:off x="2646363" y="3579813"/>
            <a:ext cx="1841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9ADDCFD8-E85F-4890-8FF1-D9AEB4592F04}" type="datetime'''''''''AC'''''''''''''''''''''''''''''''''''''''''''''">
              <a:rPr lang="de-DE" altLang="en-US" sz="800" smtClean="0">
                <a:latin typeface="Gotham Light" pitchFamily="50" charset="0"/>
                <a:cs typeface="Gotham Light" pitchFamily="50" charset="0"/>
                <a:sym typeface="Gotham Light" pitchFamily="50" charset="0"/>
              </a:rPr>
              <a:pPr lvl="1">
                <a:spcBef>
                  <a:spcPct val="0"/>
                </a:spcBef>
                <a:spcAft>
                  <a:spcPct val="0"/>
                </a:spcAft>
              </a:pPr>
              <a:t>AC</a:t>
            </a:fld>
            <a:endParaRPr lang="de-DE" sz="800" dirty="0">
              <a:latin typeface="Gotham Light" pitchFamily="50" charset="0"/>
              <a:cs typeface="Gotham Light" pitchFamily="50" charset="0"/>
              <a:sym typeface="Gotham Light" pitchFamily="50" charset="0"/>
            </a:endParaRPr>
          </a:p>
        </p:txBody>
      </p:sp>
      <p:sp>
        <p:nvSpPr>
          <p:cNvPr id="210" name="Textplatzhalter 2"/>
          <p:cNvSpPr>
            <a:spLocks noGrp="1"/>
          </p:cNvSpPr>
          <p:nvPr>
            <p:custDataLst>
              <p:tags r:id="rId116"/>
            </p:custDataLst>
          </p:nvPr>
        </p:nvSpPr>
        <p:spPr bwMode="gray">
          <a:xfrm>
            <a:off x="5264150" y="4008438"/>
            <a:ext cx="10636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94E8DEFB-844B-44FA-BE0B-5AD2E45BDA55}" type="datetime'''''''''''H'''''''''''''''''''''''">
              <a:rPr lang="de-DE" altLang="en-US" sz="800" smtClean="0">
                <a:latin typeface="Gotham Light" pitchFamily="50" charset="0"/>
                <a:cs typeface="Gotham Light" pitchFamily="50" charset="0"/>
                <a:sym typeface="Gotham Light" pitchFamily="50" charset="0"/>
              </a:rPr>
              <a:pPr lvl="1">
                <a:spcBef>
                  <a:spcPct val="0"/>
                </a:spcBef>
                <a:spcAft>
                  <a:spcPct val="0"/>
                </a:spcAft>
              </a:pPr>
              <a:t>H</a:t>
            </a:fld>
            <a:endParaRPr lang="de-DE" sz="800" dirty="0">
              <a:latin typeface="Gotham Light" pitchFamily="50" charset="0"/>
              <a:cs typeface="Gotham Light" pitchFamily="50" charset="0"/>
              <a:sym typeface="Gotham Light" pitchFamily="50" charset="0"/>
            </a:endParaRPr>
          </a:p>
        </p:txBody>
      </p:sp>
      <p:sp>
        <p:nvSpPr>
          <p:cNvPr id="209" name="Textplatzhalter 2"/>
          <p:cNvSpPr>
            <a:spLocks noGrp="1"/>
          </p:cNvSpPr>
          <p:nvPr>
            <p:custDataLst>
              <p:tags r:id="rId117"/>
            </p:custDataLst>
          </p:nvPr>
        </p:nvSpPr>
        <p:spPr bwMode="gray">
          <a:xfrm>
            <a:off x="6575425" y="3400425"/>
            <a:ext cx="952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96EAFA59-5A54-4B9E-8EAF-33D24FB8575A}" type="datetime'''''''F'''''''''''''">
              <a:rPr lang="de-DE" altLang="en-US" sz="800" smtClean="0">
                <a:latin typeface="Gotham Light" pitchFamily="50" charset="0"/>
                <a:cs typeface="Gotham Light" pitchFamily="50" charset="0"/>
                <a:sym typeface="Gotham Light" pitchFamily="50" charset="0"/>
              </a:rPr>
              <a:pPr lvl="1">
                <a:spcBef>
                  <a:spcPct val="0"/>
                </a:spcBef>
                <a:spcAft>
                  <a:spcPct val="0"/>
                </a:spcAft>
              </a:pPr>
              <a:t>F</a:t>
            </a:fld>
            <a:endParaRPr lang="de-DE" sz="800" dirty="0">
              <a:latin typeface="Gotham Light" pitchFamily="50" charset="0"/>
              <a:cs typeface="Gotham Light" pitchFamily="50" charset="0"/>
              <a:sym typeface="Gotham Light" pitchFamily="50" charset="0"/>
            </a:endParaRPr>
          </a:p>
        </p:txBody>
      </p:sp>
      <p:sp>
        <p:nvSpPr>
          <p:cNvPr id="234" name="Textplatzhalter 2"/>
          <p:cNvSpPr>
            <a:spLocks noGrp="1"/>
          </p:cNvSpPr>
          <p:nvPr>
            <p:custDataLst>
              <p:tags r:id="rId118"/>
            </p:custDataLst>
          </p:nvPr>
        </p:nvSpPr>
        <p:spPr bwMode="gray">
          <a:xfrm>
            <a:off x="1047750" y="2398713"/>
            <a:ext cx="38576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A33017CD-FD82-4B94-8447-CF06706F31AF}" type="datetime'''''C''''''''''''''H''''''''''''''_L''A'''''''''''''''''">
              <a:rPr lang="de-DE" altLang="en-US" sz="800" smtClean="0">
                <a:latin typeface="Gotham Light" pitchFamily="50" charset="0"/>
                <a:cs typeface="Gotham Light" pitchFamily="50" charset="0"/>
                <a:sym typeface="Gotham Light" pitchFamily="50" charset="0"/>
              </a:rPr>
              <a:pPr lvl="1">
                <a:spcBef>
                  <a:spcPct val="0"/>
                </a:spcBef>
                <a:spcAft>
                  <a:spcPct val="0"/>
                </a:spcAft>
              </a:pPr>
              <a:t>CH_LA</a:t>
            </a:fld>
            <a:endParaRPr lang="de-DE" sz="800" dirty="0">
              <a:latin typeface="Gotham Light" pitchFamily="50" charset="0"/>
              <a:cs typeface="Gotham Light" pitchFamily="50" charset="0"/>
              <a:sym typeface="Gotham Light" pitchFamily="50" charset="0"/>
            </a:endParaRPr>
          </a:p>
        </p:txBody>
      </p:sp>
      <p:sp>
        <p:nvSpPr>
          <p:cNvPr id="184" name="Textplatzhalter 2">
            <a:extLst>
              <a:ext uri="{FF2B5EF4-FFF2-40B4-BE49-F238E27FC236}">
                <a16:creationId xmlns:a16="http://schemas.microsoft.com/office/drawing/2014/main" xmlns="" id="{D2696B88-4D25-4E72-81AF-BE629FA1D480}"/>
              </a:ext>
            </a:extLst>
          </p:cNvPr>
          <p:cNvSpPr>
            <a:spLocks noGrp="1"/>
          </p:cNvSpPr>
          <p:nvPr>
            <p:custDataLst>
              <p:tags r:id="rId119"/>
            </p:custDataLst>
          </p:nvPr>
        </p:nvSpPr>
        <p:spPr bwMode="gray">
          <a:xfrm>
            <a:off x="1128713" y="4378325"/>
            <a:ext cx="187325"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0B5ECF3B-67E9-49E6-8E6F-AD07CA2D2BB9}" type="datetime'''''''''''''''''''''''''''''''''''''''''''''''''''H''N'''''''">
              <a:rPr lang="de-DE" altLang="en-US" sz="800" smtClean="0">
                <a:latin typeface="Gotham Light" pitchFamily="50" charset="0"/>
                <a:cs typeface="Gotham Light" pitchFamily="50" charset="0"/>
                <a:sym typeface="Gotham Light" pitchFamily="50" charset="0"/>
              </a:rPr>
              <a:pPr lvl="1">
                <a:spcBef>
                  <a:spcPct val="0"/>
                </a:spcBef>
                <a:spcAft>
                  <a:spcPct val="0"/>
                </a:spcAft>
              </a:pPr>
              <a:t>HN</a:t>
            </a:fld>
            <a:endParaRPr lang="de-DE" sz="800" dirty="0">
              <a:latin typeface="Gotham Light" pitchFamily="50" charset="0"/>
              <a:cs typeface="Gotham Light" pitchFamily="50" charset="0"/>
              <a:sym typeface="Gotham Light" pitchFamily="50" charset="0"/>
            </a:endParaRPr>
          </a:p>
        </p:txBody>
      </p:sp>
      <p:sp>
        <p:nvSpPr>
          <p:cNvPr id="185" name="Textplatzhalter 2">
            <a:extLst>
              <a:ext uri="{FF2B5EF4-FFF2-40B4-BE49-F238E27FC236}">
                <a16:creationId xmlns:a16="http://schemas.microsoft.com/office/drawing/2014/main" xmlns="" id="{F61221F8-2337-4A94-B082-837C11E4F8BD}"/>
              </a:ext>
            </a:extLst>
          </p:cNvPr>
          <p:cNvSpPr>
            <a:spLocks noGrp="1"/>
          </p:cNvSpPr>
          <p:nvPr>
            <p:custDataLst>
              <p:tags r:id="rId120"/>
            </p:custDataLst>
          </p:nvPr>
        </p:nvSpPr>
        <p:spPr bwMode="gray">
          <a:xfrm>
            <a:off x="3503613" y="4059238"/>
            <a:ext cx="182563"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F4AE74DB-660A-46DB-9093-6EB7186335CE}" type="datetime'''''''''''''M''''S'''''">
              <a:rPr lang="de-DE" altLang="en-US" sz="800" smtClean="0">
                <a:latin typeface="Gotham Light" pitchFamily="50" charset="0"/>
                <a:cs typeface="Gotham Light" pitchFamily="50" charset="0"/>
                <a:sym typeface="Gotham Light" pitchFamily="50" charset="0"/>
              </a:rPr>
              <a:pPr lvl="1">
                <a:spcBef>
                  <a:spcPct val="0"/>
                </a:spcBef>
                <a:spcAft>
                  <a:spcPct val="0"/>
                </a:spcAft>
              </a:pPr>
              <a:t>MS</a:t>
            </a:fld>
            <a:endParaRPr lang="de-DE" sz="800" dirty="0">
              <a:latin typeface="Gotham Light" pitchFamily="50" charset="0"/>
              <a:cs typeface="Gotham Light" pitchFamily="50" charset="0"/>
              <a:sym typeface="Gotham Light" pitchFamily="50" charset="0"/>
            </a:endParaRPr>
          </a:p>
        </p:txBody>
      </p:sp>
      <p:sp>
        <p:nvSpPr>
          <p:cNvPr id="187" name="Textplatzhalter 2">
            <a:extLst>
              <a:ext uri="{FF2B5EF4-FFF2-40B4-BE49-F238E27FC236}">
                <a16:creationId xmlns:a16="http://schemas.microsoft.com/office/drawing/2014/main" xmlns="" id="{D1B79F71-9274-464F-9BE0-FF662AF51C66}"/>
              </a:ext>
            </a:extLst>
          </p:cNvPr>
          <p:cNvSpPr>
            <a:spLocks noGrp="1"/>
          </p:cNvSpPr>
          <p:nvPr>
            <p:custDataLst>
              <p:tags r:id="rId121"/>
            </p:custDataLst>
          </p:nvPr>
        </p:nvSpPr>
        <p:spPr bwMode="gray">
          <a:xfrm>
            <a:off x="5808663" y="3905250"/>
            <a:ext cx="96838"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C8131D21-98D3-4DC7-87E1-E5BDC5E5C9EA}" type="datetime'''''''''''''''''''E'''''''''''''''''''''''''''''''''''''''">
              <a:rPr lang="de-DE" altLang="en-US" sz="800" smtClean="0">
                <a:latin typeface="Gotham Light" pitchFamily="50" charset="0"/>
                <a:cs typeface="Gotham Light" pitchFamily="50" charset="0"/>
                <a:sym typeface="Gotham Light" pitchFamily="50" charset="0"/>
              </a:rPr>
              <a:pPr lvl="1">
                <a:spcBef>
                  <a:spcPct val="0"/>
                </a:spcBef>
                <a:spcAft>
                  <a:spcPct val="0"/>
                </a:spcAft>
              </a:pPr>
              <a:t>E</a:t>
            </a:fld>
            <a:endParaRPr lang="de-DE" sz="800" dirty="0">
              <a:latin typeface="Gotham Light" pitchFamily="50" charset="0"/>
              <a:cs typeface="Gotham Light" pitchFamily="50" charset="0"/>
              <a:sym typeface="Gotham Light" pitchFamily="50" charset="0"/>
            </a:endParaRPr>
          </a:p>
        </p:txBody>
      </p:sp>
      <p:sp>
        <p:nvSpPr>
          <p:cNvPr id="190" name="Textplatzhalter 2">
            <a:extLst>
              <a:ext uri="{FF2B5EF4-FFF2-40B4-BE49-F238E27FC236}">
                <a16:creationId xmlns:a16="http://schemas.microsoft.com/office/drawing/2014/main" xmlns="" id="{50FCEC08-6B81-4025-83A9-F701A7185F0F}"/>
              </a:ext>
            </a:extLst>
          </p:cNvPr>
          <p:cNvSpPr>
            <a:spLocks noGrp="1"/>
          </p:cNvSpPr>
          <p:nvPr>
            <p:custDataLst>
              <p:tags r:id="rId122"/>
            </p:custDataLst>
          </p:nvPr>
        </p:nvSpPr>
        <p:spPr bwMode="gray">
          <a:xfrm>
            <a:off x="1693863" y="4371975"/>
            <a:ext cx="195263"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A3C8DCB5-770B-4D0F-B25D-168AACA91179}" type="datetime'''MH'''''''''''''''''''''''''''''''">
              <a:rPr lang="de-DE" altLang="en-US" sz="800" smtClean="0">
                <a:latin typeface="Gotham Light" pitchFamily="50" charset="0"/>
                <a:cs typeface="Gotham Light" pitchFamily="50" charset="0"/>
                <a:sym typeface="Gotham Light" pitchFamily="50" charset="0"/>
              </a:rPr>
              <a:pPr lvl="1">
                <a:spcBef>
                  <a:spcPct val="0"/>
                </a:spcBef>
                <a:spcAft>
                  <a:spcPct val="0"/>
                </a:spcAft>
              </a:pPr>
              <a:t>MH</a:t>
            </a:fld>
            <a:endParaRPr lang="de-DE" sz="800" dirty="0">
              <a:latin typeface="Gotham Light" pitchFamily="50" charset="0"/>
              <a:cs typeface="Gotham Light" pitchFamily="50" charset="0"/>
              <a:sym typeface="Gotham Light" pitchFamily="50" charset="0"/>
            </a:endParaRPr>
          </a:p>
        </p:txBody>
      </p:sp>
      <p:sp>
        <p:nvSpPr>
          <p:cNvPr id="191" name="Textplatzhalter 2">
            <a:extLst>
              <a:ext uri="{FF2B5EF4-FFF2-40B4-BE49-F238E27FC236}">
                <a16:creationId xmlns:a16="http://schemas.microsoft.com/office/drawing/2014/main" xmlns="" id="{FEB6D17B-2D2A-47A5-8299-7D8F241BDCC6}"/>
              </a:ext>
            </a:extLst>
          </p:cNvPr>
          <p:cNvSpPr>
            <a:spLocks noGrp="1"/>
          </p:cNvSpPr>
          <p:nvPr>
            <p:custDataLst>
              <p:tags r:id="rId123"/>
            </p:custDataLst>
          </p:nvPr>
        </p:nvSpPr>
        <p:spPr bwMode="gray">
          <a:xfrm>
            <a:off x="2076450" y="4008438"/>
            <a:ext cx="187325"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756D45D3-C09E-4D54-B1C2-7A2E5280ECD8}" type="datetime'''''''''''''''''''''''O''''''''''''''B'''''''''''''''''''''''">
              <a:rPr lang="de-DE" altLang="en-US" sz="800" smtClean="0">
                <a:latin typeface="Gotham Light" pitchFamily="50" charset="0"/>
                <a:cs typeface="Gotham Light" pitchFamily="50" charset="0"/>
                <a:sym typeface="Gotham Light" pitchFamily="50" charset="0"/>
              </a:rPr>
              <a:pPr lvl="1">
                <a:spcBef>
                  <a:spcPct val="0"/>
                </a:spcBef>
                <a:spcAft>
                  <a:spcPct val="0"/>
                </a:spcAft>
              </a:pPr>
              <a:t>OB</a:t>
            </a:fld>
            <a:endParaRPr lang="de-DE" sz="800" dirty="0">
              <a:latin typeface="Gotham Light" pitchFamily="50" charset="0"/>
              <a:cs typeface="Gotham Light" pitchFamily="50" charset="0"/>
              <a:sym typeface="Gotham Light" pitchFamily="50" charset="0"/>
            </a:endParaRPr>
          </a:p>
        </p:txBody>
      </p:sp>
      <p:sp>
        <p:nvSpPr>
          <p:cNvPr id="192" name="Textplatzhalter 2">
            <a:extLst>
              <a:ext uri="{FF2B5EF4-FFF2-40B4-BE49-F238E27FC236}">
                <a16:creationId xmlns:a16="http://schemas.microsoft.com/office/drawing/2014/main" xmlns="" id="{6DC3E717-76D4-49AA-A52F-F97906AEB22D}"/>
              </a:ext>
            </a:extLst>
          </p:cNvPr>
          <p:cNvSpPr>
            <a:spLocks noGrp="1"/>
          </p:cNvSpPr>
          <p:nvPr>
            <p:custDataLst>
              <p:tags r:id="rId124"/>
            </p:custDataLst>
          </p:nvPr>
        </p:nvSpPr>
        <p:spPr bwMode="gray">
          <a:xfrm>
            <a:off x="6475413" y="3397250"/>
            <a:ext cx="93663"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953B2F88-A116-4FAE-95DB-BF3468AB5651}" type="datetime'''''''''''''''''''''''''''''S'">
              <a:rPr lang="de-DE" altLang="en-US" sz="800" smtClean="0">
                <a:latin typeface="Gotham Light" pitchFamily="50" charset="0"/>
                <a:cs typeface="Gotham Light" pitchFamily="50" charset="0"/>
                <a:sym typeface="Gotham Light" pitchFamily="50" charset="0"/>
              </a:rPr>
              <a:pPr lvl="1">
                <a:spcBef>
                  <a:spcPct val="0"/>
                </a:spcBef>
                <a:spcAft>
                  <a:spcPct val="0"/>
                </a:spcAft>
              </a:pPr>
              <a:t>S</a:t>
            </a:fld>
            <a:endParaRPr lang="de-DE" sz="800" dirty="0">
              <a:latin typeface="Gotham Light" pitchFamily="50" charset="0"/>
              <a:cs typeface="Gotham Light" pitchFamily="50" charset="0"/>
              <a:sym typeface="Gotham Light" pitchFamily="50" charset="0"/>
            </a:endParaRPr>
          </a:p>
        </p:txBody>
      </p:sp>
      <p:sp>
        <p:nvSpPr>
          <p:cNvPr id="193" name="Textplatzhalter 2">
            <a:extLst>
              <a:ext uri="{FF2B5EF4-FFF2-40B4-BE49-F238E27FC236}">
                <a16:creationId xmlns:a16="http://schemas.microsoft.com/office/drawing/2014/main" xmlns="" id="{1B70CB7D-5FF7-4672-8737-23D7FB1B9399}"/>
              </a:ext>
            </a:extLst>
          </p:cNvPr>
          <p:cNvSpPr>
            <a:spLocks noGrp="1"/>
          </p:cNvSpPr>
          <p:nvPr>
            <p:custDataLst>
              <p:tags r:id="rId125"/>
            </p:custDataLst>
          </p:nvPr>
        </p:nvSpPr>
        <p:spPr bwMode="gray">
          <a:xfrm>
            <a:off x="1231900" y="3729038"/>
            <a:ext cx="101600"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6225BBF9-4706-40FB-AA67-173D58C319AE}" type="datetime'''''''''''''''''''''''''''''''''''''''''''R'''''''''''''''''''">
              <a:rPr lang="de-DE" altLang="en-US" sz="800" smtClean="0">
                <a:latin typeface="Gotham Light" pitchFamily="50" charset="0"/>
                <a:cs typeface="Gotham Light" pitchFamily="50" charset="0"/>
                <a:sym typeface="Gotham Light" pitchFamily="50" charset="0"/>
              </a:rPr>
              <a:pPr lvl="1">
                <a:spcBef>
                  <a:spcPct val="0"/>
                </a:spcBef>
                <a:spcAft>
                  <a:spcPct val="0"/>
                </a:spcAft>
              </a:pPr>
              <a:t>R</a:t>
            </a:fld>
            <a:endParaRPr lang="de-DE" sz="800" dirty="0">
              <a:latin typeface="Gotham Light" pitchFamily="50" charset="0"/>
              <a:cs typeface="Gotham Light" pitchFamily="50" charset="0"/>
              <a:sym typeface="Gotham Light" pitchFamily="50" charset="0"/>
            </a:endParaRPr>
          </a:p>
        </p:txBody>
      </p:sp>
      <p:sp>
        <p:nvSpPr>
          <p:cNvPr id="201" name="Textplatzhalter 2">
            <a:extLst>
              <a:ext uri="{FF2B5EF4-FFF2-40B4-BE49-F238E27FC236}">
                <a16:creationId xmlns:a16="http://schemas.microsoft.com/office/drawing/2014/main" xmlns="" id="{ECA7E950-79CA-4173-8943-3EE08DE14972}"/>
              </a:ext>
            </a:extLst>
          </p:cNvPr>
          <p:cNvSpPr>
            <a:spLocks noGrp="1"/>
          </p:cNvSpPr>
          <p:nvPr>
            <p:custDataLst>
              <p:tags r:id="rId126"/>
            </p:custDataLst>
          </p:nvPr>
        </p:nvSpPr>
        <p:spPr bwMode="gray">
          <a:xfrm>
            <a:off x="4321175" y="2246313"/>
            <a:ext cx="311150"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DBD6445F-12E5-4F6D-A782-33C4187FC091}" type="datetime'''''''''''''''C''''''H''''''''''''''_''''''''''''''''Z'''''''">
              <a:rPr lang="de-DE" altLang="en-US" sz="800" smtClean="0">
                <a:latin typeface="Gotham Light" pitchFamily="50" charset="0"/>
                <a:cs typeface="Gotham Light" pitchFamily="50" charset="0"/>
                <a:sym typeface="Gotham Light" pitchFamily="50" charset="0"/>
              </a:rPr>
              <a:pPr lvl="1">
                <a:spcBef>
                  <a:spcPct val="0"/>
                </a:spcBef>
                <a:spcAft>
                  <a:spcPct val="0"/>
                </a:spcAft>
              </a:pPr>
              <a:t>CH_Z</a:t>
            </a:fld>
            <a:endParaRPr lang="de-DE" sz="800" dirty="0">
              <a:latin typeface="Gotham Light" pitchFamily="50" charset="0"/>
              <a:cs typeface="Gotham Light" pitchFamily="50" charset="0"/>
              <a:sym typeface="Gotham Light" pitchFamily="50" charset="0"/>
            </a:endParaRPr>
          </a:p>
        </p:txBody>
      </p:sp>
      <p:sp>
        <p:nvSpPr>
          <p:cNvPr id="254" name="Textplatzhalter 2"/>
          <p:cNvSpPr>
            <a:spLocks noGrp="1"/>
          </p:cNvSpPr>
          <p:nvPr>
            <p:custDataLst>
              <p:tags r:id="rId127"/>
            </p:custDataLst>
          </p:nvPr>
        </p:nvSpPr>
        <p:spPr bwMode="gray">
          <a:xfrm>
            <a:off x="2565400" y="4276725"/>
            <a:ext cx="1031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4F86EA34-4489-4BF3-A13D-1ADE06E2557E}" type="datetime'''''''''''''C'''''''''''''''''''''''">
              <a:rPr lang="de-DE" altLang="en-US" sz="800" smtClean="0">
                <a:latin typeface="Gotham Light" pitchFamily="50" charset="0"/>
                <a:cs typeface="Gotham Light" pitchFamily="50" charset="0"/>
                <a:sym typeface="Gotham Light" pitchFamily="50" charset="0"/>
              </a:rPr>
              <a:pPr lvl="1">
                <a:spcBef>
                  <a:spcPct val="0"/>
                </a:spcBef>
                <a:spcAft>
                  <a:spcPct val="0"/>
                </a:spcAft>
              </a:pPr>
              <a:t>C</a:t>
            </a:fld>
            <a:endParaRPr lang="de-DE" sz="800" dirty="0">
              <a:latin typeface="Gotham Light" pitchFamily="50" charset="0"/>
              <a:cs typeface="Gotham Light" pitchFamily="50" charset="0"/>
              <a:sym typeface="Gotham Light" pitchFamily="50" charset="0"/>
            </a:endParaRPr>
          </a:p>
        </p:txBody>
      </p:sp>
      <p:sp>
        <p:nvSpPr>
          <p:cNvPr id="202" name="Textplatzhalter 2">
            <a:extLst>
              <a:ext uri="{FF2B5EF4-FFF2-40B4-BE49-F238E27FC236}">
                <a16:creationId xmlns:a16="http://schemas.microsoft.com/office/drawing/2014/main" xmlns="" id="{0A007BE2-F2DF-4B94-B033-3F3330BAAF62}"/>
              </a:ext>
            </a:extLst>
          </p:cNvPr>
          <p:cNvSpPr>
            <a:spLocks noGrp="1"/>
          </p:cNvSpPr>
          <p:nvPr>
            <p:custDataLst>
              <p:tags r:id="rId128"/>
            </p:custDataLst>
          </p:nvPr>
        </p:nvSpPr>
        <p:spPr bwMode="gray">
          <a:xfrm>
            <a:off x="763588" y="4314825"/>
            <a:ext cx="187325"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8EAD3DD2-1FEC-42A9-BB8F-39712260A1FC}" type="datetime'''''K''''''''''''''''''''''''''''O'''''''''''''''">
              <a:rPr lang="de-DE" altLang="en-US" sz="800" smtClean="0">
                <a:latin typeface="Gotham Light" pitchFamily="50" charset="0"/>
                <a:cs typeface="Gotham Light" pitchFamily="50" charset="0"/>
                <a:sym typeface="Gotham Light" pitchFamily="50" charset="0"/>
              </a:rPr>
              <a:pPr lvl="1">
                <a:spcBef>
                  <a:spcPct val="0"/>
                </a:spcBef>
                <a:spcAft>
                  <a:spcPct val="0"/>
                </a:spcAft>
              </a:pPr>
              <a:t>KO</a:t>
            </a:fld>
            <a:endParaRPr lang="de-DE" sz="800" dirty="0">
              <a:latin typeface="Gotham Light" pitchFamily="50" charset="0"/>
              <a:cs typeface="Gotham Light" pitchFamily="50" charset="0"/>
              <a:sym typeface="Gotham Light" pitchFamily="50" charset="0"/>
            </a:endParaRPr>
          </a:p>
        </p:txBody>
      </p:sp>
      <p:sp>
        <p:nvSpPr>
          <p:cNvPr id="218" name="Textplatzhalter 2"/>
          <p:cNvSpPr>
            <a:spLocks noGrp="1"/>
          </p:cNvSpPr>
          <p:nvPr>
            <p:custDataLst>
              <p:tags r:id="rId129"/>
            </p:custDataLst>
          </p:nvPr>
        </p:nvSpPr>
        <p:spPr bwMode="gray">
          <a:xfrm>
            <a:off x="1958975" y="4386263"/>
            <a:ext cx="16351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00952D94-ABC0-47CE-A84D-C53D32B7DBA3}" type="datetime'''''''''''''''''''''''''''''''EF'''''''''''">
              <a:rPr lang="de-DE" altLang="en-US" sz="800" smtClean="0">
                <a:latin typeface="Gotham Light" pitchFamily="50" charset="0"/>
                <a:cs typeface="Gotham Light" pitchFamily="50" charset="0"/>
                <a:sym typeface="Gotham Light" pitchFamily="50" charset="0"/>
              </a:rPr>
              <a:pPr lvl="1">
                <a:spcBef>
                  <a:spcPct val="0"/>
                </a:spcBef>
                <a:spcAft>
                  <a:spcPct val="0"/>
                </a:spcAft>
              </a:pPr>
              <a:t>EF</a:t>
            </a:fld>
            <a:endParaRPr lang="de-DE" sz="800" dirty="0">
              <a:latin typeface="Gotham Light" pitchFamily="50" charset="0"/>
              <a:cs typeface="Gotham Light" pitchFamily="50" charset="0"/>
              <a:sym typeface="Gotham Light" pitchFamily="50" charset="0"/>
            </a:endParaRPr>
          </a:p>
        </p:txBody>
      </p:sp>
      <p:sp>
        <p:nvSpPr>
          <p:cNvPr id="205" name="Textplatzhalter 2">
            <a:extLst>
              <a:ext uri="{FF2B5EF4-FFF2-40B4-BE49-F238E27FC236}">
                <a16:creationId xmlns:a16="http://schemas.microsoft.com/office/drawing/2014/main" xmlns="" id="{3959B1B5-4348-4493-B927-4CB90A339964}"/>
              </a:ext>
            </a:extLst>
          </p:cNvPr>
          <p:cNvSpPr>
            <a:spLocks noGrp="1"/>
          </p:cNvSpPr>
          <p:nvPr>
            <p:custDataLst>
              <p:tags r:id="rId130"/>
            </p:custDataLst>
          </p:nvPr>
        </p:nvSpPr>
        <p:spPr bwMode="gray">
          <a:xfrm>
            <a:off x="1187450" y="3973513"/>
            <a:ext cx="247650"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BF9DA960-837C-43FE-AD28-431612C8363F}" type="datetime'''''''''''''''''''''''H''''E''''''''''''''''''''R'''''''''''''">
              <a:rPr lang="de-DE" altLang="en-US" sz="800" smtClean="0">
                <a:latin typeface="Gotham Light" pitchFamily="50" charset="0"/>
                <a:cs typeface="Gotham Light" pitchFamily="50" charset="0"/>
                <a:sym typeface="Gotham Light" pitchFamily="50" charset="0"/>
              </a:rPr>
              <a:pPr lvl="1">
                <a:spcBef>
                  <a:spcPct val="0"/>
                </a:spcBef>
                <a:spcAft>
                  <a:spcPct val="0"/>
                </a:spcAft>
              </a:pPr>
              <a:t>HER</a:t>
            </a:fld>
            <a:endParaRPr lang="de-DE" sz="800" dirty="0">
              <a:latin typeface="Gotham Light" pitchFamily="50" charset="0"/>
              <a:cs typeface="Gotham Light" pitchFamily="50" charset="0"/>
              <a:sym typeface="Gotham Light" pitchFamily="50" charset="0"/>
            </a:endParaRPr>
          </a:p>
        </p:txBody>
      </p:sp>
      <p:sp>
        <p:nvSpPr>
          <p:cNvPr id="263" name="Textplatzhalter 2">
            <a:extLst>
              <a:ext uri="{FF2B5EF4-FFF2-40B4-BE49-F238E27FC236}">
                <a16:creationId xmlns:a16="http://schemas.microsoft.com/office/drawing/2014/main" xmlns="" id="{D7B717E3-E827-4E34-99FD-B2609B2CBE5D}"/>
              </a:ext>
            </a:extLst>
          </p:cNvPr>
          <p:cNvSpPr>
            <a:spLocks noGrp="1"/>
          </p:cNvSpPr>
          <p:nvPr>
            <p:custDataLst>
              <p:tags r:id="rId131"/>
            </p:custDataLst>
          </p:nvPr>
        </p:nvSpPr>
        <p:spPr bwMode="gray">
          <a:xfrm>
            <a:off x="1120775" y="3259138"/>
            <a:ext cx="180975"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E63A785A-275E-4023-BD4B-09511080AEF1}" type="datetime'''''''O''''''''''''''F'">
              <a:rPr lang="de-DE" altLang="en-US" sz="800" smtClean="0">
                <a:latin typeface="Gotham Light" pitchFamily="50" charset="0"/>
                <a:cs typeface="Gotham Light" pitchFamily="50" charset="0"/>
                <a:sym typeface="Gotham Light" pitchFamily="50" charset="0"/>
              </a:rPr>
              <a:pPr lvl="1">
                <a:spcBef>
                  <a:spcPct val="0"/>
                </a:spcBef>
                <a:spcAft>
                  <a:spcPct val="0"/>
                </a:spcAft>
              </a:pPr>
              <a:t>OF</a:t>
            </a:fld>
            <a:endParaRPr lang="de-DE" sz="800" dirty="0">
              <a:latin typeface="Gotham Light" pitchFamily="50" charset="0"/>
              <a:cs typeface="Gotham Light" pitchFamily="50" charset="0"/>
              <a:sym typeface="Gotham Light" pitchFamily="50" charset="0"/>
            </a:endParaRPr>
          </a:p>
        </p:txBody>
      </p:sp>
      <p:sp>
        <p:nvSpPr>
          <p:cNvPr id="264" name="Textplatzhalter 2">
            <a:extLst>
              <a:ext uri="{FF2B5EF4-FFF2-40B4-BE49-F238E27FC236}">
                <a16:creationId xmlns:a16="http://schemas.microsoft.com/office/drawing/2014/main" xmlns="" id="{C09BEF82-9C93-4D3E-AF33-123D1D75B604}"/>
              </a:ext>
            </a:extLst>
          </p:cNvPr>
          <p:cNvSpPr>
            <a:spLocks noGrp="1"/>
          </p:cNvSpPr>
          <p:nvPr>
            <p:custDataLst>
              <p:tags r:id="rId132"/>
            </p:custDataLst>
          </p:nvPr>
        </p:nvSpPr>
        <p:spPr bwMode="gray">
          <a:xfrm>
            <a:off x="1444625" y="4322763"/>
            <a:ext cx="169863"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E60E817A-C890-42E8-9286-A3D3A06B4936}" type="datetime'L''''''''''''''''U'''''''''''''''''''''''''''''''">
              <a:rPr lang="de-DE" altLang="en-US" sz="800" smtClean="0">
                <a:latin typeface="Gotham Light" pitchFamily="50" charset="0"/>
                <a:cs typeface="Gotham Light" pitchFamily="50" charset="0"/>
                <a:sym typeface="Gotham Light" pitchFamily="50" charset="0"/>
              </a:rPr>
              <a:pPr lvl="1">
                <a:spcBef>
                  <a:spcPct val="0"/>
                </a:spcBef>
                <a:spcAft>
                  <a:spcPct val="0"/>
                </a:spcAft>
              </a:pPr>
              <a:t>LU</a:t>
            </a:fld>
            <a:endParaRPr lang="de-DE" sz="800" dirty="0">
              <a:latin typeface="Gotham Light" pitchFamily="50" charset="0"/>
              <a:cs typeface="Gotham Light" pitchFamily="50" charset="0"/>
              <a:sym typeface="Gotham Light" pitchFamily="50" charset="0"/>
            </a:endParaRPr>
          </a:p>
        </p:txBody>
      </p:sp>
      <p:sp>
        <p:nvSpPr>
          <p:cNvPr id="206" name="Textplatzhalter 2"/>
          <p:cNvSpPr>
            <a:spLocks noGrp="1"/>
          </p:cNvSpPr>
          <p:nvPr>
            <p:custDataLst>
              <p:tags r:id="rId133"/>
            </p:custDataLst>
          </p:nvPr>
        </p:nvSpPr>
        <p:spPr bwMode="gray">
          <a:xfrm>
            <a:off x="1235075" y="4233863"/>
            <a:ext cx="13811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E4100A3A-8CDB-422F-B904-642F39B81A47}" type="datetime'''''''''''''IN'''''''''''">
              <a:rPr lang="de-DE" altLang="en-US" sz="800" smtClean="0">
                <a:latin typeface="Gotham Light" pitchFamily="50" charset="0"/>
                <a:cs typeface="Gotham Light" pitchFamily="50" charset="0"/>
                <a:sym typeface="Gotham Light" pitchFamily="50" charset="0"/>
              </a:rPr>
              <a:pPr lvl="1">
                <a:spcBef>
                  <a:spcPct val="0"/>
                </a:spcBef>
                <a:spcAft>
                  <a:spcPct val="0"/>
                </a:spcAft>
              </a:pPr>
              <a:t>IN</a:t>
            </a:fld>
            <a:endParaRPr lang="de-DE" sz="800" dirty="0">
              <a:latin typeface="Gotham Light" pitchFamily="50" charset="0"/>
              <a:cs typeface="Gotham Light" pitchFamily="50" charset="0"/>
              <a:sym typeface="Gotham Light" pitchFamily="50" charset="0"/>
            </a:endParaRPr>
          </a:p>
        </p:txBody>
      </p:sp>
      <p:sp>
        <p:nvSpPr>
          <p:cNvPr id="265" name="Textplatzhalter 2">
            <a:extLst>
              <a:ext uri="{FF2B5EF4-FFF2-40B4-BE49-F238E27FC236}">
                <a16:creationId xmlns:a16="http://schemas.microsoft.com/office/drawing/2014/main" xmlns="" id="{47001E68-4287-4496-961B-F2C05BA83A40}"/>
              </a:ext>
            </a:extLst>
          </p:cNvPr>
          <p:cNvSpPr>
            <a:spLocks noGrp="1"/>
          </p:cNvSpPr>
          <p:nvPr>
            <p:custDataLst>
              <p:tags r:id="rId134"/>
            </p:custDataLst>
          </p:nvPr>
        </p:nvSpPr>
        <p:spPr bwMode="gray">
          <a:xfrm>
            <a:off x="1585913" y="3825875"/>
            <a:ext cx="179388"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1016843F-9A2A-4D0E-9E4D-609D3A5D10EE}" type="datetime'''''''''''''O''''''''''''''''''''''''S'">
              <a:rPr lang="de-DE" altLang="en-US" sz="800" smtClean="0">
                <a:latin typeface="Gotham Light" pitchFamily="50" charset="0"/>
                <a:cs typeface="Gotham Light" pitchFamily="50" charset="0"/>
                <a:sym typeface="Gotham Light" pitchFamily="50" charset="0"/>
              </a:rPr>
              <a:pPr lvl="1">
                <a:spcBef>
                  <a:spcPct val="0"/>
                </a:spcBef>
                <a:spcAft>
                  <a:spcPct val="0"/>
                </a:spcAft>
              </a:pPr>
              <a:t>OS</a:t>
            </a:fld>
            <a:endParaRPr lang="de-DE" sz="800" dirty="0">
              <a:latin typeface="Gotham Light" pitchFamily="50" charset="0"/>
              <a:cs typeface="Gotham Light" pitchFamily="50" charset="0"/>
              <a:sym typeface="Gotham Light" pitchFamily="50" charset="0"/>
            </a:endParaRPr>
          </a:p>
        </p:txBody>
      </p:sp>
      <p:sp>
        <p:nvSpPr>
          <p:cNvPr id="266" name="Textplatzhalter 2">
            <a:extLst>
              <a:ext uri="{FF2B5EF4-FFF2-40B4-BE49-F238E27FC236}">
                <a16:creationId xmlns:a16="http://schemas.microsoft.com/office/drawing/2014/main" xmlns="" id="{BE9CBD53-2812-442D-A46B-16E0B2A76F1D}"/>
              </a:ext>
            </a:extLst>
          </p:cNvPr>
          <p:cNvSpPr>
            <a:spLocks noGrp="1"/>
          </p:cNvSpPr>
          <p:nvPr>
            <p:custDataLst>
              <p:tags r:id="rId135"/>
            </p:custDataLst>
          </p:nvPr>
        </p:nvSpPr>
        <p:spPr bwMode="gray">
          <a:xfrm>
            <a:off x="760413" y="4192588"/>
            <a:ext cx="122238"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9D3F452F-B535-4CB7-B3BD-32FCE5F5279B}" type="datetime'''''''''''''''''''''''''''''S''''I'''">
              <a:rPr lang="de-DE" altLang="en-US" sz="800" smtClean="0">
                <a:latin typeface="Gotham Light" pitchFamily="50" charset="0"/>
                <a:cs typeface="Gotham Light" pitchFamily="50" charset="0"/>
                <a:sym typeface="Gotham Light" pitchFamily="50" charset="0"/>
              </a:rPr>
              <a:pPr lvl="1">
                <a:spcBef>
                  <a:spcPct val="0"/>
                </a:spcBef>
                <a:spcAft>
                  <a:spcPct val="0"/>
                </a:spcAft>
              </a:pPr>
              <a:t>SI</a:t>
            </a:fld>
            <a:endParaRPr lang="de-DE" sz="800" dirty="0">
              <a:latin typeface="Gotham Light" pitchFamily="50" charset="0"/>
              <a:cs typeface="Gotham Light" pitchFamily="50" charset="0"/>
              <a:sym typeface="Gotham Light" pitchFamily="50" charset="0"/>
            </a:endParaRPr>
          </a:p>
        </p:txBody>
      </p:sp>
      <p:sp>
        <p:nvSpPr>
          <p:cNvPr id="267" name="Textplatzhalter 2">
            <a:extLst>
              <a:ext uri="{FF2B5EF4-FFF2-40B4-BE49-F238E27FC236}">
                <a16:creationId xmlns:a16="http://schemas.microsoft.com/office/drawing/2014/main" xmlns="" id="{1F9FBDAC-AB06-4814-9AF1-45CB1230A813}"/>
              </a:ext>
            </a:extLst>
          </p:cNvPr>
          <p:cNvSpPr>
            <a:spLocks noGrp="1"/>
          </p:cNvSpPr>
          <p:nvPr>
            <p:custDataLst>
              <p:tags r:id="rId136"/>
            </p:custDataLst>
          </p:nvPr>
        </p:nvSpPr>
        <p:spPr bwMode="gray">
          <a:xfrm>
            <a:off x="2701925" y="4238625"/>
            <a:ext cx="166688"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6029FA0B-D020-4E62-9124-C2D2F201BB06}" type="datetime'''''''''''B''''''''''S'''''''''">
              <a:rPr lang="de-DE" altLang="en-US" sz="800" smtClean="0">
                <a:latin typeface="Gotham Light" pitchFamily="50" charset="0"/>
                <a:cs typeface="Gotham Light" pitchFamily="50" charset="0"/>
                <a:sym typeface="Gotham Light" pitchFamily="50" charset="0"/>
              </a:rPr>
              <a:pPr lvl="1">
                <a:spcBef>
                  <a:spcPct val="0"/>
                </a:spcBef>
                <a:spcAft>
                  <a:spcPct val="0"/>
                </a:spcAft>
              </a:pPr>
              <a:t>BS</a:t>
            </a:fld>
            <a:endParaRPr lang="de-DE" sz="800" dirty="0">
              <a:latin typeface="Gotham Light" pitchFamily="50" charset="0"/>
              <a:cs typeface="Gotham Light" pitchFamily="50" charset="0"/>
              <a:sym typeface="Gotham Light" pitchFamily="50" charset="0"/>
            </a:endParaRPr>
          </a:p>
        </p:txBody>
      </p:sp>
      <p:sp>
        <p:nvSpPr>
          <p:cNvPr id="199" name="Textplatzhalter 2"/>
          <p:cNvSpPr>
            <a:spLocks noGrp="1"/>
          </p:cNvSpPr>
          <p:nvPr>
            <p:custDataLst>
              <p:tags r:id="rId137"/>
            </p:custDataLst>
          </p:nvPr>
        </p:nvSpPr>
        <p:spPr bwMode="gray">
          <a:xfrm>
            <a:off x="1554163" y="4106863"/>
            <a:ext cx="1730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640B0D22-2F56-47F7-9CFC-6864EF50FF90}" type="datetime'''''''''''''''''''''''''''''''''''''''SG'''''">
              <a:rPr lang="de-DE" altLang="en-US" sz="800" smtClean="0">
                <a:latin typeface="Gotham Light" pitchFamily="50" charset="0"/>
                <a:cs typeface="Gotham Light" pitchFamily="50" charset="0"/>
                <a:sym typeface="Gotham Light" pitchFamily="50" charset="0"/>
              </a:rPr>
              <a:pPr lvl="1">
                <a:spcBef>
                  <a:spcPct val="0"/>
                </a:spcBef>
                <a:spcAft>
                  <a:spcPct val="0"/>
                </a:spcAft>
              </a:pPr>
              <a:t>SG</a:t>
            </a:fld>
            <a:endParaRPr lang="de-DE" sz="800" dirty="0">
              <a:latin typeface="Gotham Light" pitchFamily="50" charset="0"/>
              <a:cs typeface="Gotham Light" pitchFamily="50" charset="0"/>
              <a:sym typeface="Gotham Light" pitchFamily="50" charset="0"/>
            </a:endParaRPr>
          </a:p>
        </p:txBody>
      </p:sp>
      <p:sp>
        <p:nvSpPr>
          <p:cNvPr id="268" name="Textplatzhalter 2">
            <a:extLst>
              <a:ext uri="{FF2B5EF4-FFF2-40B4-BE49-F238E27FC236}">
                <a16:creationId xmlns:a16="http://schemas.microsoft.com/office/drawing/2014/main" xmlns="" id="{0A0B2C10-7BB8-4FEB-833E-5E06CE23CE50}"/>
              </a:ext>
            </a:extLst>
          </p:cNvPr>
          <p:cNvSpPr>
            <a:spLocks noGrp="1"/>
          </p:cNvSpPr>
          <p:nvPr>
            <p:custDataLst>
              <p:tags r:id="rId138"/>
            </p:custDataLst>
          </p:nvPr>
        </p:nvSpPr>
        <p:spPr bwMode="gray">
          <a:xfrm>
            <a:off x="1905000" y="4049713"/>
            <a:ext cx="96838"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BBA50968-D435-45E7-9D67-17C5FA3DDED9}" type="datetime'''''P'''''''''''''''''''''''''''''''''''''''''''''''''">
              <a:rPr lang="de-DE" altLang="en-US" sz="800" smtClean="0">
                <a:latin typeface="Gotham Light" pitchFamily="50" charset="0"/>
                <a:cs typeface="Gotham Light" pitchFamily="50" charset="0"/>
                <a:sym typeface="Gotham Light" pitchFamily="50" charset="0"/>
              </a:rPr>
              <a:pPr lvl="1">
                <a:spcBef>
                  <a:spcPct val="0"/>
                </a:spcBef>
                <a:spcAft>
                  <a:spcPct val="0"/>
                </a:spcAft>
              </a:pPr>
              <a:t>P</a:t>
            </a:fld>
            <a:endParaRPr lang="de-DE" sz="800" dirty="0">
              <a:latin typeface="Gotham Light" pitchFamily="50" charset="0"/>
              <a:cs typeface="Gotham Light" pitchFamily="50" charset="0"/>
              <a:sym typeface="Gotham Light" pitchFamily="50" charset="0"/>
            </a:endParaRPr>
          </a:p>
        </p:txBody>
      </p:sp>
      <p:sp>
        <p:nvSpPr>
          <p:cNvPr id="239" name="Textplatzhalter 2"/>
          <p:cNvSpPr>
            <a:spLocks noGrp="1"/>
          </p:cNvSpPr>
          <p:nvPr>
            <p:custDataLst>
              <p:tags r:id="rId139"/>
            </p:custDataLst>
          </p:nvPr>
        </p:nvSpPr>
        <p:spPr bwMode="gray">
          <a:xfrm>
            <a:off x="760413" y="3740150"/>
            <a:ext cx="1666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22D8992F-E380-4C05-90C3-5806A7E8F6EB}" type="datetime'''''TR'''''''">
              <a:rPr lang="de-DE" altLang="en-US" sz="800" smtClean="0">
                <a:latin typeface="Gotham Light" pitchFamily="50" charset="0"/>
                <a:cs typeface="Gotham Light" pitchFamily="50" charset="0"/>
                <a:sym typeface="Gotham Light" pitchFamily="50" charset="0"/>
              </a:rPr>
              <a:pPr lvl="1">
                <a:spcBef>
                  <a:spcPct val="0"/>
                </a:spcBef>
                <a:spcAft>
                  <a:spcPct val="0"/>
                </a:spcAft>
              </a:pPr>
              <a:t>TR</a:t>
            </a:fld>
            <a:endParaRPr lang="de-DE" sz="800" dirty="0">
              <a:latin typeface="Gotham Light" pitchFamily="50" charset="0"/>
              <a:cs typeface="Gotham Light" pitchFamily="50" charset="0"/>
              <a:sym typeface="Gotham Light" pitchFamily="50" charset="0"/>
            </a:endParaRPr>
          </a:p>
        </p:txBody>
      </p:sp>
      <p:sp>
        <p:nvSpPr>
          <p:cNvPr id="240" name="Textplatzhalter 2"/>
          <p:cNvSpPr>
            <a:spLocks noGrp="1"/>
          </p:cNvSpPr>
          <p:nvPr>
            <p:custDataLst>
              <p:tags r:id="rId140"/>
            </p:custDataLst>
          </p:nvPr>
        </p:nvSpPr>
        <p:spPr bwMode="gray">
          <a:xfrm>
            <a:off x="5443538" y="3381375"/>
            <a:ext cx="18732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8251E8F2-4FC0-4FAB-ADA1-C916ABEBCB2D}" type="datetime'''''''''D''''''''''''D'''''''''''''''''''''''''''">
              <a:rPr lang="de-DE" altLang="en-US" sz="800" smtClean="0">
                <a:latin typeface="Gotham Light" pitchFamily="50" charset="0"/>
                <a:cs typeface="Gotham Light" pitchFamily="50" charset="0"/>
                <a:sym typeface="Gotham Light" pitchFamily="50" charset="0"/>
              </a:rPr>
              <a:pPr lvl="1">
                <a:spcBef>
                  <a:spcPct val="0"/>
                </a:spcBef>
                <a:spcAft>
                  <a:spcPct val="0"/>
                </a:spcAft>
              </a:pPr>
              <a:t>DD</a:t>
            </a:fld>
            <a:endParaRPr lang="de-DE" sz="800" dirty="0">
              <a:latin typeface="Gotham Light" pitchFamily="50" charset="0"/>
              <a:cs typeface="Gotham Light" pitchFamily="50" charset="0"/>
              <a:sym typeface="Gotham Light" pitchFamily="50" charset="0"/>
            </a:endParaRPr>
          </a:p>
        </p:txBody>
      </p:sp>
      <p:sp>
        <p:nvSpPr>
          <p:cNvPr id="241" name="Textplatzhalter 2"/>
          <p:cNvSpPr>
            <a:spLocks noGrp="1"/>
          </p:cNvSpPr>
          <p:nvPr>
            <p:custDataLst>
              <p:tags r:id="rId141"/>
            </p:custDataLst>
          </p:nvPr>
        </p:nvSpPr>
        <p:spPr bwMode="gray">
          <a:xfrm>
            <a:off x="1143000" y="3851275"/>
            <a:ext cx="16986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98B3BD18-354E-4FE9-BA0C-2A2D07754268}" type="datetime'''''''''''''''''''''''''''U''''''''''''''''''''''''''L'''''">
              <a:rPr lang="de-DE" altLang="en-US" sz="800" smtClean="0">
                <a:latin typeface="Gotham Light" pitchFamily="50" charset="0"/>
                <a:cs typeface="Gotham Light" pitchFamily="50" charset="0"/>
                <a:sym typeface="Gotham Light" pitchFamily="50" charset="0"/>
              </a:rPr>
              <a:pPr lvl="1">
                <a:spcBef>
                  <a:spcPct val="0"/>
                </a:spcBef>
                <a:spcAft>
                  <a:spcPct val="0"/>
                </a:spcAft>
              </a:pPr>
              <a:t>UL</a:t>
            </a:fld>
            <a:endParaRPr lang="de-DE" sz="800" dirty="0">
              <a:latin typeface="Gotham Light" pitchFamily="50" charset="0"/>
              <a:cs typeface="Gotham Light" pitchFamily="50" charset="0"/>
              <a:sym typeface="Gotham Light" pitchFamily="50" charset="0"/>
            </a:endParaRPr>
          </a:p>
        </p:txBody>
      </p:sp>
      <p:sp>
        <p:nvSpPr>
          <p:cNvPr id="186" name="Textplatzhalter 2">
            <a:extLst>
              <a:ext uri="{FF2B5EF4-FFF2-40B4-BE49-F238E27FC236}">
                <a16:creationId xmlns:a16="http://schemas.microsoft.com/office/drawing/2014/main" xmlns="" id="{F8784DAF-6E5E-42A2-ACFD-28E604255091}"/>
              </a:ext>
            </a:extLst>
          </p:cNvPr>
          <p:cNvSpPr>
            <a:spLocks noGrp="1"/>
          </p:cNvSpPr>
          <p:nvPr>
            <p:custDataLst>
              <p:tags r:id="rId142"/>
            </p:custDataLst>
          </p:nvPr>
        </p:nvSpPr>
        <p:spPr bwMode="gray">
          <a:xfrm>
            <a:off x="8413750" y="3292475"/>
            <a:ext cx="101600"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562BC904-8997-49D5-9F5C-05CA0C05FCE8}" type="datetime'''''''''''''''''''''''''''''''''''''''''''''''B'''''">
              <a:rPr lang="de-DE" altLang="en-US" sz="800" smtClean="0">
                <a:latin typeface="Gotham Light" pitchFamily="50" charset="0"/>
                <a:cs typeface="Gotham Light" pitchFamily="50" charset="0"/>
                <a:sym typeface="Gotham Light" pitchFamily="50" charset="0"/>
              </a:rPr>
              <a:pPr lvl="1">
                <a:spcBef>
                  <a:spcPct val="0"/>
                </a:spcBef>
                <a:spcAft>
                  <a:spcPct val="0"/>
                </a:spcAft>
              </a:pPr>
              <a:t>B</a:t>
            </a:fld>
            <a:endParaRPr lang="de-DE" sz="800" dirty="0">
              <a:latin typeface="Gotham Light" pitchFamily="50" charset="0"/>
              <a:cs typeface="Gotham Light" pitchFamily="50" charset="0"/>
              <a:sym typeface="Gotham Light" pitchFamily="50" charset="0"/>
            </a:endParaRPr>
          </a:p>
        </p:txBody>
      </p:sp>
      <p:sp>
        <p:nvSpPr>
          <p:cNvPr id="219" name="Textplatzhalter 2"/>
          <p:cNvSpPr>
            <a:spLocks noGrp="1"/>
          </p:cNvSpPr>
          <p:nvPr>
            <p:custDataLst>
              <p:tags r:id="rId143"/>
            </p:custDataLst>
          </p:nvPr>
        </p:nvSpPr>
        <p:spPr bwMode="gray">
          <a:xfrm>
            <a:off x="2101850" y="2012950"/>
            <a:ext cx="3889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855CE994-67E6-47DA-AF45-5A4749FCED22}" type="datetime'CH_''''''''''''''''G''''''''''E'''''''''">
              <a:rPr lang="de-DE" altLang="en-US" sz="800" smtClean="0">
                <a:latin typeface="Gotham Light" pitchFamily="50" charset="0"/>
                <a:cs typeface="Gotham Light" pitchFamily="50" charset="0"/>
                <a:sym typeface="Gotham Light" pitchFamily="50" charset="0"/>
              </a:rPr>
              <a:pPr lvl="1">
                <a:spcBef>
                  <a:spcPct val="0"/>
                </a:spcBef>
                <a:spcAft>
                  <a:spcPct val="0"/>
                </a:spcAft>
              </a:pPr>
              <a:t>CH_GE</a:t>
            </a:fld>
            <a:endParaRPr lang="de-DE" sz="800" dirty="0">
              <a:latin typeface="Gotham Light" pitchFamily="50" charset="0"/>
              <a:cs typeface="Gotham Light" pitchFamily="50" charset="0"/>
              <a:sym typeface="Gotham Light" pitchFamily="50" charset="0"/>
            </a:endParaRPr>
          </a:p>
        </p:txBody>
      </p:sp>
      <p:sp>
        <p:nvSpPr>
          <p:cNvPr id="188" name="Textplatzhalter 2">
            <a:extLst>
              <a:ext uri="{FF2B5EF4-FFF2-40B4-BE49-F238E27FC236}">
                <a16:creationId xmlns:a16="http://schemas.microsoft.com/office/drawing/2014/main" xmlns="" id="{BC2FB9E1-4F86-4021-B6E1-C84FDA2BC60B}"/>
              </a:ext>
            </a:extLst>
          </p:cNvPr>
          <p:cNvSpPr>
            <a:spLocks noGrp="1"/>
          </p:cNvSpPr>
          <p:nvPr>
            <p:custDataLst>
              <p:tags r:id="rId144"/>
            </p:custDataLst>
          </p:nvPr>
        </p:nvSpPr>
        <p:spPr bwMode="gray">
          <a:xfrm>
            <a:off x="2254250" y="3644900"/>
            <a:ext cx="187325"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CA6178EC-5AE0-42F0-BB08-4ED853FE551D}" type="datetime'''''''''''''M''''''''''''''''''''''''''Z'''''''''''''''''''''">
              <a:rPr lang="de-DE" altLang="en-US" sz="800" smtClean="0">
                <a:latin typeface="Gotham Light" pitchFamily="50" charset="0"/>
                <a:cs typeface="Gotham Light" pitchFamily="50" charset="0"/>
                <a:sym typeface="Gotham Light" pitchFamily="50" charset="0"/>
              </a:rPr>
              <a:pPr lvl="1">
                <a:spcBef>
                  <a:spcPct val="0"/>
                </a:spcBef>
                <a:spcAft>
                  <a:spcPct val="0"/>
                </a:spcAft>
              </a:pPr>
              <a:t>MZ</a:t>
            </a:fld>
            <a:endParaRPr lang="de-DE" sz="800" dirty="0">
              <a:latin typeface="Gotham Light" pitchFamily="50" charset="0"/>
              <a:cs typeface="Gotham Light" pitchFamily="50" charset="0"/>
              <a:sym typeface="Gotham Light" pitchFamily="50" charset="0"/>
            </a:endParaRPr>
          </a:p>
        </p:txBody>
      </p:sp>
      <p:sp>
        <p:nvSpPr>
          <p:cNvPr id="229" name="Textplatzhalter 2"/>
          <p:cNvSpPr>
            <a:spLocks noGrp="1"/>
          </p:cNvSpPr>
          <p:nvPr>
            <p:custDataLst>
              <p:tags r:id="rId145"/>
            </p:custDataLst>
          </p:nvPr>
        </p:nvSpPr>
        <p:spPr bwMode="gray">
          <a:xfrm>
            <a:off x="1339850" y="3581400"/>
            <a:ext cx="18891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BCA77244-C4B5-4ECD-92AB-AC5C16FFA4E5}" type="datetime'''''''D''''''''''''''''''''''A'''''''''''''''''''''''''">
              <a:rPr lang="de-DE" altLang="en-US" sz="800" smtClean="0">
                <a:latin typeface="Gotham Light" pitchFamily="50" charset="0"/>
                <a:cs typeface="Gotham Light" pitchFamily="50" charset="0"/>
                <a:sym typeface="Gotham Light" pitchFamily="50" charset="0"/>
              </a:rPr>
              <a:pPr lvl="1">
                <a:spcBef>
                  <a:spcPct val="0"/>
                </a:spcBef>
                <a:spcAft>
                  <a:spcPct val="0"/>
                </a:spcAft>
              </a:pPr>
              <a:t>DA</a:t>
            </a:fld>
            <a:endParaRPr lang="de-DE" sz="800" dirty="0">
              <a:latin typeface="Gotham Light" pitchFamily="50" charset="0"/>
              <a:cs typeface="Gotham Light" pitchFamily="50" charset="0"/>
              <a:sym typeface="Gotham Light" pitchFamily="50" charset="0"/>
            </a:endParaRPr>
          </a:p>
        </p:txBody>
      </p:sp>
      <p:sp>
        <p:nvSpPr>
          <p:cNvPr id="207" name="Textplatzhalter 2"/>
          <p:cNvSpPr>
            <a:spLocks noGrp="1"/>
          </p:cNvSpPr>
          <p:nvPr>
            <p:custDataLst>
              <p:tags r:id="rId146"/>
            </p:custDataLst>
          </p:nvPr>
        </p:nvSpPr>
        <p:spPr bwMode="gray">
          <a:xfrm>
            <a:off x="5940425" y="4027488"/>
            <a:ext cx="19367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B8C1F6C9-0B7E-4867-A1A9-4ACD14A0DEF7}" type="datetime'''''''''''''''''''''''''''''''''''''DO'''''''''''">
              <a:rPr lang="de-DE" altLang="en-US" sz="800" smtClean="0">
                <a:latin typeface="Gotham Light" pitchFamily="50" charset="0"/>
                <a:cs typeface="Gotham Light" pitchFamily="50" charset="0"/>
                <a:sym typeface="Gotham Light" pitchFamily="50" charset="0"/>
              </a:rPr>
              <a:pPr lvl="1">
                <a:spcBef>
                  <a:spcPct val="0"/>
                </a:spcBef>
                <a:spcAft>
                  <a:spcPct val="0"/>
                </a:spcAft>
              </a:pPr>
              <a:t>DO</a:t>
            </a:fld>
            <a:endParaRPr lang="de-DE" sz="800" dirty="0">
              <a:latin typeface="Gotham Light" pitchFamily="50" charset="0"/>
              <a:cs typeface="Gotham Light" pitchFamily="50" charset="0"/>
              <a:sym typeface="Gotham Light" pitchFamily="50" charset="0"/>
            </a:endParaRPr>
          </a:p>
        </p:txBody>
      </p:sp>
      <p:sp>
        <p:nvSpPr>
          <p:cNvPr id="214" name="Textplatzhalter 2"/>
          <p:cNvSpPr>
            <a:spLocks noGrp="1"/>
          </p:cNvSpPr>
          <p:nvPr>
            <p:custDataLst>
              <p:tags r:id="rId147"/>
            </p:custDataLst>
          </p:nvPr>
        </p:nvSpPr>
        <p:spPr bwMode="gray">
          <a:xfrm>
            <a:off x="2878138" y="4132263"/>
            <a:ext cx="17621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E27C761B-5430-4D7D-8973-2F6ED14E6146}" type="datetime'''''''''''''''''''''''''''''''''''''''G''''''''''''''''E'''">
              <a:rPr lang="de-DE" altLang="en-US" sz="800" smtClean="0">
                <a:latin typeface="Gotham Light" pitchFamily="50" charset="0"/>
                <a:cs typeface="Gotham Light" pitchFamily="50" charset="0"/>
                <a:sym typeface="Gotham Light" pitchFamily="50" charset="0"/>
              </a:rPr>
              <a:pPr lvl="1">
                <a:spcBef>
                  <a:spcPct val="0"/>
                </a:spcBef>
                <a:spcAft>
                  <a:spcPct val="0"/>
                </a:spcAft>
              </a:pPr>
              <a:t>GE</a:t>
            </a:fld>
            <a:endParaRPr lang="de-DE" sz="800" dirty="0">
              <a:latin typeface="Gotham Light" pitchFamily="50" charset="0"/>
              <a:cs typeface="Gotham Light" pitchFamily="50" charset="0"/>
              <a:sym typeface="Gotham Light" pitchFamily="50" charset="0"/>
            </a:endParaRPr>
          </a:p>
        </p:txBody>
      </p:sp>
      <p:sp>
        <p:nvSpPr>
          <p:cNvPr id="183" name="Textplatzhalter 2">
            <a:extLst>
              <a:ext uri="{FF2B5EF4-FFF2-40B4-BE49-F238E27FC236}">
                <a16:creationId xmlns:a16="http://schemas.microsoft.com/office/drawing/2014/main" xmlns="" id="{E7593BC1-B60C-4306-B794-7AA9D1EF9573}"/>
              </a:ext>
            </a:extLst>
          </p:cNvPr>
          <p:cNvSpPr>
            <a:spLocks noGrp="1"/>
          </p:cNvSpPr>
          <p:nvPr>
            <p:custDataLst>
              <p:tags r:id="rId148"/>
            </p:custDataLst>
          </p:nvPr>
        </p:nvSpPr>
        <p:spPr bwMode="gray">
          <a:xfrm>
            <a:off x="4178300" y="4067175"/>
            <a:ext cx="1873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0903B559-7004-4C94-AD12-778B45FE6176}" type="datetime'''''''''''''''''''''''''''''''''''''''''''''BO'''''''''''''">
              <a:rPr lang="de-DE" altLang="en-US" sz="800" smtClean="0">
                <a:latin typeface="Gotham Light" pitchFamily="50" charset="0"/>
                <a:cs typeface="Gotham Light" pitchFamily="50" charset="0"/>
                <a:sym typeface="Gotham Light" pitchFamily="50" charset="0"/>
              </a:rPr>
              <a:pPr lvl="1">
                <a:spcBef>
                  <a:spcPct val="0"/>
                </a:spcBef>
                <a:spcAft>
                  <a:spcPct val="0"/>
                </a:spcAft>
              </a:pPr>
              <a:t>BO</a:t>
            </a:fld>
            <a:endParaRPr lang="de-DE" sz="800" dirty="0">
              <a:latin typeface="Gotham Light" pitchFamily="50" charset="0"/>
              <a:cs typeface="Gotham Light" pitchFamily="50" charset="0"/>
              <a:sym typeface="Gotham Light" pitchFamily="50" charset="0"/>
            </a:endParaRPr>
          </a:p>
        </p:txBody>
      </p:sp>
      <p:sp>
        <p:nvSpPr>
          <p:cNvPr id="238" name="Textplatzhalter 2"/>
          <p:cNvSpPr>
            <a:spLocks noGrp="1"/>
          </p:cNvSpPr>
          <p:nvPr>
            <p:custDataLst>
              <p:tags r:id="rId149"/>
            </p:custDataLst>
          </p:nvPr>
        </p:nvSpPr>
        <p:spPr bwMode="gray">
          <a:xfrm>
            <a:off x="1135063" y="3606800"/>
            <a:ext cx="1730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9A18B534-69CF-4002-940E-1C406C677ECF}" type="datetime'''''''F''''''''''''''''''''''Ü'''''''''''''''''''''''''''''">
              <a:rPr lang="de-DE" altLang="en-US" sz="800" smtClean="0">
                <a:latin typeface="Gotham Light" pitchFamily="50" charset="0"/>
                <a:cs typeface="Gotham Light" pitchFamily="50" charset="0"/>
                <a:sym typeface="Gotham Light" pitchFamily="50" charset="0"/>
              </a:rPr>
              <a:pPr lvl="1">
                <a:spcBef>
                  <a:spcPct val="0"/>
                </a:spcBef>
                <a:spcAft>
                  <a:spcPct val="0"/>
                </a:spcAft>
              </a:pPr>
              <a:t>FÜ</a:t>
            </a:fld>
            <a:endParaRPr lang="de-DE" sz="800" dirty="0">
              <a:latin typeface="Gotham Light" pitchFamily="50" charset="0"/>
              <a:cs typeface="Gotham Light" pitchFamily="50" charset="0"/>
              <a:sym typeface="Gotham Light" pitchFamily="50" charset="0"/>
            </a:endParaRPr>
          </a:p>
        </p:txBody>
      </p:sp>
      <p:sp>
        <p:nvSpPr>
          <p:cNvPr id="237" name="Textplatzhalter 2"/>
          <p:cNvSpPr>
            <a:spLocks noGrp="1"/>
          </p:cNvSpPr>
          <p:nvPr>
            <p:custDataLst>
              <p:tags r:id="rId150"/>
            </p:custDataLst>
          </p:nvPr>
        </p:nvSpPr>
        <p:spPr bwMode="gray">
          <a:xfrm>
            <a:off x="823913" y="4445000"/>
            <a:ext cx="3000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BC89EF70-75C6-4E21-9560-B17C9C24A150}" type="datetime'''''''''''''''''''W''''''''''''''''''''''OB'''''''">
              <a:rPr lang="de-DE" altLang="en-US" sz="800" smtClean="0">
                <a:latin typeface="Gotham Light" pitchFamily="50" charset="0"/>
                <a:cs typeface="Gotham Light" pitchFamily="50" charset="0"/>
                <a:sym typeface="Gotham Light" pitchFamily="50" charset="0"/>
              </a:rPr>
              <a:pPr lvl="1">
                <a:spcBef>
                  <a:spcPct val="0"/>
                </a:spcBef>
                <a:spcAft>
                  <a:spcPct val="0"/>
                </a:spcAft>
              </a:pPr>
              <a:t>WOB</a:t>
            </a:fld>
            <a:endParaRPr lang="de-DE" sz="800" dirty="0">
              <a:latin typeface="Gotham Light" pitchFamily="50" charset="0"/>
              <a:cs typeface="Gotham Light" pitchFamily="50" charset="0"/>
              <a:sym typeface="Gotham Light" pitchFamily="50" charset="0"/>
            </a:endParaRPr>
          </a:p>
        </p:txBody>
      </p:sp>
      <p:sp>
        <p:nvSpPr>
          <p:cNvPr id="253" name="Textplatzhalter 2"/>
          <p:cNvSpPr>
            <a:spLocks noGrp="1"/>
          </p:cNvSpPr>
          <p:nvPr>
            <p:custDataLst>
              <p:tags r:id="rId151"/>
            </p:custDataLst>
          </p:nvPr>
        </p:nvSpPr>
        <p:spPr bwMode="gray">
          <a:xfrm>
            <a:off x="1008063" y="3484563"/>
            <a:ext cx="21907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C4995D59-57D4-49A2-9B9E-D09DC142A4DE}" type="datetime'''''''''''''''''''''''''''''''''''''''''''WÜ'''''''''''''">
              <a:rPr lang="de-DE" altLang="en-US" sz="800" smtClean="0">
                <a:latin typeface="Gotham Light" pitchFamily="50" charset="0"/>
                <a:cs typeface="Gotham Light" pitchFamily="50" charset="0"/>
                <a:sym typeface="Gotham Light" pitchFamily="50" charset="0"/>
              </a:rPr>
              <a:pPr lvl="1">
                <a:spcBef>
                  <a:spcPct val="0"/>
                </a:spcBef>
                <a:spcAft>
                  <a:spcPct val="0"/>
                </a:spcAft>
              </a:pPr>
              <a:t>WÜ</a:t>
            </a:fld>
            <a:endParaRPr lang="de-DE" sz="800" dirty="0">
              <a:latin typeface="Gotham Light" pitchFamily="50" charset="0"/>
              <a:cs typeface="Gotham Light" pitchFamily="50" charset="0"/>
              <a:sym typeface="Gotham Light" pitchFamily="50" charset="0"/>
            </a:endParaRPr>
          </a:p>
        </p:txBody>
      </p:sp>
      <p:sp>
        <p:nvSpPr>
          <p:cNvPr id="236" name="Textplatzhalter 2"/>
          <p:cNvSpPr>
            <a:spLocks noGrp="1"/>
          </p:cNvSpPr>
          <p:nvPr>
            <p:custDataLst>
              <p:tags r:id="rId152"/>
            </p:custDataLst>
          </p:nvPr>
        </p:nvSpPr>
        <p:spPr bwMode="gray">
          <a:xfrm>
            <a:off x="1295400" y="4503738"/>
            <a:ext cx="16986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191228ED-4D4C-449B-ADA5-4A595711F446}" type="datetime'''P''''''''''''''''B'''''''''''''''">
              <a:rPr lang="de-DE" altLang="en-US" sz="800" smtClean="0">
                <a:latin typeface="Gotham Light" pitchFamily="50" charset="0"/>
                <a:cs typeface="Gotham Light" pitchFamily="50" charset="0"/>
                <a:sym typeface="Gotham Light" pitchFamily="50" charset="0"/>
              </a:rPr>
              <a:pPr lvl="1">
                <a:spcBef>
                  <a:spcPct val="0"/>
                </a:spcBef>
                <a:spcAft>
                  <a:spcPct val="0"/>
                </a:spcAft>
              </a:pPr>
              <a:t>PB</a:t>
            </a:fld>
            <a:endParaRPr lang="de-DE" sz="800" dirty="0">
              <a:latin typeface="Gotham Light" pitchFamily="50" charset="0"/>
              <a:cs typeface="Gotham Light" pitchFamily="50" charset="0"/>
              <a:sym typeface="Gotham Light" pitchFamily="50" charset="0"/>
            </a:endParaRPr>
          </a:p>
        </p:txBody>
      </p:sp>
      <p:sp>
        <p:nvSpPr>
          <p:cNvPr id="252" name="Textplatzhalter 2"/>
          <p:cNvSpPr>
            <a:spLocks noGrp="1"/>
          </p:cNvSpPr>
          <p:nvPr>
            <p:custDataLst>
              <p:tags r:id="rId153"/>
            </p:custDataLst>
          </p:nvPr>
        </p:nvSpPr>
        <p:spPr bwMode="gray">
          <a:xfrm>
            <a:off x="7519988" y="3765550"/>
            <a:ext cx="1841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77840EC3-9544-4207-A39B-00658D95C25D}" type="datetime'''''''''''''''''''''''''''''''''H''''''''H'">
              <a:rPr lang="de-DE" altLang="en-US" sz="800">
                <a:latin typeface="Gotham Light"/>
                <a:cs typeface="Gotham Light"/>
                <a:sym typeface="Gotham Light"/>
              </a:rPr>
              <a:pPr/>
              <a:t>HH</a:t>
            </a:fld>
            <a:endParaRPr lang="de-DE" sz="800" dirty="0">
              <a:latin typeface="Gotham Light"/>
              <a:cs typeface="Gotham Light"/>
              <a:sym typeface="Gotham Light"/>
            </a:endParaRPr>
          </a:p>
        </p:txBody>
      </p:sp>
      <p:sp>
        <p:nvSpPr>
          <p:cNvPr id="235" name="Textplatzhalter 2"/>
          <p:cNvSpPr>
            <a:spLocks noGrp="1"/>
          </p:cNvSpPr>
          <p:nvPr>
            <p:custDataLst>
              <p:tags r:id="rId154"/>
            </p:custDataLst>
          </p:nvPr>
        </p:nvSpPr>
        <p:spPr bwMode="gray">
          <a:xfrm>
            <a:off x="6183313" y="3533775"/>
            <a:ext cx="1079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0BD27218-0BA6-481C-A268-28782C24DB77}" type="datetime'''''''''''''''''''''''D'''''">
              <a:rPr lang="de-DE" altLang="en-US" sz="800" smtClean="0">
                <a:latin typeface="Gotham Light" pitchFamily="50" charset="0"/>
                <a:cs typeface="Gotham Light" pitchFamily="50" charset="0"/>
                <a:sym typeface="Gotham Light" pitchFamily="50" charset="0"/>
              </a:rPr>
              <a:pPr lvl="1">
                <a:spcBef>
                  <a:spcPct val="0"/>
                </a:spcBef>
                <a:spcAft>
                  <a:spcPct val="0"/>
                </a:spcAft>
              </a:pPr>
              <a:t>D</a:t>
            </a:fld>
            <a:endParaRPr lang="de-DE" sz="800" dirty="0">
              <a:latin typeface="Gotham Light" pitchFamily="50" charset="0"/>
              <a:cs typeface="Gotham Light" pitchFamily="50" charset="0"/>
              <a:sym typeface="Gotham Light" pitchFamily="50" charset="0"/>
            </a:endParaRPr>
          </a:p>
        </p:txBody>
      </p:sp>
      <p:sp>
        <p:nvSpPr>
          <p:cNvPr id="251" name="Textplatzhalter 2"/>
          <p:cNvSpPr>
            <a:spLocks noGrp="1"/>
          </p:cNvSpPr>
          <p:nvPr>
            <p:custDataLst>
              <p:tags r:id="rId155"/>
            </p:custDataLst>
          </p:nvPr>
        </p:nvSpPr>
        <p:spPr bwMode="gray">
          <a:xfrm>
            <a:off x="1466850" y="3703638"/>
            <a:ext cx="2365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694A15B-0137-410A-AF49-4B0A8C611F51}" type="datetime'''L''''''''''''''''''E''''''''''''''''''''''''''''''''V'''">
              <a:rPr lang="de-DE" altLang="en-US" sz="800" smtClean="0">
                <a:latin typeface="Gotham Light" pitchFamily="50" charset="0"/>
                <a:cs typeface="Gotham Light" pitchFamily="50" charset="0"/>
                <a:sym typeface="Gotham Light" pitchFamily="50" charset="0"/>
              </a:rPr>
              <a:pPr lvl="1">
                <a:spcBef>
                  <a:spcPct val="0"/>
                </a:spcBef>
                <a:spcAft>
                  <a:spcPct val="0"/>
                </a:spcAft>
              </a:pPr>
              <a:t>LEV</a:t>
            </a:fld>
            <a:endParaRPr lang="de-DE" sz="800" dirty="0">
              <a:latin typeface="Gotham Light" pitchFamily="50" charset="0"/>
              <a:cs typeface="Gotham Light" pitchFamily="50" charset="0"/>
              <a:sym typeface="Gotham Light" pitchFamily="50" charset="0"/>
            </a:endParaRPr>
          </a:p>
        </p:txBody>
      </p:sp>
      <p:sp>
        <p:nvSpPr>
          <p:cNvPr id="216" name="Textplatzhalter 2"/>
          <p:cNvSpPr>
            <a:spLocks noGrp="1"/>
          </p:cNvSpPr>
          <p:nvPr>
            <p:custDataLst>
              <p:tags r:id="rId156"/>
            </p:custDataLst>
          </p:nvPr>
        </p:nvSpPr>
        <p:spPr bwMode="gray">
          <a:xfrm>
            <a:off x="4551363" y="4344988"/>
            <a:ext cx="1857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CE5355AF-ACF7-472C-9430-1C724C7AF736}" type="datetime'''''''''D''''''''''''''''''''U'''''''''''''">
              <a:rPr lang="de-DE" altLang="en-US" sz="800" smtClean="0">
                <a:latin typeface="Gotham Light" pitchFamily="50" charset="0"/>
                <a:cs typeface="Gotham Light" pitchFamily="50" charset="0"/>
                <a:sym typeface="Gotham Light" pitchFamily="50" charset="0"/>
              </a:rPr>
              <a:pPr lvl="1">
                <a:spcBef>
                  <a:spcPct val="0"/>
                </a:spcBef>
                <a:spcAft>
                  <a:spcPct val="0"/>
                </a:spcAft>
              </a:pPr>
              <a:t>DU</a:t>
            </a:fld>
            <a:endParaRPr lang="de-DE" sz="800" dirty="0">
              <a:latin typeface="Gotham Light" pitchFamily="50" charset="0"/>
              <a:cs typeface="Gotham Light" pitchFamily="50" charset="0"/>
              <a:sym typeface="Gotham Light" pitchFamily="50" charset="0"/>
            </a:endParaRPr>
          </a:p>
        </p:txBody>
      </p:sp>
      <p:sp>
        <p:nvSpPr>
          <p:cNvPr id="224" name="Textplatzhalter 2"/>
          <p:cNvSpPr>
            <a:spLocks noGrp="1"/>
          </p:cNvSpPr>
          <p:nvPr>
            <p:custDataLst>
              <p:tags r:id="rId157"/>
            </p:custDataLst>
          </p:nvPr>
        </p:nvSpPr>
        <p:spPr bwMode="gray">
          <a:xfrm>
            <a:off x="7373938" y="3194050"/>
            <a:ext cx="11747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36ECBF70-CE04-4D4F-AA6A-92EBECBF67CC}" type="datetime'''''''''''''M'''''''''''''''''''">
              <a:rPr lang="de-DE" altLang="en-US" sz="800" smtClean="0">
                <a:latin typeface="Gotham Light" pitchFamily="50" charset="0"/>
                <a:cs typeface="Gotham Light" pitchFamily="50" charset="0"/>
                <a:sym typeface="Gotham Light" pitchFamily="50" charset="0"/>
              </a:rPr>
              <a:pPr lvl="1">
                <a:spcBef>
                  <a:spcPct val="0"/>
                </a:spcBef>
                <a:spcAft>
                  <a:spcPct val="0"/>
                </a:spcAft>
              </a:pPr>
              <a:t>M</a:t>
            </a:fld>
            <a:endParaRPr lang="de-DE" sz="800" dirty="0">
              <a:latin typeface="Gotham Light" pitchFamily="50" charset="0"/>
              <a:cs typeface="Gotham Light" pitchFamily="50" charset="0"/>
              <a:sym typeface="Gotham Light" pitchFamily="50" charset="0"/>
            </a:endParaRPr>
          </a:p>
        </p:txBody>
      </p:sp>
      <p:sp>
        <p:nvSpPr>
          <p:cNvPr id="250" name="Textplatzhalter 2"/>
          <p:cNvSpPr>
            <a:spLocks noGrp="1"/>
          </p:cNvSpPr>
          <p:nvPr>
            <p:custDataLst>
              <p:tags r:id="rId158"/>
            </p:custDataLst>
          </p:nvPr>
        </p:nvSpPr>
        <p:spPr bwMode="gray">
          <a:xfrm>
            <a:off x="1906588" y="3670300"/>
            <a:ext cx="18732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821445DA-14BB-462C-98D1-051146FA2E6F}" type="datetime'''''''''''''''''''''''''H''''''''''A'''''">
              <a:rPr lang="de-DE" altLang="en-US" sz="800" smtClean="0">
                <a:latin typeface="Gotham Light" pitchFamily="50" charset="0"/>
                <a:cs typeface="Gotham Light" pitchFamily="50" charset="0"/>
                <a:sym typeface="Gotham Light" pitchFamily="50" charset="0"/>
              </a:rPr>
              <a:pPr lvl="1">
                <a:spcBef>
                  <a:spcPct val="0"/>
                </a:spcBef>
                <a:spcAft>
                  <a:spcPct val="0"/>
                </a:spcAft>
              </a:pPr>
              <a:t>HA</a:t>
            </a:fld>
            <a:endParaRPr lang="de-DE" sz="800" dirty="0">
              <a:latin typeface="Gotham Light" pitchFamily="50" charset="0"/>
              <a:cs typeface="Gotham Light" pitchFamily="50" charset="0"/>
              <a:sym typeface="Gotham Light" pitchFamily="50" charset="0"/>
            </a:endParaRPr>
          </a:p>
        </p:txBody>
      </p:sp>
      <p:sp>
        <p:nvSpPr>
          <p:cNvPr id="244" name="Textplatzhalter 2"/>
          <p:cNvSpPr>
            <a:spLocks noGrp="1"/>
          </p:cNvSpPr>
          <p:nvPr>
            <p:custDataLst>
              <p:tags r:id="rId159"/>
            </p:custDataLst>
          </p:nvPr>
        </p:nvSpPr>
        <p:spPr bwMode="gray">
          <a:xfrm>
            <a:off x="1566863" y="3330575"/>
            <a:ext cx="1857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CE5EDF9C-568C-452B-87A2-536C89533BF7}" type="datetime'''''''''''''''''''''''''HD'''''''''''''''''''''''''''''''''''">
              <a:rPr lang="de-DE" altLang="en-US" sz="800" smtClean="0">
                <a:latin typeface="Gotham Light" pitchFamily="50" charset="0"/>
                <a:cs typeface="Gotham Light" pitchFamily="50" charset="0"/>
                <a:sym typeface="Gotham Light" pitchFamily="50" charset="0"/>
              </a:rPr>
              <a:pPr lvl="1">
                <a:spcBef>
                  <a:spcPct val="0"/>
                </a:spcBef>
                <a:spcAft>
                  <a:spcPct val="0"/>
                </a:spcAft>
              </a:pPr>
              <a:t>HD</a:t>
            </a:fld>
            <a:endParaRPr lang="de-DE" sz="800" dirty="0">
              <a:latin typeface="Gotham Light" pitchFamily="50" charset="0"/>
              <a:cs typeface="Gotham Light" pitchFamily="50" charset="0"/>
              <a:sym typeface="Gotham Light" pitchFamily="50" charset="0"/>
            </a:endParaRPr>
          </a:p>
        </p:txBody>
      </p:sp>
      <p:sp>
        <p:nvSpPr>
          <p:cNvPr id="242" name="Textplatzhalter 2"/>
          <p:cNvSpPr>
            <a:spLocks noGrp="1"/>
          </p:cNvSpPr>
          <p:nvPr>
            <p:custDataLst>
              <p:tags r:id="rId160"/>
            </p:custDataLst>
          </p:nvPr>
        </p:nvSpPr>
        <p:spPr bwMode="gray">
          <a:xfrm>
            <a:off x="5684838" y="4178300"/>
            <a:ext cx="1793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BCD80B9-2273-4680-8AA9-ACFD698BC253}" type="datetime'H''''''''''''''''''''''''''''''B'''''">
              <a:rPr lang="de-DE" altLang="en-US" sz="800" smtClean="0">
                <a:latin typeface="Gotham Light" pitchFamily="50" charset="0"/>
                <a:cs typeface="Gotham Light" pitchFamily="50" charset="0"/>
                <a:sym typeface="Gotham Light" pitchFamily="50" charset="0"/>
              </a:rPr>
              <a:pPr lvl="1">
                <a:spcBef>
                  <a:spcPct val="0"/>
                </a:spcBef>
                <a:spcAft>
                  <a:spcPct val="0"/>
                </a:spcAft>
              </a:pPr>
              <a:t>HB</a:t>
            </a:fld>
            <a:endParaRPr lang="de-DE" sz="800" dirty="0">
              <a:latin typeface="Gotham Light" pitchFamily="50" charset="0"/>
              <a:cs typeface="Gotham Light" pitchFamily="50" charset="0"/>
              <a:sym typeface="Gotham Light" pitchFamily="50" charset="0"/>
            </a:endParaRPr>
          </a:p>
        </p:txBody>
      </p:sp>
      <p:sp>
        <p:nvSpPr>
          <p:cNvPr id="243" name="Textplatzhalter 2"/>
          <p:cNvSpPr>
            <a:spLocks noGrp="1"/>
          </p:cNvSpPr>
          <p:nvPr>
            <p:custDataLst>
              <p:tags r:id="rId161"/>
            </p:custDataLst>
          </p:nvPr>
        </p:nvSpPr>
        <p:spPr bwMode="gray">
          <a:xfrm>
            <a:off x="2070100" y="3794125"/>
            <a:ext cx="1666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E3F4ECE1-CDBF-4B87-A058-3AB7BC2344B9}" type="datetime'''''''''''''''''''''''''''''''''''''K''''''S'''">
              <a:rPr lang="de-DE" altLang="en-US" sz="800" smtClean="0">
                <a:latin typeface="Gotham Light" pitchFamily="50" charset="0"/>
                <a:cs typeface="Gotham Light" pitchFamily="50" charset="0"/>
                <a:sym typeface="Gotham Light" pitchFamily="50" charset="0"/>
              </a:rPr>
              <a:pPr lvl="1">
                <a:spcBef>
                  <a:spcPct val="0"/>
                </a:spcBef>
                <a:spcAft>
                  <a:spcPct val="0"/>
                </a:spcAft>
              </a:pPr>
              <a:t>KS</a:t>
            </a:fld>
            <a:endParaRPr lang="de-DE" sz="800" dirty="0">
              <a:latin typeface="Gotham Light" pitchFamily="50" charset="0"/>
              <a:cs typeface="Gotham Light" pitchFamily="50" charset="0"/>
              <a:sym typeface="Gotham Light" pitchFamily="50" charset="0"/>
            </a:endParaRPr>
          </a:p>
        </p:txBody>
      </p:sp>
      <p:sp>
        <p:nvSpPr>
          <p:cNvPr id="255" name="Textplatzhalter 2"/>
          <p:cNvSpPr>
            <a:spLocks noGrp="1"/>
          </p:cNvSpPr>
          <p:nvPr>
            <p:custDataLst>
              <p:tags r:id="rId162"/>
            </p:custDataLst>
          </p:nvPr>
        </p:nvSpPr>
        <p:spPr bwMode="gray">
          <a:xfrm>
            <a:off x="3770313" y="4195763"/>
            <a:ext cx="13017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BCC08B5B-E721-4C0D-9D32-D7911ECE3D10}" type="datetime'''BI'''''''''''''''''''''''''''''''''''''''''''''''''''''''''">
              <a:rPr lang="de-DE" altLang="en-US" sz="800" smtClean="0">
                <a:latin typeface="Gotham Light" pitchFamily="50" charset="0"/>
                <a:cs typeface="Gotham Light" pitchFamily="50" charset="0"/>
                <a:sym typeface="Gotham Light" pitchFamily="50" charset="0"/>
              </a:rPr>
              <a:pPr lvl="1">
                <a:spcBef>
                  <a:spcPct val="0"/>
                </a:spcBef>
                <a:spcAft>
                  <a:spcPct val="0"/>
                </a:spcAft>
              </a:pPr>
              <a:t>BI</a:t>
            </a:fld>
            <a:endParaRPr lang="de-DE" sz="800" dirty="0">
              <a:latin typeface="Gotham Light" pitchFamily="50" charset="0"/>
              <a:cs typeface="Gotham Light" pitchFamily="50" charset="0"/>
              <a:sym typeface="Gotham Light" pitchFamily="50" charset="0"/>
            </a:endParaRPr>
          </a:p>
        </p:txBody>
      </p:sp>
      <p:sp>
        <p:nvSpPr>
          <p:cNvPr id="198" name="Textplatzhalter 2"/>
          <p:cNvSpPr>
            <a:spLocks noGrp="1"/>
          </p:cNvSpPr>
          <p:nvPr>
            <p:custDataLst>
              <p:tags r:id="rId163"/>
            </p:custDataLst>
          </p:nvPr>
        </p:nvSpPr>
        <p:spPr bwMode="gray">
          <a:xfrm>
            <a:off x="1820863" y="4249738"/>
            <a:ext cx="26511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EFA26DEB-9C3E-445F-9F1A-F33B17F6761D}" type="datetime'''''''''''''''''''''''''''''''''''''''''H''R''O'''''''''''''">
              <a:rPr lang="de-DE" altLang="en-US" sz="800" smtClean="0">
                <a:latin typeface="Gotham Light" pitchFamily="50" charset="0"/>
                <a:cs typeface="Gotham Light" pitchFamily="50" charset="0"/>
                <a:sym typeface="Gotham Light" pitchFamily="50" charset="0"/>
              </a:rPr>
              <a:pPr lvl="1">
                <a:spcBef>
                  <a:spcPct val="0"/>
                </a:spcBef>
                <a:spcAft>
                  <a:spcPct val="0"/>
                </a:spcAft>
              </a:pPr>
              <a:t>HRO</a:t>
            </a:fld>
            <a:endParaRPr lang="de-DE" sz="800" dirty="0">
              <a:latin typeface="Gotham Light" pitchFamily="50" charset="0"/>
              <a:cs typeface="Gotham Light" pitchFamily="50" charset="0"/>
              <a:sym typeface="Gotham Light" pitchFamily="50" charset="0"/>
            </a:endParaRPr>
          </a:p>
        </p:txBody>
      </p:sp>
      <p:sp>
        <p:nvSpPr>
          <p:cNvPr id="245" name="Textplatzhalter 2"/>
          <p:cNvSpPr>
            <a:spLocks noGrp="1"/>
          </p:cNvSpPr>
          <p:nvPr>
            <p:custDataLst>
              <p:tags r:id="rId164"/>
            </p:custDataLst>
          </p:nvPr>
        </p:nvSpPr>
        <p:spPr bwMode="gray">
          <a:xfrm>
            <a:off x="4997450" y="3662363"/>
            <a:ext cx="1095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B4AC9C3-4F21-46C8-B57E-E2BB327B1E8E}" type="datetime'''''''''N'''''''''''''''''''''''''''''''''''''''''''''''''''">
              <a:rPr lang="de-DE" altLang="en-US" sz="800" smtClean="0">
                <a:latin typeface="Gotham Light" pitchFamily="50" charset="0"/>
                <a:cs typeface="Gotham Light" pitchFamily="50" charset="0"/>
                <a:sym typeface="Gotham Light" pitchFamily="50" charset="0"/>
              </a:rPr>
              <a:pPr lvl="1">
                <a:spcBef>
                  <a:spcPct val="0"/>
                </a:spcBef>
                <a:spcAft>
                  <a:spcPct val="0"/>
                </a:spcAft>
              </a:pPr>
              <a:t>N</a:t>
            </a:fld>
            <a:endParaRPr lang="de-DE" sz="800" dirty="0">
              <a:latin typeface="Gotham Light" pitchFamily="50" charset="0"/>
              <a:cs typeface="Gotham Light" pitchFamily="50" charset="0"/>
              <a:sym typeface="Gotham Light" pitchFamily="50" charset="0"/>
            </a:endParaRPr>
          </a:p>
        </p:txBody>
      </p:sp>
      <p:sp>
        <p:nvSpPr>
          <p:cNvPr id="246" name="Textplatzhalter 2"/>
          <p:cNvSpPr>
            <a:spLocks noGrp="1"/>
          </p:cNvSpPr>
          <p:nvPr>
            <p:custDataLst>
              <p:tags r:id="rId165"/>
            </p:custDataLst>
          </p:nvPr>
        </p:nvSpPr>
        <p:spPr bwMode="gray">
          <a:xfrm>
            <a:off x="1820863" y="4543425"/>
            <a:ext cx="27622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AD830EC-2D69-4634-9DF0-F23C5228D3B6}" type="datetime'''''''''H''A''''''''''''''''''''''''''''''''''''''''M'''''">
              <a:rPr lang="de-DE" altLang="en-US" sz="800" smtClean="0">
                <a:latin typeface="Gotham Light" pitchFamily="50" charset="0"/>
                <a:cs typeface="Gotham Light" pitchFamily="50" charset="0"/>
                <a:sym typeface="Gotham Light" pitchFamily="50" charset="0"/>
              </a:rPr>
              <a:pPr lvl="1">
                <a:spcBef>
                  <a:spcPct val="0"/>
                </a:spcBef>
                <a:spcAft>
                  <a:spcPct val="0"/>
                </a:spcAft>
              </a:pPr>
              <a:t>HAM</a:t>
            </a:fld>
            <a:endParaRPr lang="de-DE" sz="800" dirty="0">
              <a:latin typeface="Gotham Light" pitchFamily="50" charset="0"/>
              <a:cs typeface="Gotham Light" pitchFamily="50" charset="0"/>
              <a:sym typeface="Gotham Light" pitchFamily="50" charset="0"/>
            </a:endParaRPr>
          </a:p>
        </p:txBody>
      </p:sp>
      <p:sp>
        <p:nvSpPr>
          <p:cNvPr id="189" name="Textplatzhalter 2">
            <a:extLst>
              <a:ext uri="{FF2B5EF4-FFF2-40B4-BE49-F238E27FC236}">
                <a16:creationId xmlns:a16="http://schemas.microsoft.com/office/drawing/2014/main" xmlns="" id="{A6CAE040-2F81-4F34-8BB8-D3310934B02F}"/>
              </a:ext>
            </a:extLst>
          </p:cNvPr>
          <p:cNvSpPr>
            <a:spLocks noGrp="1"/>
          </p:cNvSpPr>
          <p:nvPr>
            <p:custDataLst>
              <p:tags r:id="rId166"/>
            </p:custDataLst>
          </p:nvPr>
        </p:nvSpPr>
        <p:spPr bwMode="gray">
          <a:xfrm>
            <a:off x="2292350" y="4254500"/>
            <a:ext cx="169863"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18DD439A-7127-42CE-AB6B-D31897B52094}" type="datetime'''''''''''''''''''''''''''''''''''H''L'''''''''''''''''''''">
              <a:rPr lang="de-DE" altLang="en-US" sz="800" smtClean="0">
                <a:latin typeface="Gotham Light" pitchFamily="50" charset="0"/>
                <a:cs typeface="Gotham Light" pitchFamily="50" charset="0"/>
                <a:sym typeface="Gotham Light" pitchFamily="50" charset="0"/>
              </a:rPr>
              <a:pPr lvl="1">
                <a:spcBef>
                  <a:spcPct val="0"/>
                </a:spcBef>
                <a:spcAft>
                  <a:spcPct val="0"/>
                </a:spcAft>
              </a:pPr>
              <a:t>HL</a:t>
            </a:fld>
            <a:endParaRPr lang="de-DE" sz="800" dirty="0">
              <a:latin typeface="Gotham Light" pitchFamily="50" charset="0"/>
              <a:cs typeface="Gotham Light" pitchFamily="50" charset="0"/>
              <a:sym typeface="Gotham Light" pitchFamily="50" charset="0"/>
            </a:endParaRPr>
          </a:p>
        </p:txBody>
      </p:sp>
      <p:sp>
        <p:nvSpPr>
          <p:cNvPr id="247" name="Textplatzhalter 2"/>
          <p:cNvSpPr>
            <a:spLocks noGrp="1"/>
          </p:cNvSpPr>
          <p:nvPr>
            <p:custDataLst>
              <p:tags r:id="rId167"/>
            </p:custDataLst>
          </p:nvPr>
        </p:nvSpPr>
        <p:spPr bwMode="gray">
          <a:xfrm>
            <a:off x="3630613" y="3128963"/>
            <a:ext cx="182563"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00437064-B9E6-456D-B6B9-D5A0C7254A1A}" type="datetime'''''''''''''''''''''''''''''''''''B''''''N'''''''''''''''">
              <a:rPr lang="de-DE" altLang="en-US" sz="800" smtClean="0">
                <a:latin typeface="Gotham Light" pitchFamily="50" charset="0"/>
                <a:cs typeface="Gotham Light" pitchFamily="50" charset="0"/>
                <a:sym typeface="Gotham Light" pitchFamily="50" charset="0"/>
              </a:rPr>
              <a:pPr lvl="1">
                <a:spcBef>
                  <a:spcPct val="0"/>
                </a:spcBef>
                <a:spcAft>
                  <a:spcPct val="0"/>
                </a:spcAft>
              </a:pPr>
              <a:t>BN</a:t>
            </a:fld>
            <a:endParaRPr lang="de-DE" sz="800" dirty="0">
              <a:latin typeface="Gotham Light" pitchFamily="50" charset="0"/>
              <a:cs typeface="Gotham Light" pitchFamily="50" charset="0"/>
              <a:sym typeface="Gotham Light" pitchFamily="50" charset="0"/>
            </a:endParaRPr>
          </a:p>
        </p:txBody>
      </p:sp>
      <p:sp>
        <p:nvSpPr>
          <p:cNvPr id="208" name="Textplatzhalter 2"/>
          <p:cNvSpPr>
            <a:spLocks noGrp="1"/>
          </p:cNvSpPr>
          <p:nvPr>
            <p:custDataLst>
              <p:tags r:id="rId168"/>
            </p:custDataLst>
          </p:nvPr>
        </p:nvSpPr>
        <p:spPr bwMode="gray">
          <a:xfrm>
            <a:off x="7642225" y="2771775"/>
            <a:ext cx="3111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6957C86-A406-469D-942E-E238BF276BD4}" type="datetime'''''''''A''''''''''''''T''''''''''''''''''''''''''_V'''''''">
              <a:rPr lang="de-DE" altLang="en-US" sz="800" smtClean="0">
                <a:latin typeface="Gotham Light" pitchFamily="50" charset="0"/>
                <a:cs typeface="Gotham Light" pitchFamily="50" charset="0"/>
                <a:sym typeface="Gotham Light" pitchFamily="50" charset="0"/>
              </a:rPr>
              <a:pPr lvl="1">
                <a:spcBef>
                  <a:spcPct val="0"/>
                </a:spcBef>
                <a:spcAft>
                  <a:spcPct val="0"/>
                </a:spcAft>
              </a:pPr>
              <a:t>AT_V</a:t>
            </a:fld>
            <a:endParaRPr lang="de-DE" sz="800" dirty="0">
              <a:latin typeface="Gotham Light" pitchFamily="50" charset="0"/>
              <a:cs typeface="Gotham Light" pitchFamily="50" charset="0"/>
              <a:sym typeface="Gotham Light" pitchFamily="50" charset="0"/>
            </a:endParaRPr>
          </a:p>
        </p:txBody>
      </p:sp>
      <p:sp>
        <p:nvSpPr>
          <p:cNvPr id="204" name="Textplatzhalter 2">
            <a:extLst>
              <a:ext uri="{FF2B5EF4-FFF2-40B4-BE49-F238E27FC236}">
                <a16:creationId xmlns:a16="http://schemas.microsoft.com/office/drawing/2014/main" xmlns="" id="{8ABF2A52-7F87-4BA6-BA16-D7C03DA81F50}"/>
              </a:ext>
            </a:extLst>
          </p:cNvPr>
          <p:cNvSpPr>
            <a:spLocks noGrp="1"/>
          </p:cNvSpPr>
          <p:nvPr>
            <p:custDataLst>
              <p:tags r:id="rId169"/>
            </p:custDataLst>
          </p:nvPr>
        </p:nvSpPr>
        <p:spPr bwMode="gray">
          <a:xfrm>
            <a:off x="2433638" y="3952875"/>
            <a:ext cx="250825" cy="12223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D6251E4F-F5FF-40E6-8201-60F11C17BBB3}" type="datetime'''''''''H''''''''''''''A''''''''''''''L'''''''''''''''''''">
              <a:rPr lang="de-DE" altLang="en-US" sz="800" smtClean="0">
                <a:latin typeface="Gotham Light" pitchFamily="50" charset="0"/>
                <a:cs typeface="Gotham Light" pitchFamily="50" charset="0"/>
                <a:sym typeface="Gotham Light" pitchFamily="50" charset="0"/>
              </a:rPr>
              <a:pPr lvl="1">
                <a:spcBef>
                  <a:spcPct val="0"/>
                </a:spcBef>
                <a:spcAft>
                  <a:spcPct val="0"/>
                </a:spcAft>
              </a:pPr>
              <a:t>HAL</a:t>
            </a:fld>
            <a:endParaRPr lang="de-DE" sz="800" dirty="0">
              <a:latin typeface="Gotham Light" pitchFamily="50" charset="0"/>
              <a:cs typeface="Gotham Light" pitchFamily="50" charset="0"/>
              <a:sym typeface="Gotham Light" pitchFamily="50" charset="0"/>
            </a:endParaRPr>
          </a:p>
        </p:txBody>
      </p:sp>
      <p:sp>
        <p:nvSpPr>
          <p:cNvPr id="2" name="Titel 1"/>
          <p:cNvSpPr>
            <a:spLocks noGrp="1"/>
          </p:cNvSpPr>
          <p:nvPr>
            <p:ph type="title"/>
          </p:nvPr>
        </p:nvSpPr>
        <p:spPr/>
        <p:txBody>
          <a:bodyPr/>
          <a:lstStyle/>
          <a:p>
            <a:r>
              <a:rPr lang="de-DE" dirty="0"/>
              <a:t>Die Angebotsdichte in Bezug auf die Siedlungsfläche ist in Wien und den Schweizer Vergleichsstädten deutlich höher</a:t>
            </a:r>
          </a:p>
        </p:txBody>
      </p:sp>
      <p:sp>
        <p:nvSpPr>
          <p:cNvPr id="3" name="Inhaltsplatzhalter 2"/>
          <p:cNvSpPr>
            <a:spLocks noGrp="1"/>
          </p:cNvSpPr>
          <p:nvPr>
            <p:ph idx="1"/>
          </p:nvPr>
        </p:nvSpPr>
        <p:spPr/>
        <p:txBody>
          <a:bodyPr/>
          <a:lstStyle/>
          <a:p>
            <a:r>
              <a:rPr lang="de-DE" dirty="0"/>
              <a:t>Angebotsdichte</a:t>
            </a:r>
          </a:p>
        </p:txBody>
      </p:sp>
      <p:sp>
        <p:nvSpPr>
          <p:cNvPr id="116" name="Rectangle 7"/>
          <p:cNvSpPr>
            <a:spLocks noChangeArrowheads="1"/>
          </p:cNvSpPr>
          <p:nvPr/>
        </p:nvSpPr>
        <p:spPr bwMode="auto">
          <a:xfrm rot="16200000">
            <a:off x="-827266" y="3327860"/>
            <a:ext cx="2387192" cy="215444"/>
          </a:xfrm>
          <a:prstGeom prst="rect">
            <a:avLst/>
          </a:prstGeom>
          <a:noFill/>
          <a:ln w="9525">
            <a:noFill/>
            <a:miter lim="800000"/>
            <a:headEnd/>
            <a:tailEnd/>
          </a:ln>
          <a:effectLst/>
        </p:spPr>
        <p:txBody>
          <a:bodyPr wrap="none" anchor="ctr">
            <a:spAutoFit/>
          </a:bodyPr>
          <a:lstStyle/>
          <a:p>
            <a:pPr marL="190500" lvl="2" indent="-187325" algn="ctr">
              <a:spcBef>
                <a:spcPct val="40000"/>
              </a:spcBef>
              <a:buClr>
                <a:srgbClr val="868889"/>
              </a:buClr>
              <a:buSzPct val="90000"/>
              <a:buFont typeface="Wingdings 2" pitchFamily="18" charset="2"/>
              <a:buNone/>
            </a:pPr>
            <a:r>
              <a:rPr lang="de-DE" sz="800" dirty="0">
                <a:solidFill>
                  <a:prstClr val="black"/>
                </a:solidFill>
                <a:latin typeface="Gotham Medium" pitchFamily="50" charset="0"/>
                <a:cs typeface="Gotham Medium" pitchFamily="50" charset="0"/>
              </a:rPr>
              <a:t>HALTESTELLENABFAHRTEN PRO HA SUV</a:t>
            </a:r>
          </a:p>
        </p:txBody>
      </p:sp>
      <p:cxnSp>
        <p:nvCxnSpPr>
          <p:cNvPr id="293" name="Gerade Verbindung 292"/>
          <p:cNvCxnSpPr/>
          <p:nvPr>
            <p:custDataLst>
              <p:tags r:id="rId170"/>
            </p:custDataLst>
          </p:nvPr>
        </p:nvCxnSpPr>
        <p:spPr>
          <a:xfrm>
            <a:off x="555463" y="5959893"/>
            <a:ext cx="8193001" cy="0"/>
          </a:xfrm>
          <a:prstGeom prst="line">
            <a:avLst/>
          </a:prstGeom>
          <a:ln w="9525"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294" name="Textfeld 293"/>
          <p:cNvSpPr txBox="1"/>
          <p:nvPr>
            <p:custDataLst>
              <p:tags r:id="rId171"/>
            </p:custDataLst>
          </p:nvPr>
        </p:nvSpPr>
        <p:spPr>
          <a:xfrm>
            <a:off x="467544" y="5972365"/>
            <a:ext cx="8584219" cy="276999"/>
          </a:xfrm>
          <a:prstGeom prst="rect">
            <a:avLst/>
          </a:prstGeom>
          <a:noFill/>
        </p:spPr>
        <p:txBody>
          <a:bodyPr wrap="square" rtlCol="0">
            <a:spAutoFit/>
          </a:bodyPr>
          <a:lstStyle/>
          <a:p>
            <a:pPr marL="0" lvl="1"/>
            <a:r>
              <a:rPr lang="de-DE" sz="600" dirty="0">
                <a:solidFill>
                  <a:schemeClr val="accent5"/>
                </a:solidFill>
                <a:latin typeface="Gotham Medium" pitchFamily="50" charset="0"/>
                <a:cs typeface="Gotham Medium" pitchFamily="50" charset="0"/>
              </a:rPr>
              <a:t>Quelle: Haltestellenabfahrten (civity 2019, opentransportdata.swiss 2019, Wiener Linien 2019), Einwohner (Destatis 2017, BfS Schweiz 2017, Statistik Austria 2018) , Fläche (Destatis 2017, BfS Schweiz 2017, Statistik Austria 2018), vgl. </a:t>
            </a:r>
            <a:r>
              <a:rPr lang="de-DE" sz="600" b="1" dirty="0" err="1">
                <a:solidFill>
                  <a:schemeClr val="accent6"/>
                </a:solidFill>
                <a:latin typeface="Gotham Medium" pitchFamily="50" charset="0"/>
                <a:cs typeface="Gotham Medium" pitchFamily="50" charset="0"/>
              </a:rPr>
              <a:t>civity</a:t>
            </a:r>
            <a:r>
              <a:rPr lang="de-DE" sz="600" b="1" dirty="0">
                <a:solidFill>
                  <a:schemeClr val="accent6"/>
                </a:solidFill>
                <a:latin typeface="Gotham Medium" pitchFamily="50" charset="0"/>
                <a:cs typeface="Gotham Medium" pitchFamily="50" charset="0"/>
              </a:rPr>
              <a:t> ÖPNV-Report 2019</a:t>
            </a:r>
          </a:p>
        </p:txBody>
      </p:sp>
      <p:grpSp>
        <p:nvGrpSpPr>
          <p:cNvPr id="215" name="Gruppieren 214"/>
          <p:cNvGrpSpPr/>
          <p:nvPr/>
        </p:nvGrpSpPr>
        <p:grpSpPr>
          <a:xfrm>
            <a:off x="2892412" y="5790978"/>
            <a:ext cx="3335772" cy="184666"/>
            <a:chOff x="5293054" y="5821232"/>
            <a:chExt cx="3335772" cy="184666"/>
          </a:xfrm>
        </p:grpSpPr>
        <p:sp>
          <p:nvSpPr>
            <p:cNvPr id="220" name="Rectangle 12"/>
            <p:cNvSpPr>
              <a:spLocks noChangeArrowheads="1"/>
            </p:cNvSpPr>
            <p:nvPr/>
          </p:nvSpPr>
          <p:spPr bwMode="auto">
            <a:xfrm>
              <a:off x="5293054" y="5821232"/>
              <a:ext cx="1051890" cy="184666"/>
            </a:xfrm>
            <a:prstGeom prst="rect">
              <a:avLst/>
            </a:prstGeom>
            <a:noFill/>
            <a:ln w="9525">
              <a:noFill/>
              <a:miter lim="800000"/>
              <a:headEnd/>
              <a:tailEnd/>
            </a:ln>
            <a:effectLst/>
          </p:spPr>
          <p:txBody>
            <a:bodyPr wrap="none" anchor="ctr">
              <a:spAutoFit/>
            </a:bodyPr>
            <a:lstStyle/>
            <a:p>
              <a:pPr marL="190500" lvl="2" indent="-187325" algn="ctr">
                <a:spcBef>
                  <a:spcPct val="40000"/>
                </a:spcBef>
                <a:buClr>
                  <a:srgbClr val="868889"/>
                </a:buClr>
                <a:buSzPct val="90000"/>
                <a:buFont typeface="Wingdings 2" pitchFamily="18" charset="2"/>
                <a:buNone/>
              </a:pPr>
              <a:r>
                <a:rPr lang="de-DE" sz="600" dirty="0">
                  <a:solidFill>
                    <a:prstClr val="black"/>
                  </a:solidFill>
                  <a:latin typeface="Gotham Medium" pitchFamily="50" charset="0"/>
                  <a:cs typeface="Gotham Medium" pitchFamily="50" charset="0"/>
                </a:rPr>
                <a:t>EINWOHNER IN 1.000</a:t>
              </a:r>
            </a:p>
          </p:txBody>
        </p:sp>
        <p:sp>
          <p:nvSpPr>
            <p:cNvPr id="221" name="Ellipse 220"/>
            <p:cNvSpPr/>
            <p:nvPr/>
          </p:nvSpPr>
          <p:spPr>
            <a:xfrm>
              <a:off x="6347029" y="5884991"/>
              <a:ext cx="57151" cy="571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600" dirty="0">
                <a:solidFill>
                  <a:schemeClr val="tx1"/>
                </a:solidFill>
              </a:endParaRPr>
            </a:p>
          </p:txBody>
        </p:sp>
        <p:sp>
          <p:nvSpPr>
            <p:cNvPr id="256" name="Rectangle 12"/>
            <p:cNvSpPr>
              <a:spLocks noChangeArrowheads="1"/>
            </p:cNvSpPr>
            <p:nvPr/>
          </p:nvSpPr>
          <p:spPr bwMode="auto">
            <a:xfrm>
              <a:off x="6356486" y="5821232"/>
              <a:ext cx="500458" cy="184666"/>
            </a:xfrm>
            <a:prstGeom prst="rect">
              <a:avLst/>
            </a:prstGeom>
            <a:noFill/>
            <a:ln w="9525">
              <a:noFill/>
              <a:miter lim="800000"/>
              <a:headEnd/>
              <a:tailEnd/>
            </a:ln>
            <a:effectLst/>
          </p:spPr>
          <p:txBody>
            <a:bodyPr wrap="none" anchor="ctr">
              <a:spAutoFit/>
            </a:bodyPr>
            <a:lstStyle/>
            <a:p>
              <a:pPr marL="190500" lvl="2" indent="-187325">
                <a:spcBef>
                  <a:spcPct val="40000"/>
                </a:spcBef>
                <a:buClr>
                  <a:srgbClr val="868889"/>
                </a:buClr>
                <a:buSzPct val="90000"/>
                <a:buFont typeface="Wingdings 2" pitchFamily="18" charset="2"/>
                <a:buNone/>
              </a:pPr>
              <a:r>
                <a:rPr lang="de-DE" sz="600" dirty="0">
                  <a:solidFill>
                    <a:prstClr val="black"/>
                  </a:solidFill>
                  <a:latin typeface="Gotham Light" pitchFamily="50" charset="0"/>
                  <a:cs typeface="Gotham Light" pitchFamily="50" charset="0"/>
                </a:rPr>
                <a:t>120-250</a:t>
              </a:r>
            </a:p>
          </p:txBody>
        </p:sp>
        <p:sp>
          <p:nvSpPr>
            <p:cNvPr id="257" name="Ellipse 256"/>
            <p:cNvSpPr/>
            <p:nvPr/>
          </p:nvSpPr>
          <p:spPr>
            <a:xfrm>
              <a:off x="6921008" y="5884991"/>
              <a:ext cx="57151" cy="57151"/>
            </a:xfrm>
            <a:prstGeom prst="ellipse">
              <a:avLst/>
            </a:prstGeom>
            <a:solidFill>
              <a:srgbClr val="4C6C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600" dirty="0">
                <a:solidFill>
                  <a:schemeClr val="tx1"/>
                </a:solidFill>
              </a:endParaRPr>
            </a:p>
          </p:txBody>
        </p:sp>
        <p:sp>
          <p:nvSpPr>
            <p:cNvPr id="258" name="Rectangle 12"/>
            <p:cNvSpPr>
              <a:spLocks noChangeArrowheads="1"/>
            </p:cNvSpPr>
            <p:nvPr/>
          </p:nvSpPr>
          <p:spPr bwMode="auto">
            <a:xfrm>
              <a:off x="6930465" y="5821232"/>
              <a:ext cx="521297" cy="184666"/>
            </a:xfrm>
            <a:prstGeom prst="rect">
              <a:avLst/>
            </a:prstGeom>
            <a:noFill/>
            <a:ln w="9525">
              <a:noFill/>
              <a:miter lim="800000"/>
              <a:headEnd/>
              <a:tailEnd/>
            </a:ln>
            <a:effectLst/>
          </p:spPr>
          <p:txBody>
            <a:bodyPr wrap="none" anchor="ctr">
              <a:spAutoFit/>
            </a:bodyPr>
            <a:lstStyle/>
            <a:p>
              <a:pPr marL="190500" lvl="2" indent="-187325">
                <a:spcBef>
                  <a:spcPct val="40000"/>
                </a:spcBef>
                <a:buClr>
                  <a:srgbClr val="868889"/>
                </a:buClr>
                <a:buSzPct val="90000"/>
                <a:buFont typeface="Wingdings 2" pitchFamily="18" charset="2"/>
                <a:buNone/>
              </a:pPr>
              <a:r>
                <a:rPr lang="de-DE" sz="600" dirty="0">
                  <a:solidFill>
                    <a:prstClr val="black"/>
                  </a:solidFill>
                  <a:latin typeface="Gotham Light" pitchFamily="50" charset="0"/>
                  <a:cs typeface="Gotham Light" pitchFamily="50" charset="0"/>
                </a:rPr>
                <a:t>250-500</a:t>
              </a:r>
            </a:p>
          </p:txBody>
        </p:sp>
        <p:sp>
          <p:nvSpPr>
            <p:cNvPr id="259" name="Ellipse 258"/>
            <p:cNvSpPr/>
            <p:nvPr/>
          </p:nvSpPr>
          <p:spPr>
            <a:xfrm>
              <a:off x="7510950" y="5884991"/>
              <a:ext cx="57151" cy="57151"/>
            </a:xfrm>
            <a:prstGeom prst="ellipse">
              <a:avLst/>
            </a:prstGeom>
            <a:solidFill>
              <a:srgbClr val="FFA90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600" dirty="0">
                <a:solidFill>
                  <a:schemeClr val="tx1"/>
                </a:solidFill>
              </a:endParaRPr>
            </a:p>
          </p:txBody>
        </p:sp>
        <p:sp>
          <p:nvSpPr>
            <p:cNvPr id="260" name="Rectangle 12"/>
            <p:cNvSpPr>
              <a:spLocks noChangeArrowheads="1"/>
            </p:cNvSpPr>
            <p:nvPr/>
          </p:nvSpPr>
          <p:spPr bwMode="auto">
            <a:xfrm>
              <a:off x="7520407" y="5821232"/>
              <a:ext cx="582211" cy="184666"/>
            </a:xfrm>
            <a:prstGeom prst="rect">
              <a:avLst/>
            </a:prstGeom>
            <a:noFill/>
            <a:ln w="9525">
              <a:noFill/>
              <a:miter lim="800000"/>
              <a:headEnd/>
              <a:tailEnd/>
            </a:ln>
            <a:effectLst/>
          </p:spPr>
          <p:txBody>
            <a:bodyPr wrap="none" anchor="ctr">
              <a:spAutoFit/>
            </a:bodyPr>
            <a:lstStyle/>
            <a:p>
              <a:pPr marL="190500" lvl="2" indent="-187325">
                <a:spcBef>
                  <a:spcPct val="40000"/>
                </a:spcBef>
                <a:buClr>
                  <a:srgbClr val="868889"/>
                </a:buClr>
                <a:buSzPct val="90000"/>
                <a:buFont typeface="Wingdings 2" pitchFamily="18" charset="2"/>
                <a:buNone/>
              </a:pPr>
              <a:r>
                <a:rPr lang="de-DE" sz="600" dirty="0">
                  <a:solidFill>
                    <a:prstClr val="black"/>
                  </a:solidFill>
                  <a:latin typeface="Gotham Light" pitchFamily="50" charset="0"/>
                  <a:cs typeface="Gotham Light" pitchFamily="50" charset="0"/>
                </a:rPr>
                <a:t>500-1.000</a:t>
              </a:r>
            </a:p>
          </p:txBody>
        </p:sp>
        <p:sp>
          <p:nvSpPr>
            <p:cNvPr id="261" name="Ellipse 260"/>
            <p:cNvSpPr/>
            <p:nvPr/>
          </p:nvSpPr>
          <p:spPr>
            <a:xfrm>
              <a:off x="8154177" y="5884991"/>
              <a:ext cx="57151" cy="5715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600" dirty="0">
                <a:solidFill>
                  <a:schemeClr val="tx1"/>
                </a:solidFill>
              </a:endParaRPr>
            </a:p>
          </p:txBody>
        </p:sp>
        <p:sp>
          <p:nvSpPr>
            <p:cNvPr id="262" name="Rectangle 12"/>
            <p:cNvSpPr>
              <a:spLocks noChangeArrowheads="1"/>
            </p:cNvSpPr>
            <p:nvPr/>
          </p:nvSpPr>
          <p:spPr bwMode="auto">
            <a:xfrm>
              <a:off x="8163634" y="5821232"/>
              <a:ext cx="465192" cy="184666"/>
            </a:xfrm>
            <a:prstGeom prst="rect">
              <a:avLst/>
            </a:prstGeom>
            <a:noFill/>
            <a:ln w="9525">
              <a:noFill/>
              <a:miter lim="800000"/>
              <a:headEnd/>
              <a:tailEnd/>
            </a:ln>
            <a:effectLst/>
          </p:spPr>
          <p:txBody>
            <a:bodyPr wrap="none" anchor="ctr">
              <a:spAutoFit/>
            </a:bodyPr>
            <a:lstStyle/>
            <a:p>
              <a:pPr marL="190500" lvl="2" indent="-187325">
                <a:spcBef>
                  <a:spcPct val="40000"/>
                </a:spcBef>
                <a:buClr>
                  <a:srgbClr val="868889"/>
                </a:buClr>
                <a:buSzPct val="90000"/>
                <a:buFont typeface="Wingdings 2" pitchFamily="18" charset="2"/>
                <a:buNone/>
              </a:pPr>
              <a:r>
                <a:rPr lang="de-DE" sz="600" dirty="0">
                  <a:solidFill>
                    <a:prstClr val="black"/>
                  </a:solidFill>
                  <a:latin typeface="Gotham Light" pitchFamily="50" charset="0"/>
                  <a:cs typeface="Gotham Light" pitchFamily="50" charset="0"/>
                </a:rPr>
                <a:t>&gt; 1.000</a:t>
              </a:r>
            </a:p>
          </p:txBody>
        </p:sp>
      </p:grpSp>
      <p:sp>
        <p:nvSpPr>
          <p:cNvPr id="150" name="Rectangle 12"/>
          <p:cNvSpPr>
            <a:spLocks noChangeArrowheads="1"/>
          </p:cNvSpPr>
          <p:nvPr/>
        </p:nvSpPr>
        <p:spPr bwMode="auto">
          <a:xfrm>
            <a:off x="4295775" y="1435100"/>
            <a:ext cx="825868" cy="246221"/>
          </a:xfrm>
          <a:prstGeom prst="rect">
            <a:avLst/>
          </a:prstGeom>
          <a:noFill/>
          <a:ln w="9525">
            <a:noFill/>
            <a:miter lim="800000"/>
            <a:headEnd/>
            <a:tailEnd/>
          </a:ln>
          <a:effectLst/>
        </p:spPr>
        <p:txBody>
          <a:bodyPr wrap="none" anchor="ctr">
            <a:spAutoFit/>
          </a:bodyPr>
          <a:lstStyle/>
          <a:p>
            <a:pPr marL="190500" lvl="2" indent="-187325" algn="ctr">
              <a:spcBef>
                <a:spcPct val="40000"/>
              </a:spcBef>
              <a:buClr>
                <a:srgbClr val="868889"/>
              </a:buClr>
              <a:buSzPct val="90000"/>
              <a:buFont typeface="Wingdings 2" pitchFamily="18" charset="2"/>
              <a:buNone/>
            </a:pPr>
            <a:r>
              <a:rPr lang="de-DE" sz="1000" dirty="0">
                <a:latin typeface="Gotham Light" pitchFamily="50" charset="0"/>
                <a:cs typeface="Gotham Light" pitchFamily="50" charset="0"/>
              </a:rPr>
              <a:t>NOMINAL</a:t>
            </a:r>
          </a:p>
        </p:txBody>
      </p:sp>
      <p:sp>
        <p:nvSpPr>
          <p:cNvPr id="157" name="Rectangle 12"/>
          <p:cNvSpPr>
            <a:spLocks noChangeArrowheads="1"/>
          </p:cNvSpPr>
          <p:nvPr/>
        </p:nvSpPr>
        <p:spPr bwMode="auto">
          <a:xfrm>
            <a:off x="3354927" y="1208515"/>
            <a:ext cx="2739725" cy="276999"/>
          </a:xfrm>
          <a:prstGeom prst="rect">
            <a:avLst/>
          </a:prstGeom>
          <a:noFill/>
          <a:ln w="9525">
            <a:noFill/>
            <a:miter lim="800000"/>
            <a:headEnd/>
            <a:tailEnd/>
          </a:ln>
          <a:effectLst/>
        </p:spPr>
        <p:txBody>
          <a:bodyPr wrap="none" anchor="ctr">
            <a:spAutoFit/>
          </a:bodyPr>
          <a:lstStyle/>
          <a:p>
            <a:pPr marL="190500" lvl="2" indent="-187325" algn="ctr">
              <a:spcBef>
                <a:spcPct val="40000"/>
              </a:spcBef>
              <a:buClr>
                <a:srgbClr val="868889"/>
              </a:buClr>
              <a:buSzPct val="90000"/>
              <a:buFont typeface="Wingdings 2" pitchFamily="18" charset="2"/>
              <a:buNone/>
            </a:pPr>
            <a:r>
              <a:rPr lang="de-DE" sz="1200" dirty="0">
                <a:solidFill>
                  <a:schemeClr val="accent5"/>
                </a:solidFill>
                <a:latin typeface="Gotham Medium" pitchFamily="50" charset="0"/>
                <a:cs typeface="Gotham Medium" pitchFamily="50" charset="0"/>
              </a:rPr>
              <a:t>ANGEBOTSDICHTE PRO HA SUV</a:t>
            </a:r>
          </a:p>
        </p:txBody>
      </p:sp>
      <p:sp>
        <p:nvSpPr>
          <p:cNvPr id="110" name="Ellipse 109">
            <a:extLst>
              <a:ext uri="{FF2B5EF4-FFF2-40B4-BE49-F238E27FC236}">
                <a16:creationId xmlns:a16="http://schemas.microsoft.com/office/drawing/2014/main" xmlns="" id="{438DB01A-B46B-4E79-AB61-98F54816BA85}"/>
              </a:ext>
            </a:extLst>
          </p:cNvPr>
          <p:cNvSpPr/>
          <p:nvPr>
            <p:custDataLst>
              <p:tags r:id="rId172"/>
            </p:custDataLst>
          </p:nvPr>
        </p:nvSpPr>
        <p:spPr bwMode="auto">
          <a:xfrm>
            <a:off x="9231313" y="1925638"/>
            <a:ext cx="50800" cy="50800"/>
          </a:xfrm>
          <a:prstGeom prst="ellipse">
            <a:avLst/>
          </a:prstGeom>
          <a:solidFill>
            <a:schemeClr val="accent1"/>
          </a:solidFill>
          <a:ln w="9525" algn="ctr">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09" name="Ellipse 108">
            <a:extLst>
              <a:ext uri="{FF2B5EF4-FFF2-40B4-BE49-F238E27FC236}">
                <a16:creationId xmlns:a16="http://schemas.microsoft.com/office/drawing/2014/main" xmlns="" id="{CF01C94A-CF5E-4F89-B92D-C4A6C90163E2}"/>
              </a:ext>
            </a:extLst>
          </p:cNvPr>
          <p:cNvSpPr/>
          <p:nvPr>
            <p:custDataLst>
              <p:tags r:id="rId173"/>
            </p:custDataLst>
          </p:nvPr>
        </p:nvSpPr>
        <p:spPr bwMode="auto">
          <a:xfrm>
            <a:off x="9231313" y="1752600"/>
            <a:ext cx="50800" cy="50800"/>
          </a:xfrm>
          <a:prstGeom prst="ellipse">
            <a:avLst/>
          </a:prstGeom>
          <a:solidFill>
            <a:srgbClr val="4C6C9C"/>
          </a:solidFill>
          <a:ln w="9525" algn="ctr">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11" name="Ellipse 110">
            <a:extLst>
              <a:ext uri="{FF2B5EF4-FFF2-40B4-BE49-F238E27FC236}">
                <a16:creationId xmlns:a16="http://schemas.microsoft.com/office/drawing/2014/main" xmlns="" id="{8A3AD0D6-3894-494E-81C3-9DFA1356653A}"/>
              </a:ext>
            </a:extLst>
          </p:cNvPr>
          <p:cNvSpPr/>
          <p:nvPr>
            <p:custDataLst>
              <p:tags r:id="rId174"/>
            </p:custDataLst>
          </p:nvPr>
        </p:nvSpPr>
        <p:spPr bwMode="auto">
          <a:xfrm>
            <a:off x="9231313" y="2098675"/>
            <a:ext cx="50800" cy="50800"/>
          </a:xfrm>
          <a:prstGeom prst="ellipse">
            <a:avLst/>
          </a:prstGeom>
          <a:solidFill>
            <a:schemeClr val="hlink"/>
          </a:solidFill>
          <a:ln w="9525" algn="ctr">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12" name="Ellipse 111">
            <a:extLst>
              <a:ext uri="{FF2B5EF4-FFF2-40B4-BE49-F238E27FC236}">
                <a16:creationId xmlns:a16="http://schemas.microsoft.com/office/drawing/2014/main" xmlns="" id="{46D7A4CA-DAB2-4950-94B5-0C49218EAAEE}"/>
              </a:ext>
            </a:extLst>
          </p:cNvPr>
          <p:cNvSpPr/>
          <p:nvPr>
            <p:custDataLst>
              <p:tags r:id="rId175"/>
            </p:custDataLst>
          </p:nvPr>
        </p:nvSpPr>
        <p:spPr bwMode="auto">
          <a:xfrm>
            <a:off x="9231313" y="2271713"/>
            <a:ext cx="50800" cy="50800"/>
          </a:xfrm>
          <a:prstGeom prst="ellipse">
            <a:avLst/>
          </a:prstGeom>
          <a:solidFill>
            <a:srgbClr val="FFA909"/>
          </a:solidFill>
          <a:ln w="9525" algn="ctr">
            <a:solidFill>
              <a:srgbClr val="FFA90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24" name="Textplatzhalter 2">
            <a:extLst>
              <a:ext uri="{FF2B5EF4-FFF2-40B4-BE49-F238E27FC236}">
                <a16:creationId xmlns:a16="http://schemas.microsoft.com/office/drawing/2014/main" xmlns="" id="{3CD95139-6BF6-4D9A-A341-C6B0A4B6C71B}"/>
              </a:ext>
            </a:extLst>
          </p:cNvPr>
          <p:cNvSpPr>
            <a:spLocks noGrp="1"/>
          </p:cNvSpPr>
          <p:nvPr>
            <p:custDataLst>
              <p:tags r:id="rId176"/>
            </p:custDataLst>
          </p:nvPr>
        </p:nvSpPr>
        <p:spPr bwMode="auto">
          <a:xfrm>
            <a:off x="9378950" y="1720850"/>
            <a:ext cx="61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2D726F74-9061-4A37-B061-95688587988F}" type="datetime'''''''''''''3'''''">
              <a:rPr lang="de-DE" altLang="en-US" sz="800" smtClean="0">
                <a:latin typeface="Gotham Light" pitchFamily="50" charset="0"/>
                <a:cs typeface="Gotham Light" pitchFamily="50" charset="0"/>
                <a:sym typeface="Gotham Light" pitchFamily="50" charset="0"/>
              </a:rPr>
              <a:pPr lvl="1">
                <a:spcBef>
                  <a:spcPct val="0"/>
                </a:spcBef>
                <a:spcAft>
                  <a:spcPct val="0"/>
                </a:spcAft>
              </a:pPr>
              <a:t>3</a:t>
            </a:fld>
            <a:endParaRPr lang="de-DE" sz="800" dirty="0">
              <a:latin typeface="Gotham Light" pitchFamily="50" charset="0"/>
              <a:cs typeface="Gotham Light" pitchFamily="50" charset="0"/>
              <a:sym typeface="Gotham Light" pitchFamily="50" charset="0"/>
            </a:endParaRPr>
          </a:p>
        </p:txBody>
      </p:sp>
      <p:sp>
        <p:nvSpPr>
          <p:cNvPr id="326" name="Textplatzhalter 2">
            <a:extLst>
              <a:ext uri="{FF2B5EF4-FFF2-40B4-BE49-F238E27FC236}">
                <a16:creationId xmlns:a16="http://schemas.microsoft.com/office/drawing/2014/main" xmlns="" id="{916245DC-0FF9-4248-9C5F-A9EE6036BFD6}"/>
              </a:ext>
            </a:extLst>
          </p:cNvPr>
          <p:cNvSpPr>
            <a:spLocks noGrp="1"/>
          </p:cNvSpPr>
          <p:nvPr>
            <p:custDataLst>
              <p:tags r:id="rId177"/>
            </p:custDataLst>
          </p:nvPr>
        </p:nvSpPr>
        <p:spPr bwMode="auto">
          <a:xfrm>
            <a:off x="9378950" y="2239963"/>
            <a:ext cx="603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C93AC0A1-6C69-42F9-898D-C5B2243FFD3C}" type="datetime'''''''''''''''''''''''''''''''''''''2'''''''">
              <a:rPr lang="de-DE" altLang="en-US" sz="800" smtClean="0">
                <a:latin typeface="Gotham Light" pitchFamily="50" charset="0"/>
                <a:cs typeface="Gotham Light" pitchFamily="50" charset="0"/>
                <a:sym typeface="Gotham Light" pitchFamily="50" charset="0"/>
              </a:rPr>
              <a:pPr lvl="1">
                <a:spcBef>
                  <a:spcPct val="0"/>
                </a:spcBef>
                <a:spcAft>
                  <a:spcPct val="0"/>
                </a:spcAft>
              </a:pPr>
              <a:t>2</a:t>
            </a:fld>
            <a:endParaRPr lang="de-DE" sz="800" dirty="0">
              <a:latin typeface="Gotham Light" pitchFamily="50" charset="0"/>
              <a:cs typeface="Gotham Light" pitchFamily="50" charset="0"/>
              <a:sym typeface="Gotham Light" pitchFamily="50" charset="0"/>
            </a:endParaRPr>
          </a:p>
        </p:txBody>
      </p:sp>
      <p:sp>
        <p:nvSpPr>
          <p:cNvPr id="327" name="Textplatzhalter 2">
            <a:extLst>
              <a:ext uri="{FF2B5EF4-FFF2-40B4-BE49-F238E27FC236}">
                <a16:creationId xmlns:a16="http://schemas.microsoft.com/office/drawing/2014/main" xmlns="" id="{898AB7FE-FC0D-4D15-9DDE-2C5F910A1CE7}"/>
              </a:ext>
            </a:extLst>
          </p:cNvPr>
          <p:cNvSpPr>
            <a:spLocks noGrp="1"/>
          </p:cNvSpPr>
          <p:nvPr>
            <p:custDataLst>
              <p:tags r:id="rId178"/>
            </p:custDataLst>
          </p:nvPr>
        </p:nvSpPr>
        <p:spPr bwMode="auto">
          <a:xfrm>
            <a:off x="9378950" y="2066925"/>
            <a:ext cx="333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862C0596-2734-470B-B0B6-DB99B2F7E404}" type="datetime'''''''''''''''''''''''''''''''''''''1'''''''''''''''">
              <a:rPr lang="de-DE" altLang="en-US" sz="800" smtClean="0">
                <a:latin typeface="Gotham Light" pitchFamily="50" charset="0"/>
                <a:cs typeface="Gotham Light" pitchFamily="50" charset="0"/>
                <a:sym typeface="Gotham Light" pitchFamily="50" charset="0"/>
              </a:rPr>
              <a:pPr lvl="1">
                <a:spcBef>
                  <a:spcPct val="0"/>
                </a:spcBef>
                <a:spcAft>
                  <a:spcPct val="0"/>
                </a:spcAft>
              </a:pPr>
              <a:t>1</a:t>
            </a:fld>
            <a:endParaRPr lang="de-DE" sz="800" dirty="0">
              <a:latin typeface="Gotham Light" pitchFamily="50" charset="0"/>
              <a:cs typeface="Gotham Light" pitchFamily="50" charset="0"/>
              <a:sym typeface="Gotham Light" pitchFamily="50" charset="0"/>
            </a:endParaRPr>
          </a:p>
        </p:txBody>
      </p:sp>
      <p:sp>
        <p:nvSpPr>
          <p:cNvPr id="325" name="Textplatzhalter 2">
            <a:extLst>
              <a:ext uri="{FF2B5EF4-FFF2-40B4-BE49-F238E27FC236}">
                <a16:creationId xmlns:a16="http://schemas.microsoft.com/office/drawing/2014/main" xmlns="" id="{BDD502DA-400E-4781-9F20-F3FF61989705}"/>
              </a:ext>
            </a:extLst>
          </p:cNvPr>
          <p:cNvSpPr>
            <a:spLocks noGrp="1"/>
          </p:cNvSpPr>
          <p:nvPr>
            <p:custDataLst>
              <p:tags r:id="rId179"/>
            </p:custDataLst>
          </p:nvPr>
        </p:nvSpPr>
        <p:spPr bwMode="auto">
          <a:xfrm>
            <a:off x="9378950" y="1893888"/>
            <a:ext cx="666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400" b="0" kern="1200" baseline="0">
                <a:solidFill>
                  <a:schemeClr val="accent6"/>
                </a:solidFill>
                <a:latin typeface="Gotham Book" pitchFamily="50" charset="0"/>
                <a:ea typeface="+mn-ea"/>
                <a:cs typeface="Gotham Book" pitchFamily="50" charset="0"/>
              </a:defRPr>
            </a:lvl1pPr>
            <a:lvl2pPr marL="0" indent="0" algn="l" defTabSz="914400" rtl="0" eaLnBrk="1" latinLnBrk="0" hangingPunct="1">
              <a:lnSpc>
                <a:spcPct val="100000"/>
              </a:lnSpc>
              <a:spcBef>
                <a:spcPts val="200"/>
              </a:spcBef>
              <a:buFontTx/>
              <a:buNone/>
              <a:defRPr sz="1400" kern="1200">
                <a:solidFill>
                  <a:schemeClr val="tx1"/>
                </a:solidFill>
                <a:latin typeface="Baskerville Com" panose="02000503080000020003" pitchFamily="2" charset="0"/>
                <a:ea typeface="+mn-ea"/>
                <a:cs typeface="+mn-cs"/>
              </a:defRPr>
            </a:lvl2pPr>
            <a:lvl3pPr marL="184150" indent="-184150" algn="l" defTabSz="914400" rtl="0" eaLnBrk="1" latinLnBrk="0" hangingPunct="1">
              <a:lnSpc>
                <a:spcPct val="100000"/>
              </a:lnSpc>
              <a:spcBef>
                <a:spcPts val="6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3pPr>
            <a:lvl4pPr marL="358775" indent="-176213" algn="l" defTabSz="914400" rtl="0" eaLnBrk="1" latinLnBrk="0" hangingPunct="1">
              <a:lnSpc>
                <a:spcPct val="100000"/>
              </a:lnSpc>
              <a:spcBef>
                <a:spcPts val="4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4pPr>
            <a:lvl5pPr marL="540000" indent="-180975" algn="l" defTabSz="914400" rtl="0" eaLnBrk="1" latinLnBrk="0" hangingPunct="1">
              <a:lnSpc>
                <a:spcPct val="100000"/>
              </a:lnSpc>
              <a:spcBef>
                <a:spcPts val="200"/>
              </a:spcBef>
              <a:buClr>
                <a:schemeClr val="accent5"/>
              </a:buClr>
              <a:buFont typeface="Arial" pitchFamily="34" charset="0"/>
              <a:buChar char="-"/>
              <a:defRPr sz="1400" kern="1200">
                <a:solidFill>
                  <a:schemeClr val="tx1"/>
                </a:solidFill>
                <a:latin typeface="Baskerville Com" panose="02000503080000020003" pitchFamily="2" charset="0"/>
                <a:ea typeface="+mn-ea"/>
                <a:cs typeface="+mn-cs"/>
              </a:defRPr>
            </a:lvl5pPr>
            <a:lvl6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Clr>
                <a:schemeClr val="accent5"/>
              </a:buClr>
              <a:buFont typeface="Arial" pitchFamily="34" charset="0"/>
              <a:buChar char="-"/>
              <a:defRPr sz="1400" kern="1200" baseline="0">
                <a:solidFill>
                  <a:schemeClr val="tx1"/>
                </a:solidFill>
                <a:latin typeface="Baskerville Com" panose="02000503080000020003" pitchFamily="2" charset="0"/>
                <a:ea typeface="+mn-ea"/>
                <a:cs typeface="+mn-cs"/>
              </a:defRPr>
            </a:lvl9pPr>
          </a:lstStyle>
          <a:p>
            <a:pPr lvl="1">
              <a:spcBef>
                <a:spcPct val="0"/>
              </a:spcBef>
              <a:spcAft>
                <a:spcPct val="0"/>
              </a:spcAft>
            </a:pPr>
            <a:fld id="{6A4FA507-D5C9-4CB0-9547-E74AE314757F}" type="datetime'''''''''''''4'''''''''''''''''''''''''''''">
              <a:rPr lang="de-DE" altLang="en-US" sz="800" smtClean="0">
                <a:latin typeface="Gotham Light" pitchFamily="50" charset="0"/>
                <a:cs typeface="Gotham Light" pitchFamily="50" charset="0"/>
                <a:sym typeface="Gotham Light" pitchFamily="50" charset="0"/>
              </a:rPr>
              <a:pPr lvl="1">
                <a:spcBef>
                  <a:spcPct val="0"/>
                </a:spcBef>
                <a:spcAft>
                  <a:spcPct val="0"/>
                </a:spcAft>
              </a:pPr>
              <a:t>4</a:t>
            </a:fld>
            <a:endParaRPr lang="de-DE" sz="800" dirty="0">
              <a:latin typeface="Gotham Light" pitchFamily="50" charset="0"/>
              <a:cs typeface="Gotham Light" pitchFamily="50" charset="0"/>
              <a:sym typeface="Gotham Light" pitchFamily="50" charset="0"/>
            </a:endParaRPr>
          </a:p>
        </p:txBody>
      </p:sp>
      <p:sp>
        <p:nvSpPr>
          <p:cNvPr id="370" name="Textfeld 369">
            <a:extLst>
              <a:ext uri="{FF2B5EF4-FFF2-40B4-BE49-F238E27FC236}">
                <a16:creationId xmlns:a16="http://schemas.microsoft.com/office/drawing/2014/main" xmlns="" id="{8E62EB89-8DDE-4688-9E98-9DDADD265B88}"/>
              </a:ext>
            </a:extLst>
          </p:cNvPr>
          <p:cNvSpPr txBox="1"/>
          <p:nvPr/>
        </p:nvSpPr>
        <p:spPr>
          <a:xfrm>
            <a:off x="755576" y="4900518"/>
            <a:ext cx="720080" cy="184666"/>
          </a:xfrm>
          <a:prstGeom prst="rect">
            <a:avLst/>
          </a:prstGeom>
          <a:noFill/>
        </p:spPr>
        <p:txBody>
          <a:bodyPr wrap="square" rtlCol="0">
            <a:spAutoFit/>
          </a:bodyPr>
          <a:lstStyle/>
          <a:p>
            <a:r>
              <a:rPr lang="de-DE" sz="600" dirty="0">
                <a:cs typeface="Gotham Medium" pitchFamily="50" charset="0"/>
              </a:rPr>
              <a:t>©</a:t>
            </a:r>
            <a:r>
              <a:rPr lang="de-DE" sz="600" dirty="0">
                <a:latin typeface="Gotham Medium" pitchFamily="50" charset="0"/>
                <a:cs typeface="Gotham Medium" pitchFamily="50" charset="0"/>
              </a:rPr>
              <a:t> civity 2019 </a:t>
            </a:r>
          </a:p>
        </p:txBody>
      </p:sp>
      <p:sp>
        <p:nvSpPr>
          <p:cNvPr id="296" name="Rectangle 12">
            <a:extLst>
              <a:ext uri="{FF2B5EF4-FFF2-40B4-BE49-F238E27FC236}">
                <a16:creationId xmlns:a16="http://schemas.microsoft.com/office/drawing/2014/main" xmlns="" id="{AD175531-D5E3-4761-AC88-732E57F10A76}"/>
              </a:ext>
            </a:extLst>
          </p:cNvPr>
          <p:cNvSpPr>
            <a:spLocks noChangeArrowheads="1"/>
          </p:cNvSpPr>
          <p:nvPr/>
        </p:nvSpPr>
        <p:spPr bwMode="auto">
          <a:xfrm>
            <a:off x="3950638" y="5330161"/>
            <a:ext cx="1337226" cy="215444"/>
          </a:xfrm>
          <a:prstGeom prst="rect">
            <a:avLst/>
          </a:prstGeom>
          <a:noFill/>
          <a:ln w="9525">
            <a:noFill/>
            <a:miter lim="800000"/>
            <a:headEnd/>
            <a:tailEnd/>
          </a:ln>
          <a:effectLst/>
        </p:spPr>
        <p:txBody>
          <a:bodyPr wrap="none" anchor="ctr">
            <a:spAutoFit/>
          </a:bodyPr>
          <a:lstStyle/>
          <a:p>
            <a:pPr marL="190500" lvl="2" indent="-187325" algn="ctr">
              <a:spcBef>
                <a:spcPct val="40000"/>
              </a:spcBef>
              <a:buClr>
                <a:srgbClr val="868889"/>
              </a:buClr>
              <a:buSzPct val="90000"/>
              <a:buFont typeface="Wingdings 2" pitchFamily="18" charset="2"/>
              <a:buNone/>
            </a:pPr>
            <a:r>
              <a:rPr lang="de-DE" sz="800" dirty="0">
                <a:solidFill>
                  <a:prstClr val="black"/>
                </a:solidFill>
                <a:latin typeface="Gotham Medium" pitchFamily="50" charset="0"/>
                <a:cs typeface="Gotham Medium" pitchFamily="50" charset="0"/>
              </a:rPr>
              <a:t>EINWOHNER IN 1.000</a:t>
            </a:r>
          </a:p>
        </p:txBody>
      </p:sp>
      <p:pic>
        <p:nvPicPr>
          <p:cNvPr id="120" name="Grafik 119">
            <a:extLst>
              <a:ext uri="{FF2B5EF4-FFF2-40B4-BE49-F238E27FC236}">
                <a16:creationId xmlns:a16="http://schemas.microsoft.com/office/drawing/2014/main" xmlns="" id="{14F4A0FF-C0A4-42C3-8E8C-9AF1E78EB3BA}"/>
              </a:ext>
            </a:extLst>
          </p:cNvPr>
          <p:cNvPicPr>
            <a:picLocks noChangeAspect="1"/>
          </p:cNvPicPr>
          <p:nvPr/>
        </p:nvPicPr>
        <p:blipFill>
          <a:blip r:embed="rId185"/>
          <a:stretch>
            <a:fillRect/>
          </a:stretch>
        </p:blipFill>
        <p:spPr>
          <a:xfrm>
            <a:off x="9170225" y="2670994"/>
            <a:ext cx="1269938" cy="996200"/>
          </a:xfrm>
          <a:prstGeom prst="rect">
            <a:avLst/>
          </a:prstGeom>
        </p:spPr>
      </p:pic>
      <p:sp>
        <p:nvSpPr>
          <p:cNvPr id="272" name="Foliennummernplatzhalter 3">
            <a:extLst>
              <a:ext uri="{FF2B5EF4-FFF2-40B4-BE49-F238E27FC236}">
                <a16:creationId xmlns:a16="http://schemas.microsoft.com/office/drawing/2014/main" xmlns="" id="{B7EF17C9-3399-4461-A2FC-C726A1BD7D85}"/>
              </a:ext>
            </a:extLst>
          </p:cNvPr>
          <p:cNvSpPr>
            <a:spLocks noGrp="1"/>
          </p:cNvSpPr>
          <p:nvPr>
            <p:ph type="sldNum" sz="quarter" idx="11"/>
          </p:nvPr>
        </p:nvSpPr>
        <p:spPr>
          <a:xfrm>
            <a:off x="517101" y="6309320"/>
            <a:ext cx="400622" cy="246221"/>
          </a:xfrm>
        </p:spPr>
        <p:txBody>
          <a:bodyPr/>
          <a:lstStyle/>
          <a:p>
            <a:fld id="{CD21EFEB-933F-4F46-A5AD-B6372944D9E5}" type="slidenum">
              <a:rPr lang="de-DE" smtClean="0"/>
              <a:pPr/>
              <a:t>33</a:t>
            </a:fld>
            <a:endParaRPr lang="de-DE" dirty="0"/>
          </a:p>
        </p:txBody>
      </p:sp>
    </p:spTree>
    <p:extLst>
      <p:ext uri="{BB962C8B-B14F-4D97-AF65-F5344CB8AC3E}">
        <p14:creationId xmlns:p14="http://schemas.microsoft.com/office/powerpoint/2010/main" val="3481454363"/>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7C0BA651-EE55-49D4-A5E5-B3F89290163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98" name="think-cell Folie" r:id="rId14" imgW="530" imgH="531" progId="TCLayout.ActiveDocument.1">
                  <p:embed/>
                </p:oleObj>
              </mc:Choice>
              <mc:Fallback>
                <p:oleObj name="think-cell Folie" r:id="rId14" imgW="530" imgH="531" progId="TCLayout.ActiveDocument.1">
                  <p:embed/>
                  <p:pic>
                    <p:nvPicPr>
                      <p:cNvPr id="7" name="Objekt 6" hidden="1">
                        <a:extLst>
                          <a:ext uri="{FF2B5EF4-FFF2-40B4-BE49-F238E27FC236}">
                            <a16:creationId xmlns:a16="http://schemas.microsoft.com/office/drawing/2014/main" xmlns="" id="{7C0BA651-EE55-49D4-A5E5-B3F89290163F}"/>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xmlns="" id="{9337A651-6E17-477C-BD32-8BABDE281AE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custDataLst>
              <p:tags r:id="rId4"/>
            </p:custDataLst>
          </p:nvPr>
        </p:nvSpPr>
        <p:spPr>
          <a:xfrm>
            <a:off x="446996" y="281196"/>
            <a:ext cx="8309654" cy="648072"/>
          </a:xfrm>
        </p:spPr>
        <p:txBody>
          <a:bodyPr/>
          <a:lstStyle/>
          <a:p>
            <a:r>
              <a:rPr lang="de-DE" dirty="0">
                <a:latin typeface="Arial" panose="020B0604020202020204" pitchFamily="34" charset="0"/>
                <a:cs typeface="Arial" panose="020B0604020202020204" pitchFamily="34" charset="0"/>
                <a:sym typeface="Arial" panose="020B0604020202020204" pitchFamily="34" charset="0"/>
              </a:rPr>
              <a:t>Positive Marktbedingungen und flankierende Maßnahmen führen zu steigenden Fahrgastzahlen bei den Wiener Linien</a:t>
            </a:r>
          </a:p>
        </p:txBody>
      </p:sp>
      <p:sp>
        <p:nvSpPr>
          <p:cNvPr id="3" name="Inhaltsplatzhalter 2"/>
          <p:cNvSpPr>
            <a:spLocks noGrp="1"/>
          </p:cNvSpPr>
          <p:nvPr>
            <p:ph idx="1"/>
            <p:custDataLst>
              <p:tags r:id="rId5"/>
            </p:custDataLst>
          </p:nvPr>
        </p:nvSpPr>
        <p:spPr>
          <a:xfrm>
            <a:off x="451758" y="1083558"/>
            <a:ext cx="6635010" cy="292316"/>
          </a:xfrm>
        </p:spPr>
        <p:txBody>
          <a:bodyPr/>
          <a:lstStyle/>
          <a:p>
            <a:r>
              <a:rPr lang="de-DE" dirty="0">
                <a:latin typeface="Arial" panose="020B0604020202020204" pitchFamily="34" charset="0"/>
                <a:cs typeface="Arial" panose="020B0604020202020204" pitchFamily="34" charset="0"/>
                <a:sym typeface="Arial" panose="020B0604020202020204" pitchFamily="34" charset="0"/>
              </a:rPr>
              <a:t>Entwicklung 2011 bis 2018 (Preisabsenkung 06/2012)</a:t>
            </a:r>
          </a:p>
        </p:txBody>
      </p:sp>
      <p:sp>
        <p:nvSpPr>
          <p:cNvPr id="4" name="Foliennummernplatzhalter 3"/>
          <p:cNvSpPr>
            <a:spLocks noGrp="1"/>
          </p:cNvSpPr>
          <p:nvPr>
            <p:ph type="sldNum" sz="quarter" idx="11"/>
            <p:custDataLst>
              <p:tags r:id="rId6"/>
            </p:custDataLst>
          </p:nvPr>
        </p:nvSpPr>
        <p:spPr>
          <a:xfrm>
            <a:off x="519428" y="6295779"/>
            <a:ext cx="227626" cy="246221"/>
          </a:xfrm>
        </p:spPr>
        <p:txBody>
          <a:bodyPr/>
          <a:lstStyle/>
          <a:p>
            <a:fld id="{CD21EFEB-933F-4F46-A5AD-B6372944D9E5}" type="slidenum">
              <a:rPr lang="de-DE" smtClean="0">
                <a:latin typeface="Arial" panose="020B0604020202020204" pitchFamily="34" charset="0"/>
                <a:cs typeface="Arial" panose="020B0604020202020204" pitchFamily="34" charset="0"/>
                <a:sym typeface="Arial" panose="020B0604020202020204" pitchFamily="34" charset="0"/>
              </a:rPr>
              <a:pPr/>
              <a:t>34</a:t>
            </a:fld>
            <a:endParaRPr lang="de-DE" dirty="0">
              <a:latin typeface="Arial" panose="020B0604020202020204" pitchFamily="34" charset="0"/>
              <a:cs typeface="Arial" panose="020B0604020202020204" pitchFamily="34" charset="0"/>
              <a:sym typeface="Arial" panose="020B0604020202020204" pitchFamily="34" charset="0"/>
            </a:endParaRPr>
          </a:p>
        </p:txBody>
      </p:sp>
      <p:sp>
        <p:nvSpPr>
          <p:cNvPr id="55" name="Rechteck 54"/>
          <p:cNvSpPr/>
          <p:nvPr/>
        </p:nvSpPr>
        <p:spPr>
          <a:xfrm>
            <a:off x="251520" y="3429000"/>
            <a:ext cx="288230" cy="3244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53" name="Titel 1"/>
          <p:cNvSpPr txBox="1">
            <a:spLocks/>
          </p:cNvSpPr>
          <p:nvPr>
            <p:custDataLst>
              <p:tags r:id="rId7"/>
            </p:custDataLst>
          </p:nvPr>
        </p:nvSpPr>
        <p:spPr>
          <a:xfrm>
            <a:off x="599396" y="920166"/>
            <a:ext cx="8157254" cy="648072"/>
          </a:xfrm>
          <a:prstGeom prst="rect">
            <a:avLst/>
          </a:prstGeom>
        </p:spPr>
        <p:txBody>
          <a:bodyPr vert="horz" lIns="90000" tIns="46800" rIns="91440" bIns="46800" rtlCol="0" anchor="t" anchorCtr="0">
            <a:noAutofit/>
          </a:bodyPr>
          <a:lstStyle>
            <a:lvl1pPr algn="l" defTabSz="914400" rtl="0" eaLnBrk="1" latinLnBrk="0" hangingPunct="1">
              <a:lnSpc>
                <a:spcPct val="100000"/>
              </a:lnSpc>
              <a:spcBef>
                <a:spcPct val="0"/>
              </a:spcBef>
              <a:buNone/>
              <a:defRPr sz="2200" b="1" kern="1200" baseline="0">
                <a:solidFill>
                  <a:schemeClr val="accent1"/>
                </a:solidFill>
                <a:latin typeface="+mj-lt"/>
                <a:ea typeface="+mj-ea"/>
                <a:cs typeface="+mj-cs"/>
              </a:defRPr>
            </a:lvl1pPr>
          </a:lstStyle>
          <a:p>
            <a:endParaRPr lang="de-DE" dirty="0">
              <a:latin typeface="Arial" panose="020B0604020202020204" pitchFamily="34" charset="0"/>
              <a:cs typeface="Arial" panose="020B0604020202020204" pitchFamily="34" charset="0"/>
              <a:sym typeface="Arial" panose="020B0604020202020204" pitchFamily="34" charset="0"/>
            </a:endParaRPr>
          </a:p>
        </p:txBody>
      </p:sp>
      <p:cxnSp>
        <p:nvCxnSpPr>
          <p:cNvPr id="60" name="Gewinkelte Verbindung 59"/>
          <p:cNvCxnSpPr>
            <a:cxnSpLocks/>
            <a:stCxn id="55" idx="3"/>
            <a:endCxn id="63" idx="1"/>
          </p:cNvCxnSpPr>
          <p:nvPr/>
        </p:nvCxnSpPr>
        <p:spPr>
          <a:xfrm>
            <a:off x="539750" y="3591241"/>
            <a:ext cx="503858" cy="516053"/>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Inhaltsplatzhalter 2"/>
          <p:cNvSpPr txBox="1">
            <a:spLocks/>
          </p:cNvSpPr>
          <p:nvPr/>
        </p:nvSpPr>
        <p:spPr>
          <a:xfrm>
            <a:off x="1043608" y="1700594"/>
            <a:ext cx="1944713" cy="670164"/>
          </a:xfrm>
          <a:prstGeom prst="rect">
            <a:avLst/>
          </a:prstGeom>
          <a:solidFill>
            <a:schemeClr val="bg1"/>
          </a:solidFill>
          <a:ln>
            <a:solidFill>
              <a:schemeClr val="accent5"/>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400" b="1" dirty="0">
                <a:latin typeface="Arial" panose="020B0604020202020204" pitchFamily="34" charset="0"/>
                <a:cs typeface="Arial" panose="020B0604020202020204" pitchFamily="34" charset="0"/>
                <a:sym typeface="Arial" panose="020B0604020202020204" pitchFamily="34" charset="0"/>
              </a:rPr>
              <a:t>Entwicklung Marktstruktur</a:t>
            </a:r>
          </a:p>
        </p:txBody>
      </p:sp>
      <p:sp>
        <p:nvSpPr>
          <p:cNvPr id="63" name="Inhaltsplatzhalter 2"/>
          <p:cNvSpPr txBox="1">
            <a:spLocks/>
          </p:cNvSpPr>
          <p:nvPr/>
        </p:nvSpPr>
        <p:spPr>
          <a:xfrm>
            <a:off x="1043608" y="3772212"/>
            <a:ext cx="1944713" cy="670164"/>
          </a:xfrm>
          <a:prstGeom prst="rect">
            <a:avLst/>
          </a:prstGeom>
          <a:solidFill>
            <a:schemeClr val="bg1"/>
          </a:solidFill>
          <a:ln>
            <a:solidFill>
              <a:schemeClr val="accent5"/>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400" b="1" dirty="0">
                <a:latin typeface="Arial" panose="020B0604020202020204" pitchFamily="34" charset="0"/>
                <a:cs typeface="Arial" panose="020B0604020202020204" pitchFamily="34" charset="0"/>
                <a:sym typeface="Arial" panose="020B0604020202020204" pitchFamily="34" charset="0"/>
              </a:rPr>
              <a:t>Angebot und </a:t>
            </a:r>
            <a:br>
              <a:rPr lang="de-DE" sz="1400" b="1" dirty="0">
                <a:latin typeface="Arial" panose="020B0604020202020204" pitchFamily="34" charset="0"/>
                <a:cs typeface="Arial" panose="020B0604020202020204" pitchFamily="34" charset="0"/>
                <a:sym typeface="Arial" panose="020B0604020202020204" pitchFamily="34" charset="0"/>
              </a:rPr>
            </a:br>
            <a:r>
              <a:rPr lang="de-DE" sz="1400" b="1" dirty="0">
                <a:latin typeface="Arial" panose="020B0604020202020204" pitchFamily="34" charset="0"/>
                <a:cs typeface="Arial" panose="020B0604020202020204" pitchFamily="34" charset="0"/>
                <a:sym typeface="Arial" panose="020B0604020202020204" pitchFamily="34" charset="0"/>
              </a:rPr>
              <a:t>Preise ÖPNV</a:t>
            </a:r>
          </a:p>
        </p:txBody>
      </p:sp>
      <p:sp>
        <p:nvSpPr>
          <p:cNvPr id="64" name="Inhaltsplatzhalter 2"/>
          <p:cNvSpPr txBox="1">
            <a:spLocks/>
          </p:cNvSpPr>
          <p:nvPr/>
        </p:nvSpPr>
        <p:spPr>
          <a:xfrm>
            <a:off x="1043608" y="2732735"/>
            <a:ext cx="1944713" cy="670164"/>
          </a:xfrm>
          <a:prstGeom prst="rect">
            <a:avLst/>
          </a:prstGeom>
          <a:solidFill>
            <a:schemeClr val="bg1"/>
          </a:solidFill>
          <a:ln>
            <a:solidFill>
              <a:schemeClr val="accent5"/>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400" b="1" dirty="0">
                <a:latin typeface="Arial" panose="020B0604020202020204" pitchFamily="34" charset="0"/>
                <a:cs typeface="Arial" panose="020B0604020202020204" pitchFamily="34" charset="0"/>
                <a:sym typeface="Arial" panose="020B0604020202020204" pitchFamily="34" charset="0"/>
              </a:rPr>
              <a:t>Regulierung Autoverkehr</a:t>
            </a:r>
          </a:p>
        </p:txBody>
      </p:sp>
      <p:cxnSp>
        <p:nvCxnSpPr>
          <p:cNvPr id="65" name="Gewinkelte Verbindung 64"/>
          <p:cNvCxnSpPr>
            <a:cxnSpLocks/>
            <a:stCxn id="62" idx="1"/>
            <a:endCxn id="55" idx="3"/>
          </p:cNvCxnSpPr>
          <p:nvPr/>
        </p:nvCxnSpPr>
        <p:spPr>
          <a:xfrm rot="10800000" flipV="1">
            <a:off x="539750" y="2035675"/>
            <a:ext cx="503858" cy="1555565"/>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Gewinkelte Verbindung 46"/>
          <p:cNvCxnSpPr>
            <a:cxnSpLocks/>
            <a:stCxn id="55" idx="3"/>
            <a:endCxn id="52" idx="1"/>
          </p:cNvCxnSpPr>
          <p:nvPr/>
        </p:nvCxnSpPr>
        <p:spPr>
          <a:xfrm>
            <a:off x="539750" y="3591241"/>
            <a:ext cx="503361" cy="1476187"/>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Inhaltsplatzhalter 2"/>
          <p:cNvSpPr txBox="1">
            <a:spLocks/>
          </p:cNvSpPr>
          <p:nvPr/>
        </p:nvSpPr>
        <p:spPr>
          <a:xfrm>
            <a:off x="1043111" y="4732346"/>
            <a:ext cx="1944713" cy="670164"/>
          </a:xfrm>
          <a:prstGeom prst="rect">
            <a:avLst/>
          </a:prstGeom>
          <a:solidFill>
            <a:schemeClr val="bg1"/>
          </a:solidFill>
          <a:ln>
            <a:solidFill>
              <a:schemeClr val="accent5"/>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400" b="1" dirty="0">
                <a:latin typeface="Arial" panose="020B0604020202020204" pitchFamily="34" charset="0"/>
                <a:cs typeface="Arial" panose="020B0604020202020204" pitchFamily="34" charset="0"/>
                <a:sym typeface="Arial" panose="020B0604020202020204" pitchFamily="34" charset="0"/>
              </a:rPr>
              <a:t>Auswirkungen Wiener Linien</a:t>
            </a:r>
          </a:p>
        </p:txBody>
      </p:sp>
      <p:sp>
        <p:nvSpPr>
          <p:cNvPr id="49" name="Freeform 7"/>
          <p:cNvSpPr>
            <a:spLocks/>
          </p:cNvSpPr>
          <p:nvPr>
            <p:custDataLst>
              <p:tags r:id="rId8"/>
            </p:custDataLst>
          </p:nvPr>
        </p:nvSpPr>
        <p:spPr bwMode="auto">
          <a:xfrm rot="5400000">
            <a:off x="1904854" y="3807430"/>
            <a:ext cx="144016" cy="1578476"/>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1"/>
          </a:solidFill>
          <a:ln w="12700" cap="rnd">
            <a:noFill/>
            <a:round/>
            <a:headEnd type="none" w="sm" len="sm"/>
            <a:tailEnd type="none" w="sm" len="sm"/>
          </a:ln>
          <a:effectLst/>
        </p:spPr>
        <p:txBody>
          <a:bodyPr/>
          <a:lstStyle/>
          <a:p>
            <a:endParaRPr lang="de-DE" dirty="0">
              <a:solidFill>
                <a:schemeClr val="accent6"/>
              </a:solidFill>
              <a:latin typeface="Arial" panose="020B0604020202020204" pitchFamily="34" charset="0"/>
              <a:cs typeface="Arial" panose="020B0604020202020204" pitchFamily="34" charset="0"/>
              <a:sym typeface="Arial" panose="020B0604020202020204" pitchFamily="34" charset="0"/>
            </a:endParaRPr>
          </a:p>
        </p:txBody>
      </p:sp>
      <p:cxnSp>
        <p:nvCxnSpPr>
          <p:cNvPr id="50" name="Gewinkelte Verbindung 49"/>
          <p:cNvCxnSpPr>
            <a:cxnSpLocks/>
            <a:stCxn id="64" idx="1"/>
            <a:endCxn id="55" idx="3"/>
          </p:cNvCxnSpPr>
          <p:nvPr/>
        </p:nvCxnSpPr>
        <p:spPr>
          <a:xfrm rot="10800000" flipV="1">
            <a:off x="539750" y="3067817"/>
            <a:ext cx="503858" cy="523424"/>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Gerade Verbindung 6">
            <a:extLst>
              <a:ext uri="{FF2B5EF4-FFF2-40B4-BE49-F238E27FC236}">
                <a16:creationId xmlns:a16="http://schemas.microsoft.com/office/drawing/2014/main" xmlns="" id="{988953C1-81C7-4A06-B5D5-D9882BA8CD08}"/>
              </a:ext>
            </a:extLst>
          </p:cNvPr>
          <p:cNvCxnSpPr/>
          <p:nvPr>
            <p:custDataLst>
              <p:tags r:id="rId9"/>
            </p:custDataLst>
          </p:nvPr>
        </p:nvCxnSpPr>
        <p:spPr>
          <a:xfrm>
            <a:off x="539552" y="5632335"/>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Textfeld 60"/>
          <p:cNvSpPr txBox="1"/>
          <p:nvPr/>
        </p:nvSpPr>
        <p:spPr>
          <a:xfrm>
            <a:off x="451758" y="5613751"/>
            <a:ext cx="3904218" cy="553998"/>
          </a:xfrm>
          <a:prstGeom prst="rect">
            <a:avLst/>
          </a:prstGeom>
          <a:noFill/>
        </p:spPr>
        <p:txBody>
          <a:bodyPr wrap="square" rtlCol="0">
            <a:spAutoFit/>
          </a:bodyPr>
          <a:lstStyle/>
          <a:p>
            <a:pPr marL="179388" lvl="1" indent="-179388">
              <a:buAutoNum type="arabicParenR"/>
              <a:tabLst>
                <a:tab pos="180975" algn="l"/>
              </a:tabLst>
            </a:pPr>
            <a:r>
              <a:rPr lang="de-DE" sz="1000" dirty="0">
                <a:latin typeface="Arial" panose="020B0604020202020204" pitchFamily="34" charset="0"/>
                <a:cs typeface="Arial" panose="020B0604020202020204" pitchFamily="34" charset="0"/>
                <a:sym typeface="Arial" panose="020B0604020202020204" pitchFamily="34" charset="0"/>
              </a:rPr>
              <a:t>Gesamtzahl (Vollpreis, Außenraum und Senioren)</a:t>
            </a:r>
          </a:p>
          <a:p>
            <a:pPr marL="179388" lvl="1" indent="-179388">
              <a:buAutoNum type="arabicParenR"/>
              <a:tabLst>
                <a:tab pos="180975" algn="l"/>
              </a:tabLst>
            </a:pPr>
            <a:r>
              <a:rPr lang="de-DE" sz="1000" dirty="0">
                <a:latin typeface="Arial" panose="020B0604020202020204" pitchFamily="34" charset="0"/>
                <a:cs typeface="Arial" panose="020B0604020202020204" pitchFamily="34" charset="0"/>
                <a:sym typeface="Arial" panose="020B0604020202020204" pitchFamily="34" charset="0"/>
              </a:rPr>
              <a:t>WS 2016/2017</a:t>
            </a:r>
          </a:p>
          <a:p>
            <a:pPr marL="179388" lvl="1" indent="-179388">
              <a:buAutoNum type="arabicParenR"/>
              <a:tabLst>
                <a:tab pos="180975" algn="l"/>
              </a:tabLst>
            </a:pPr>
            <a:r>
              <a:rPr lang="de-DE" sz="1000" dirty="0">
                <a:latin typeface="Arial" panose="020B0604020202020204" pitchFamily="34" charset="0"/>
                <a:cs typeface="Arial" panose="020B0604020202020204" pitchFamily="34" charset="0"/>
                <a:sym typeface="Arial" panose="020B0604020202020204" pitchFamily="34" charset="0"/>
              </a:rPr>
              <a:t>Datenstand 2017</a:t>
            </a:r>
          </a:p>
        </p:txBody>
      </p:sp>
      <p:grpSp>
        <p:nvGrpSpPr>
          <p:cNvPr id="46" name="Gruppieren 45">
            <a:extLst>
              <a:ext uri="{FF2B5EF4-FFF2-40B4-BE49-F238E27FC236}">
                <a16:creationId xmlns:a16="http://schemas.microsoft.com/office/drawing/2014/main" xmlns="" id="{5BDB17AC-25FF-471D-A1D3-09B1BBDAD64D}"/>
              </a:ext>
            </a:extLst>
          </p:cNvPr>
          <p:cNvGrpSpPr/>
          <p:nvPr/>
        </p:nvGrpSpPr>
        <p:grpSpPr>
          <a:xfrm>
            <a:off x="2495825" y="3915260"/>
            <a:ext cx="396000" cy="396000"/>
            <a:chOff x="8424472" y="2275596"/>
            <a:chExt cx="396000" cy="396000"/>
          </a:xfrm>
        </p:grpSpPr>
        <p:pic>
          <p:nvPicPr>
            <p:cNvPr id="82" name="Grafik 81">
              <a:extLst>
                <a:ext uri="{FF2B5EF4-FFF2-40B4-BE49-F238E27FC236}">
                  <a16:creationId xmlns:a16="http://schemas.microsoft.com/office/drawing/2014/main" xmlns="" id="{6AC5F685-3A1C-4FA0-88CC-046733D480B7}"/>
                </a:ext>
              </a:extLst>
            </p:cNvPr>
            <p:cNvPicPr>
              <a:picLocks noChangeAspect="1"/>
            </p:cNvPicPr>
            <p:nvPr/>
          </p:nvPicPr>
          <p:blipFill>
            <a:blip r:embed="rId16">
              <a:duotone>
                <a:schemeClr val="accent5">
                  <a:shade val="45000"/>
                  <a:satMod val="135000"/>
                </a:schemeClr>
                <a:prstClr val="white"/>
              </a:duotone>
              <a:extLst>
                <a:ext uri="{BEBA8EAE-BF5A-486C-A8C5-ECC9F3942E4B}">
                  <a14:imgProps xmlns:a14="http://schemas.microsoft.com/office/drawing/2010/main">
                    <a14:imgLayer r:embed="rId17">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8467804" y="2312432"/>
              <a:ext cx="316073" cy="316073"/>
            </a:xfrm>
            <a:prstGeom prst="rect">
              <a:avLst/>
            </a:prstGeom>
          </p:spPr>
        </p:pic>
        <p:sp>
          <p:nvSpPr>
            <p:cNvPr id="84" name="Ellipse 83">
              <a:extLst>
                <a:ext uri="{FF2B5EF4-FFF2-40B4-BE49-F238E27FC236}">
                  <a16:creationId xmlns:a16="http://schemas.microsoft.com/office/drawing/2014/main" xmlns="" id="{DE030EC4-695D-4EC9-8D98-0AC8795C8737}"/>
                </a:ext>
              </a:extLst>
            </p:cNvPr>
            <p:cNvSpPr/>
            <p:nvPr/>
          </p:nvSpPr>
          <p:spPr>
            <a:xfrm>
              <a:off x="8424472" y="2275596"/>
              <a:ext cx="396000" cy="39600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85" name="Gruppieren 84">
            <a:extLst>
              <a:ext uri="{FF2B5EF4-FFF2-40B4-BE49-F238E27FC236}">
                <a16:creationId xmlns:a16="http://schemas.microsoft.com/office/drawing/2014/main" xmlns="" id="{6B4B5BA5-4873-4613-805B-3E4FC4CF79BF}"/>
              </a:ext>
            </a:extLst>
          </p:cNvPr>
          <p:cNvGrpSpPr/>
          <p:nvPr/>
        </p:nvGrpSpPr>
        <p:grpSpPr>
          <a:xfrm>
            <a:off x="2495825" y="2835140"/>
            <a:ext cx="396000" cy="396000"/>
            <a:chOff x="8442642" y="2934521"/>
            <a:chExt cx="396000" cy="396000"/>
          </a:xfrm>
        </p:grpSpPr>
        <p:pic>
          <p:nvPicPr>
            <p:cNvPr id="86" name="Grafik 85">
              <a:extLst>
                <a:ext uri="{FF2B5EF4-FFF2-40B4-BE49-F238E27FC236}">
                  <a16:creationId xmlns:a16="http://schemas.microsoft.com/office/drawing/2014/main" xmlns="" id="{2C0C0B5E-8031-4405-B22D-A7E9F5C5C40E}"/>
                </a:ext>
              </a:extLst>
            </p:cNvPr>
            <p:cNvPicPr>
              <a:picLocks noChangeAspect="1"/>
            </p:cNvPicPr>
            <p:nvPr/>
          </p:nvPicPr>
          <p:blipFill>
            <a:blip r:embed="rId18">
              <a:duotone>
                <a:schemeClr val="accent5">
                  <a:shade val="45000"/>
                  <a:satMod val="135000"/>
                </a:schemeClr>
                <a:prstClr val="white"/>
              </a:duotone>
              <a:extLst>
                <a:ext uri="{BEBA8EAE-BF5A-486C-A8C5-ECC9F3942E4B}">
                  <a14:imgProps xmlns:a14="http://schemas.microsoft.com/office/drawing/2010/main">
                    <a14:imgLayer r:embed="rId19">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8506921" y="2986792"/>
              <a:ext cx="270192" cy="270192"/>
            </a:xfrm>
            <a:prstGeom prst="rect">
              <a:avLst/>
            </a:prstGeom>
          </p:spPr>
        </p:pic>
        <p:sp>
          <p:nvSpPr>
            <p:cNvPr id="87" name="Ellipse 86">
              <a:extLst>
                <a:ext uri="{FF2B5EF4-FFF2-40B4-BE49-F238E27FC236}">
                  <a16:creationId xmlns:a16="http://schemas.microsoft.com/office/drawing/2014/main" xmlns="" id="{075D7288-84E3-4C60-B952-00898F4AA016}"/>
                </a:ext>
              </a:extLst>
            </p:cNvPr>
            <p:cNvSpPr/>
            <p:nvPr/>
          </p:nvSpPr>
          <p:spPr>
            <a:xfrm>
              <a:off x="8442642" y="2934521"/>
              <a:ext cx="396000" cy="39600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9" name="Gruppieren 8">
            <a:extLst>
              <a:ext uri="{FF2B5EF4-FFF2-40B4-BE49-F238E27FC236}">
                <a16:creationId xmlns:a16="http://schemas.microsoft.com/office/drawing/2014/main" xmlns="" id="{5E5D2FB5-DCEC-4D7A-9203-B4D111525125}"/>
              </a:ext>
            </a:extLst>
          </p:cNvPr>
          <p:cNvGrpSpPr/>
          <p:nvPr/>
        </p:nvGrpSpPr>
        <p:grpSpPr>
          <a:xfrm>
            <a:off x="2495825" y="1839803"/>
            <a:ext cx="396000" cy="396000"/>
            <a:chOff x="2483768" y="1984681"/>
            <a:chExt cx="396000" cy="396000"/>
          </a:xfrm>
        </p:grpSpPr>
        <p:pic>
          <p:nvPicPr>
            <p:cNvPr id="88" name="Grafik 87">
              <a:extLst>
                <a:ext uri="{FF2B5EF4-FFF2-40B4-BE49-F238E27FC236}">
                  <a16:creationId xmlns:a16="http://schemas.microsoft.com/office/drawing/2014/main" xmlns="" id="{80E336DB-D710-4130-AA8F-7487C0D606A0}"/>
                </a:ext>
              </a:extLst>
            </p:cNvPr>
            <p:cNvPicPr>
              <a:picLocks noChangeAspect="1"/>
            </p:cNvPicPr>
            <p:nvPr/>
          </p:nvPicPr>
          <p:blipFill rotWithShape="1">
            <a:blip r:embed="rId20">
              <a:duotone>
                <a:schemeClr val="accent5">
                  <a:shade val="45000"/>
                  <a:satMod val="135000"/>
                </a:schemeClr>
                <a:prstClr val="white"/>
              </a:duotone>
              <a:extLst>
                <a:ext uri="{BEBA8EAE-BF5A-486C-A8C5-ECC9F3942E4B}">
                  <a14:imgProps xmlns:a14="http://schemas.microsoft.com/office/drawing/2010/main">
                    <a14:imgLayer r:embed="rId21">
                      <a14:imgEffect>
                        <a14:brightnessContrast contrast="-70000"/>
                      </a14:imgEffect>
                    </a14:imgLayer>
                  </a14:imgProps>
                </a:ext>
                <a:ext uri="{28A0092B-C50C-407E-A947-70E740481C1C}">
                  <a14:useLocalDpi xmlns:a14="http://schemas.microsoft.com/office/drawing/2010/main" val="0"/>
                </a:ext>
              </a:extLst>
            </a:blip>
            <a:srcRect l="11820" t="15135" r="11820" b="15134"/>
            <a:stretch/>
          </p:blipFill>
          <p:spPr>
            <a:xfrm>
              <a:off x="2508637" y="2024435"/>
              <a:ext cx="346492" cy="316416"/>
            </a:xfrm>
            <a:prstGeom prst="rect">
              <a:avLst/>
            </a:prstGeom>
          </p:spPr>
        </p:pic>
        <p:sp>
          <p:nvSpPr>
            <p:cNvPr id="91" name="Ellipse 90">
              <a:extLst>
                <a:ext uri="{FF2B5EF4-FFF2-40B4-BE49-F238E27FC236}">
                  <a16:creationId xmlns:a16="http://schemas.microsoft.com/office/drawing/2014/main" xmlns="" id="{01E3A7C9-AE73-4247-A6DC-B2F3AB510046}"/>
                </a:ext>
              </a:extLst>
            </p:cNvPr>
            <p:cNvSpPr/>
            <p:nvPr/>
          </p:nvSpPr>
          <p:spPr>
            <a:xfrm>
              <a:off x="2483768" y="1984681"/>
              <a:ext cx="396000" cy="39600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0" name="Gruppieren 9">
            <a:extLst>
              <a:ext uri="{FF2B5EF4-FFF2-40B4-BE49-F238E27FC236}">
                <a16:creationId xmlns:a16="http://schemas.microsoft.com/office/drawing/2014/main" xmlns="" id="{0F58C1B4-1310-4707-9F35-A889B3644D40}"/>
              </a:ext>
            </a:extLst>
          </p:cNvPr>
          <p:cNvGrpSpPr/>
          <p:nvPr/>
        </p:nvGrpSpPr>
        <p:grpSpPr>
          <a:xfrm>
            <a:off x="2495825" y="4887412"/>
            <a:ext cx="396000" cy="396000"/>
            <a:chOff x="2483768" y="4911495"/>
            <a:chExt cx="396000" cy="396000"/>
          </a:xfrm>
        </p:grpSpPr>
        <p:pic>
          <p:nvPicPr>
            <p:cNvPr id="8" name="Grafik 7">
              <a:extLst>
                <a:ext uri="{FF2B5EF4-FFF2-40B4-BE49-F238E27FC236}">
                  <a16:creationId xmlns:a16="http://schemas.microsoft.com/office/drawing/2014/main" xmlns="" id="{C64248DB-516E-4B76-90CE-521F93A0C36C}"/>
                </a:ext>
              </a:extLst>
            </p:cNvPr>
            <p:cNvPicPr>
              <a:picLocks noChangeAspect="1"/>
            </p:cNvPicPr>
            <p:nvPr/>
          </p:nvPicPr>
          <p:blipFill rotWithShape="1">
            <a:blip r:embed="rId22">
              <a:clrChange>
                <a:clrFrom>
                  <a:srgbClr val="F9F9F9"/>
                </a:clrFrom>
                <a:clrTo>
                  <a:srgbClr val="F9F9F9">
                    <a:alpha val="0"/>
                  </a:srgbClr>
                </a:clrTo>
              </a:clrChange>
              <a:duotone>
                <a:schemeClr val="accent5">
                  <a:shade val="45000"/>
                  <a:satMod val="135000"/>
                </a:schemeClr>
                <a:prstClr val="white"/>
              </a:duotone>
              <a:extLst>
                <a:ext uri="{BEBA8EAE-BF5A-486C-A8C5-ECC9F3942E4B}">
                  <a14:imgProps xmlns:a14="http://schemas.microsoft.com/office/drawing/2010/main">
                    <a14:imgLayer r:embed="rId23">
                      <a14:imgEffect>
                        <a14:colorTemperature colorTemp="5300"/>
                      </a14:imgEffect>
                      <a14:imgEffect>
                        <a14:saturation sat="0"/>
                      </a14:imgEffect>
                    </a14:imgLayer>
                  </a14:imgProps>
                </a:ext>
              </a:extLst>
            </a:blip>
            <a:srcRect l="2992" t="24594" r="79941" b="23634"/>
            <a:stretch/>
          </p:blipFill>
          <p:spPr>
            <a:xfrm>
              <a:off x="2502192" y="4992589"/>
              <a:ext cx="346528" cy="247195"/>
            </a:xfrm>
            <a:prstGeom prst="rect">
              <a:avLst/>
            </a:prstGeom>
          </p:spPr>
        </p:pic>
        <p:sp>
          <p:nvSpPr>
            <p:cNvPr id="92" name="Ellipse 91">
              <a:extLst>
                <a:ext uri="{FF2B5EF4-FFF2-40B4-BE49-F238E27FC236}">
                  <a16:creationId xmlns:a16="http://schemas.microsoft.com/office/drawing/2014/main" xmlns="" id="{3EAA146D-9ABD-4A88-A0C7-1D9F7488F9BA}"/>
                </a:ext>
              </a:extLst>
            </p:cNvPr>
            <p:cNvSpPr/>
            <p:nvPr/>
          </p:nvSpPr>
          <p:spPr>
            <a:xfrm>
              <a:off x="2483768" y="4911495"/>
              <a:ext cx="396000" cy="39600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93" name="Gruppieren 92">
            <a:extLst>
              <a:ext uri="{FF2B5EF4-FFF2-40B4-BE49-F238E27FC236}">
                <a16:creationId xmlns:a16="http://schemas.microsoft.com/office/drawing/2014/main" xmlns="" id="{778B1938-803E-4564-AE37-29C3E2A682D3}"/>
              </a:ext>
            </a:extLst>
          </p:cNvPr>
          <p:cNvGrpSpPr/>
          <p:nvPr>
            <p:custDataLst>
              <p:tags r:id="rId10"/>
            </p:custDataLst>
          </p:nvPr>
        </p:nvGrpSpPr>
        <p:grpSpPr>
          <a:xfrm>
            <a:off x="1835696" y="2411559"/>
            <a:ext cx="277144" cy="277144"/>
            <a:chOff x="1259632" y="5733256"/>
            <a:chExt cx="576065" cy="576065"/>
          </a:xfrm>
        </p:grpSpPr>
        <p:sp>
          <p:nvSpPr>
            <p:cNvPr id="94" name="Ellipse 93">
              <a:extLst>
                <a:ext uri="{FF2B5EF4-FFF2-40B4-BE49-F238E27FC236}">
                  <a16:creationId xmlns:a16="http://schemas.microsoft.com/office/drawing/2014/main" xmlns="" id="{2BC783DA-98EC-48D8-B85D-146AFEE204F8}"/>
                </a:ext>
              </a:extLst>
            </p:cNvPr>
            <p:cNvSpPr/>
            <p:nvPr/>
          </p:nvSpPr>
          <p:spPr>
            <a:xfrm>
              <a:off x="1259632" y="5733256"/>
              <a:ext cx="576065" cy="576065"/>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Rechteck 94">
              <a:extLst>
                <a:ext uri="{FF2B5EF4-FFF2-40B4-BE49-F238E27FC236}">
                  <a16:creationId xmlns:a16="http://schemas.microsoft.com/office/drawing/2014/main" xmlns="" id="{DC01443B-A5B6-4A71-878B-F53250A7EFFB}"/>
                </a:ext>
              </a:extLst>
            </p:cNvPr>
            <p:cNvSpPr/>
            <p:nvPr/>
          </p:nvSpPr>
          <p:spPr>
            <a:xfrm>
              <a:off x="1338772" y="5967709"/>
              <a:ext cx="417784" cy="10715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Rechteck 95">
              <a:extLst>
                <a:ext uri="{FF2B5EF4-FFF2-40B4-BE49-F238E27FC236}">
                  <a16:creationId xmlns:a16="http://schemas.microsoft.com/office/drawing/2014/main" xmlns="" id="{95496033-728E-4449-93F4-F416C4158FCA}"/>
                </a:ext>
              </a:extLst>
            </p:cNvPr>
            <p:cNvSpPr/>
            <p:nvPr/>
          </p:nvSpPr>
          <p:spPr>
            <a:xfrm rot="16200000">
              <a:off x="1338773" y="5967709"/>
              <a:ext cx="417784" cy="10715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97" name="Gruppieren 96">
            <a:extLst>
              <a:ext uri="{FF2B5EF4-FFF2-40B4-BE49-F238E27FC236}">
                <a16:creationId xmlns:a16="http://schemas.microsoft.com/office/drawing/2014/main" xmlns="" id="{99AFFEA5-88FB-452D-A1B0-46CEC41DED70}"/>
              </a:ext>
            </a:extLst>
          </p:cNvPr>
          <p:cNvGrpSpPr/>
          <p:nvPr>
            <p:custDataLst>
              <p:tags r:id="rId11"/>
            </p:custDataLst>
          </p:nvPr>
        </p:nvGrpSpPr>
        <p:grpSpPr>
          <a:xfrm>
            <a:off x="1835696" y="3441660"/>
            <a:ext cx="277144" cy="277144"/>
            <a:chOff x="1259632" y="5733256"/>
            <a:chExt cx="576065" cy="576065"/>
          </a:xfrm>
        </p:grpSpPr>
        <p:sp>
          <p:nvSpPr>
            <p:cNvPr id="98" name="Ellipse 97">
              <a:extLst>
                <a:ext uri="{FF2B5EF4-FFF2-40B4-BE49-F238E27FC236}">
                  <a16:creationId xmlns:a16="http://schemas.microsoft.com/office/drawing/2014/main" xmlns="" id="{834478BC-F1A0-4870-8A2D-1AE6CCD7B19E}"/>
                </a:ext>
              </a:extLst>
            </p:cNvPr>
            <p:cNvSpPr/>
            <p:nvPr/>
          </p:nvSpPr>
          <p:spPr>
            <a:xfrm>
              <a:off x="1259632" y="5733256"/>
              <a:ext cx="576065" cy="576065"/>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9" name="Rechteck 98">
              <a:extLst>
                <a:ext uri="{FF2B5EF4-FFF2-40B4-BE49-F238E27FC236}">
                  <a16:creationId xmlns:a16="http://schemas.microsoft.com/office/drawing/2014/main" xmlns="" id="{6E7B01D5-2CDE-4F80-A146-9A17816DDDD2}"/>
                </a:ext>
              </a:extLst>
            </p:cNvPr>
            <p:cNvSpPr/>
            <p:nvPr/>
          </p:nvSpPr>
          <p:spPr>
            <a:xfrm>
              <a:off x="1338772" y="5967709"/>
              <a:ext cx="417784" cy="10715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00" name="Rechteck 99">
              <a:extLst>
                <a:ext uri="{FF2B5EF4-FFF2-40B4-BE49-F238E27FC236}">
                  <a16:creationId xmlns:a16="http://schemas.microsoft.com/office/drawing/2014/main" xmlns="" id="{5BDF7BE7-351F-45D4-B959-F196A3267BF2}"/>
                </a:ext>
              </a:extLst>
            </p:cNvPr>
            <p:cNvSpPr/>
            <p:nvPr/>
          </p:nvSpPr>
          <p:spPr>
            <a:xfrm rot="16200000">
              <a:off x="1338773" y="5967709"/>
              <a:ext cx="417784" cy="10715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sp>
        <p:nvSpPr>
          <p:cNvPr id="90" name="Textfeld 89">
            <a:extLst>
              <a:ext uri="{FF2B5EF4-FFF2-40B4-BE49-F238E27FC236}">
                <a16:creationId xmlns:a16="http://schemas.microsoft.com/office/drawing/2014/main" xmlns="" id="{9A120944-6D52-4ABC-BA9D-5304B619E85D}"/>
              </a:ext>
            </a:extLst>
          </p:cNvPr>
          <p:cNvSpPr txBox="1"/>
          <p:nvPr/>
        </p:nvSpPr>
        <p:spPr>
          <a:xfrm>
            <a:off x="3756291" y="5613751"/>
            <a:ext cx="3904218" cy="400110"/>
          </a:xfrm>
          <a:prstGeom prst="rect">
            <a:avLst/>
          </a:prstGeom>
          <a:noFill/>
        </p:spPr>
        <p:txBody>
          <a:bodyPr wrap="square" rtlCol="0">
            <a:spAutoFit/>
          </a:bodyPr>
          <a:lstStyle/>
          <a:p>
            <a:pPr marL="176213" lvl="1" indent="-176213">
              <a:buFont typeface="+mj-lt"/>
              <a:buAutoNum type="arabicParenR" startAt="4"/>
              <a:tabLst>
                <a:tab pos="176213" algn="l"/>
              </a:tabLst>
            </a:pPr>
            <a:r>
              <a:rPr lang="de-DE" sz="1000" dirty="0">
                <a:latin typeface="Arial" panose="020B0604020202020204" pitchFamily="34" charset="0"/>
                <a:cs typeface="Arial" panose="020B0604020202020204" pitchFamily="34" charset="0"/>
                <a:sym typeface="Arial" panose="020B0604020202020204" pitchFamily="34" charset="0"/>
              </a:rPr>
              <a:t>Prozentpunkte   Quelle: Wiener Linien, Stadt Wien</a:t>
            </a:r>
            <a:endParaRPr lang="de-DE" sz="800" dirty="0">
              <a:latin typeface="Arial" panose="020B0604020202020204" pitchFamily="34" charset="0"/>
              <a:cs typeface="Arial" panose="020B0604020202020204" pitchFamily="34" charset="0"/>
              <a:sym typeface="Arial" panose="020B0604020202020204" pitchFamily="34" charset="0"/>
            </a:endParaRPr>
          </a:p>
          <a:p>
            <a:pPr marL="179388" lvl="1" indent="-179388">
              <a:buAutoNum type="arabicParenR" startAt="4"/>
              <a:tabLst>
                <a:tab pos="180975" algn="l"/>
              </a:tabLst>
            </a:pPr>
            <a:r>
              <a:rPr lang="de-DE" sz="1000" dirty="0">
                <a:latin typeface="Arial" panose="020B0604020202020204" pitchFamily="34" charset="0"/>
                <a:cs typeface="Arial" panose="020B0604020202020204" pitchFamily="34" charset="0"/>
                <a:sym typeface="Arial" panose="020B0604020202020204" pitchFamily="34" charset="0"/>
              </a:rPr>
              <a:t>Bei Barzahlung; andernfalls bis zu 145,- € (später als 14 Tage)</a:t>
            </a:r>
          </a:p>
        </p:txBody>
      </p:sp>
      <p:graphicFrame>
        <p:nvGraphicFramePr>
          <p:cNvPr id="12" name="Objekt 11">
            <a:extLst>
              <a:ext uri="{FF2B5EF4-FFF2-40B4-BE49-F238E27FC236}">
                <a16:creationId xmlns:a16="http://schemas.microsoft.com/office/drawing/2014/main" xmlns="" id="{46497979-4FB1-4562-9927-535397A3E427}"/>
              </a:ext>
            </a:extLst>
          </p:cNvPr>
          <p:cNvGraphicFramePr>
            <a:graphicFrameLocks noChangeAspect="1"/>
          </p:cNvGraphicFramePr>
          <p:nvPr>
            <p:extLst>
              <p:ext uri="{D42A27DB-BD31-4B8C-83A1-F6EECF244321}">
                <p14:modId xmlns:p14="http://schemas.microsoft.com/office/powerpoint/2010/main" val="3898130438"/>
              </p:ext>
            </p:extLst>
          </p:nvPr>
        </p:nvGraphicFramePr>
        <p:xfrm>
          <a:off x="3095538" y="1454720"/>
          <a:ext cx="5508711" cy="4168343"/>
        </p:xfrm>
        <a:graphic>
          <a:graphicData uri="http://schemas.openxmlformats.org/presentationml/2006/ole">
            <mc:AlternateContent xmlns:mc="http://schemas.openxmlformats.org/markup-compatibility/2006">
              <mc:Choice xmlns:v="urn:schemas-microsoft-com:vml" Requires="v">
                <p:oleObj spid="_x0000_s542899" name="Worksheet" r:id="rId24" imgW="3444336" imgH="2606040" progId="Excel.Sheet.12">
                  <p:link updateAutomatic="1"/>
                </p:oleObj>
              </mc:Choice>
              <mc:Fallback>
                <p:oleObj name="Worksheet" r:id="rId24" imgW="3444336" imgH="2606040" progId="Excel.Sheet.12">
                  <p:link updateAutomatic="1"/>
                  <p:pic>
                    <p:nvPicPr>
                      <p:cNvPr id="0" name=""/>
                      <p:cNvPicPr/>
                      <p:nvPr/>
                    </p:nvPicPr>
                    <p:blipFill>
                      <a:blip r:embed="rId25"/>
                      <a:stretch>
                        <a:fillRect/>
                      </a:stretch>
                    </p:blipFill>
                    <p:spPr>
                      <a:xfrm>
                        <a:off x="3095538" y="1454720"/>
                        <a:ext cx="5508711" cy="4168343"/>
                      </a:xfrm>
                      <a:prstGeom prst="rect">
                        <a:avLst/>
                      </a:prstGeom>
                    </p:spPr>
                  </p:pic>
                </p:oleObj>
              </mc:Fallback>
            </mc:AlternateContent>
          </a:graphicData>
        </a:graphic>
      </p:graphicFrame>
    </p:spTree>
    <p:extLst>
      <p:ext uri="{BB962C8B-B14F-4D97-AF65-F5344CB8AC3E}">
        <p14:creationId xmlns:p14="http://schemas.microsoft.com/office/powerpoint/2010/main" val="970728288"/>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kt 3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0336" name="think-cell Folie" r:id="rId51" imgW="270" imgH="270" progId="TCLayout.ActiveDocument.1">
                  <p:embed/>
                </p:oleObj>
              </mc:Choice>
              <mc:Fallback>
                <p:oleObj name="think-cell Folie" r:id="rId51" imgW="270" imgH="270" progId="TCLayout.ActiveDocument.1">
                  <p:embed/>
                  <p:pic>
                    <p:nvPicPr>
                      <p:cNvPr id="31" name="Objekt 30" hidden="1"/>
                      <p:cNvPicPr/>
                      <p:nvPr/>
                    </p:nvPicPr>
                    <p:blipFill>
                      <a:blip r:embed="rId52"/>
                      <a:stretch>
                        <a:fillRect/>
                      </a:stretch>
                    </p:blipFill>
                    <p:spPr>
                      <a:xfrm>
                        <a:off x="0" y="0"/>
                        <a:ext cx="158750" cy="158750"/>
                      </a:xfrm>
                      <a:prstGeom prst="rect">
                        <a:avLst/>
                      </a:prstGeom>
                    </p:spPr>
                  </p:pic>
                </p:oleObj>
              </mc:Fallback>
            </mc:AlternateContent>
          </a:graphicData>
        </a:graphic>
      </p:graphicFrame>
      <p:sp>
        <p:nvSpPr>
          <p:cNvPr id="5" name="Rechteck 4" hidden="1"/>
          <p:cNvSpPr/>
          <p:nvPr>
            <p:custDataLst>
              <p:tags r:id="rId3"/>
            </p:custDataLst>
          </p:nvPr>
        </p:nvSpPr>
        <p:spPr bwMode="auto">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prstClr val="black"/>
              </a:solidFill>
              <a:latin typeface="Arial" panose="020B0604020202020204" pitchFamily="34" charset="0"/>
              <a:ea typeface="+mj-ea"/>
              <a:cs typeface="+mj-cs"/>
              <a:sym typeface="Arial" panose="020B0604020202020204" pitchFamily="34" charset="0"/>
            </a:endParaRPr>
          </a:p>
        </p:txBody>
      </p:sp>
      <p:sp>
        <p:nvSpPr>
          <p:cNvPr id="639" name="Inhaltsplatzhalter 2">
            <a:extLst>
              <a:ext uri="{FF2B5EF4-FFF2-40B4-BE49-F238E27FC236}">
                <a16:creationId xmlns:a16="http://schemas.microsoft.com/office/drawing/2014/main" xmlns="" id="{9940B45F-C2F8-4AF7-9A4A-0861ADD3938D}"/>
              </a:ext>
            </a:extLst>
          </p:cNvPr>
          <p:cNvSpPr txBox="1">
            <a:spLocks/>
          </p:cNvSpPr>
          <p:nvPr>
            <p:custDataLst>
              <p:tags r:id="rId4"/>
            </p:custDataLst>
          </p:nvPr>
        </p:nvSpPr>
        <p:spPr>
          <a:xfrm>
            <a:off x="3276600" y="1781175"/>
            <a:ext cx="2592387" cy="1990725"/>
          </a:xfrm>
          <a:prstGeom prst="rect">
            <a:avLst/>
          </a:prstGeom>
          <a:solidFill>
            <a:schemeClr val="bg1"/>
          </a:solidFill>
          <a:ln>
            <a:solidFill>
              <a:schemeClr val="accent5"/>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000" b="1" dirty="0"/>
              <a:t>Monatskarten </a:t>
            </a:r>
          </a:p>
        </p:txBody>
      </p:sp>
      <p:sp>
        <p:nvSpPr>
          <p:cNvPr id="640" name="Inhaltsplatzhalter 2">
            <a:extLst>
              <a:ext uri="{FF2B5EF4-FFF2-40B4-BE49-F238E27FC236}">
                <a16:creationId xmlns:a16="http://schemas.microsoft.com/office/drawing/2014/main" xmlns="" id="{FACC674A-DA68-4599-9363-358C3D9EBE57}"/>
              </a:ext>
            </a:extLst>
          </p:cNvPr>
          <p:cNvSpPr txBox="1">
            <a:spLocks/>
          </p:cNvSpPr>
          <p:nvPr>
            <p:custDataLst>
              <p:tags r:id="rId5"/>
            </p:custDataLst>
          </p:nvPr>
        </p:nvSpPr>
        <p:spPr>
          <a:xfrm>
            <a:off x="6011863" y="1781175"/>
            <a:ext cx="2592584" cy="1990725"/>
          </a:xfrm>
          <a:prstGeom prst="rect">
            <a:avLst/>
          </a:prstGeom>
          <a:solidFill>
            <a:schemeClr val="bg1"/>
          </a:solidFill>
          <a:ln>
            <a:solidFill>
              <a:schemeClr val="accent5"/>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000" b="1" dirty="0"/>
              <a:t>Wochenkarten</a:t>
            </a:r>
          </a:p>
        </p:txBody>
      </p:sp>
      <p:sp>
        <p:nvSpPr>
          <p:cNvPr id="642" name="Inhaltsplatzhalter 2">
            <a:extLst>
              <a:ext uri="{FF2B5EF4-FFF2-40B4-BE49-F238E27FC236}">
                <a16:creationId xmlns:a16="http://schemas.microsoft.com/office/drawing/2014/main" xmlns="" id="{FE93BF01-FB7F-43B8-A757-6832DC84376E}"/>
              </a:ext>
            </a:extLst>
          </p:cNvPr>
          <p:cNvSpPr txBox="1">
            <a:spLocks/>
          </p:cNvSpPr>
          <p:nvPr>
            <p:custDataLst>
              <p:tags r:id="rId6"/>
            </p:custDataLst>
          </p:nvPr>
        </p:nvSpPr>
        <p:spPr>
          <a:xfrm>
            <a:off x="3276600" y="3816350"/>
            <a:ext cx="2592387" cy="1989138"/>
          </a:xfrm>
          <a:prstGeom prst="rect">
            <a:avLst/>
          </a:prstGeom>
          <a:solidFill>
            <a:schemeClr val="bg1"/>
          </a:solidFill>
          <a:ln>
            <a:solidFill>
              <a:schemeClr val="accent5"/>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000" b="1" dirty="0"/>
              <a:t>8-Tageskarten</a:t>
            </a:r>
          </a:p>
        </p:txBody>
      </p:sp>
      <p:sp>
        <p:nvSpPr>
          <p:cNvPr id="643" name="Inhaltsplatzhalter 2">
            <a:extLst>
              <a:ext uri="{FF2B5EF4-FFF2-40B4-BE49-F238E27FC236}">
                <a16:creationId xmlns:a16="http://schemas.microsoft.com/office/drawing/2014/main" xmlns="" id="{B6FE5F17-FB1C-43E9-8607-8DF2D4F082C0}"/>
              </a:ext>
            </a:extLst>
          </p:cNvPr>
          <p:cNvSpPr txBox="1">
            <a:spLocks/>
          </p:cNvSpPr>
          <p:nvPr>
            <p:custDataLst>
              <p:tags r:id="rId7"/>
            </p:custDataLst>
          </p:nvPr>
        </p:nvSpPr>
        <p:spPr>
          <a:xfrm>
            <a:off x="6011863" y="3816350"/>
            <a:ext cx="2592584" cy="1989138"/>
          </a:xfrm>
          <a:prstGeom prst="rect">
            <a:avLst/>
          </a:prstGeom>
          <a:solidFill>
            <a:schemeClr val="bg1"/>
          </a:solidFill>
          <a:ln>
            <a:solidFill>
              <a:schemeClr val="accent5"/>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000" b="1" dirty="0"/>
              <a:t>Einzelfahrten</a:t>
            </a:r>
          </a:p>
        </p:txBody>
      </p:sp>
      <p:sp>
        <p:nvSpPr>
          <p:cNvPr id="638" name="Inhaltsplatzhalter 2">
            <a:extLst>
              <a:ext uri="{FF2B5EF4-FFF2-40B4-BE49-F238E27FC236}">
                <a16:creationId xmlns:a16="http://schemas.microsoft.com/office/drawing/2014/main" xmlns="" id="{E7982CFC-F78B-4C9B-8370-7301340B858D}"/>
              </a:ext>
            </a:extLst>
          </p:cNvPr>
          <p:cNvSpPr txBox="1">
            <a:spLocks/>
          </p:cNvSpPr>
          <p:nvPr>
            <p:custDataLst>
              <p:tags r:id="rId8"/>
            </p:custDataLst>
          </p:nvPr>
        </p:nvSpPr>
        <p:spPr>
          <a:xfrm>
            <a:off x="539750" y="2452688"/>
            <a:ext cx="2592388" cy="2571750"/>
          </a:xfrm>
          <a:prstGeom prst="rect">
            <a:avLst/>
          </a:prstGeom>
          <a:solidFill>
            <a:schemeClr val="bg1"/>
          </a:solidFill>
          <a:ln>
            <a:solidFill>
              <a:schemeClr val="accent5"/>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000" b="1" dirty="0"/>
              <a:t>Jahreskarten und Seniorenjahreskarten</a:t>
            </a:r>
          </a:p>
        </p:txBody>
      </p:sp>
      <p:sp>
        <p:nvSpPr>
          <p:cNvPr id="2" name="Titel 1"/>
          <p:cNvSpPr>
            <a:spLocks noGrp="1"/>
          </p:cNvSpPr>
          <p:nvPr>
            <p:ph type="title"/>
          </p:nvPr>
        </p:nvSpPr>
        <p:spPr>
          <a:noFill/>
        </p:spPr>
        <p:txBody>
          <a:bodyPr/>
          <a:lstStyle/>
          <a:p>
            <a:r>
              <a:rPr lang="de-DE" dirty="0"/>
              <a:t>Der Absatz der anderen Tarifprodukte ist im Gegenzug massiv eingebrochen</a:t>
            </a:r>
            <a:br>
              <a:rPr lang="de-DE" dirty="0"/>
            </a:br>
            <a:endParaRPr lang="de-DE" dirty="0"/>
          </a:p>
        </p:txBody>
      </p:sp>
      <p:sp>
        <p:nvSpPr>
          <p:cNvPr id="3" name="Inhaltsplatzhalter 2"/>
          <p:cNvSpPr>
            <a:spLocks noGrp="1"/>
          </p:cNvSpPr>
          <p:nvPr>
            <p:ph idx="1"/>
          </p:nvPr>
        </p:nvSpPr>
        <p:spPr>
          <a:xfrm>
            <a:off x="451758" y="1083558"/>
            <a:ext cx="8152492" cy="292316"/>
          </a:xfrm>
        </p:spPr>
        <p:txBody>
          <a:bodyPr/>
          <a:lstStyle/>
          <a:p>
            <a:r>
              <a:rPr lang="de-DE" dirty="0"/>
              <a:t>Absatzentwicklung nach Produktgruppen 1997-2017 </a:t>
            </a:r>
          </a:p>
        </p:txBody>
      </p:sp>
      <p:sp>
        <p:nvSpPr>
          <p:cNvPr id="4" name="Foliennummernplatzhalter 3"/>
          <p:cNvSpPr>
            <a:spLocks noGrp="1"/>
          </p:cNvSpPr>
          <p:nvPr>
            <p:ph type="sldNum" sz="quarter" idx="11"/>
          </p:nvPr>
        </p:nvSpPr>
        <p:spPr/>
        <p:txBody>
          <a:bodyPr/>
          <a:lstStyle/>
          <a:p>
            <a:fld id="{CD21EFEB-933F-4F46-A5AD-B6372944D9E5}" type="slidenum">
              <a:rPr lang="de-DE" smtClean="0">
                <a:solidFill>
                  <a:srgbClr val="868889"/>
                </a:solidFill>
              </a:rPr>
              <a:pPr/>
              <a:t>35</a:t>
            </a:fld>
            <a:endParaRPr lang="de-DE" dirty="0">
              <a:solidFill>
                <a:srgbClr val="868889"/>
              </a:solidFill>
            </a:endParaRPr>
          </a:p>
        </p:txBody>
      </p:sp>
      <p:sp>
        <p:nvSpPr>
          <p:cNvPr id="6" name="Rechteck 5">
            <a:extLst>
              <a:ext uri="{FF2B5EF4-FFF2-40B4-BE49-F238E27FC236}">
                <a16:creationId xmlns:a16="http://schemas.microsoft.com/office/drawing/2014/main" xmlns="" id="{81F26C54-6C57-4BFB-8A40-9F6FBC42CDDA}"/>
              </a:ext>
            </a:extLst>
          </p:cNvPr>
          <p:cNvSpPr/>
          <p:nvPr>
            <p:custDataLst>
              <p:tags r:id="rId9"/>
            </p:custDataLst>
          </p:nvPr>
        </p:nvSpPr>
        <p:spPr bwMode="auto">
          <a:xfrm>
            <a:off x="676275" y="4792663"/>
            <a:ext cx="142875" cy="1063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1" name="Rechteck 10">
            <a:extLst>
              <a:ext uri="{FF2B5EF4-FFF2-40B4-BE49-F238E27FC236}">
                <a16:creationId xmlns:a16="http://schemas.microsoft.com/office/drawing/2014/main" xmlns="" id="{13835C6F-4F0A-47AE-A203-F9125954EB78}"/>
              </a:ext>
            </a:extLst>
          </p:cNvPr>
          <p:cNvSpPr/>
          <p:nvPr>
            <p:custDataLst>
              <p:tags r:id="rId10"/>
            </p:custDataLst>
          </p:nvPr>
        </p:nvSpPr>
        <p:spPr bwMode="auto">
          <a:xfrm>
            <a:off x="1590675" y="4792663"/>
            <a:ext cx="142875" cy="1063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29" name="Textplatzhalter 2"/>
          <p:cNvSpPr>
            <a:spLocks noGrp="1"/>
          </p:cNvSpPr>
          <p:nvPr>
            <p:custDataLst>
              <p:tags r:id="rId11"/>
            </p:custDataLst>
          </p:nvPr>
        </p:nvSpPr>
        <p:spPr bwMode="auto">
          <a:xfrm>
            <a:off x="869950" y="4787900"/>
            <a:ext cx="6191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95E5BF85-5915-4F51-9650-79A24CF56471}" type="datetime'J''''''''''ah''r''''''''e''''s''k''a''r''''ten'''''''' '''''">
              <a:rPr lang="de-DE" altLang="en-US" sz="800" smtClean="0"/>
              <a:pPr lvl="1">
                <a:spcBef>
                  <a:spcPct val="0"/>
                </a:spcBef>
                <a:spcAft>
                  <a:spcPct val="0"/>
                </a:spcAft>
              </a:pPr>
              <a:t>Jahreskarten </a:t>
            </a:fld>
            <a:endParaRPr lang="de-DE" sz="800" dirty="0">
              <a:sym typeface="+mn-lt"/>
            </a:endParaRPr>
          </a:p>
        </p:txBody>
      </p:sp>
      <p:sp>
        <p:nvSpPr>
          <p:cNvPr id="30" name="Textplatzhalter 2"/>
          <p:cNvSpPr>
            <a:spLocks noGrp="1"/>
          </p:cNvSpPr>
          <p:nvPr>
            <p:custDataLst>
              <p:tags r:id="rId12"/>
            </p:custDataLst>
          </p:nvPr>
        </p:nvSpPr>
        <p:spPr bwMode="auto">
          <a:xfrm>
            <a:off x="1784350" y="4787900"/>
            <a:ext cx="9715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47F0F917-5097-49C8-AE82-A5EA73212997}" type="datetime'''S''''''e''nioren''ja''''''''h''re''''s''kar''t''''''en'''''">
              <a:rPr lang="de-DE" altLang="en-US" sz="800" smtClean="0"/>
              <a:pPr lvl="1">
                <a:spcBef>
                  <a:spcPct val="0"/>
                </a:spcBef>
                <a:spcAft>
                  <a:spcPct val="0"/>
                </a:spcAft>
              </a:pPr>
              <a:t>Seniorenjahreskarten</a:t>
            </a:fld>
            <a:endParaRPr lang="de-DE" sz="800" dirty="0">
              <a:sym typeface="+mn-lt"/>
            </a:endParaRPr>
          </a:p>
        </p:txBody>
      </p:sp>
      <p:graphicFrame>
        <p:nvGraphicFramePr>
          <p:cNvPr id="88" name="Chart 3">
            <a:extLst>
              <a:ext uri="{FF2B5EF4-FFF2-40B4-BE49-F238E27FC236}">
                <a16:creationId xmlns:a16="http://schemas.microsoft.com/office/drawing/2014/main" xmlns="" id="{39D24C9E-EBDB-4D9A-B3AE-C99EECD13C89}"/>
              </a:ext>
            </a:extLst>
          </p:cNvPr>
          <p:cNvGraphicFramePr/>
          <p:nvPr>
            <p:custDataLst>
              <p:tags r:id="rId13"/>
            </p:custDataLst>
          </p:nvPr>
        </p:nvGraphicFramePr>
        <p:xfrm>
          <a:off x="3556000" y="2109788"/>
          <a:ext cx="2301875" cy="1538287"/>
        </p:xfrm>
        <a:graphic>
          <a:graphicData uri="http://schemas.openxmlformats.org/drawingml/2006/chart">
            <c:chart xmlns:c="http://schemas.openxmlformats.org/drawingml/2006/chart" xmlns:r="http://schemas.openxmlformats.org/officeDocument/2006/relationships" r:id="rId53"/>
          </a:graphicData>
        </a:graphic>
      </p:graphicFrame>
      <p:cxnSp>
        <p:nvCxnSpPr>
          <p:cNvPr id="217" name="Gerade Verbindung 5">
            <a:extLst>
              <a:ext uri="{FF2B5EF4-FFF2-40B4-BE49-F238E27FC236}">
                <a16:creationId xmlns:a16="http://schemas.microsoft.com/office/drawing/2014/main" xmlns="" id="{231355F7-C4F3-4F4D-8D77-ABE9CF26B027}"/>
              </a:ext>
            </a:extLst>
          </p:cNvPr>
          <p:cNvCxnSpPr/>
          <p:nvPr>
            <p:custDataLst>
              <p:tags r:id="rId14"/>
            </p:custDataLst>
          </p:nvPr>
        </p:nvCxnSpPr>
        <p:spPr bwMode="gray">
          <a:xfrm flipV="1">
            <a:off x="5113338" y="1993900"/>
            <a:ext cx="0" cy="227013"/>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12">
            <a:extLst>
              <a:ext uri="{FF2B5EF4-FFF2-40B4-BE49-F238E27FC236}">
                <a16:creationId xmlns:a16="http://schemas.microsoft.com/office/drawing/2014/main" xmlns="" id="{6563B644-84ED-41EA-8ABD-78EC4053B11C}"/>
              </a:ext>
            </a:extLst>
          </p:cNvPr>
          <p:cNvCxnSpPr/>
          <p:nvPr>
            <p:custDataLst>
              <p:tags r:id="rId15"/>
            </p:custDataLst>
          </p:nvPr>
        </p:nvCxnSpPr>
        <p:spPr bwMode="gray">
          <a:xfrm>
            <a:off x="5113338" y="1993900"/>
            <a:ext cx="611188"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13">
            <a:extLst>
              <a:ext uri="{FF2B5EF4-FFF2-40B4-BE49-F238E27FC236}">
                <a16:creationId xmlns:a16="http://schemas.microsoft.com/office/drawing/2014/main" xmlns="" id="{D65525FA-95DA-4F35-8123-BFECA88526EF}"/>
              </a:ext>
            </a:extLst>
          </p:cNvPr>
          <p:cNvCxnSpPr/>
          <p:nvPr>
            <p:custDataLst>
              <p:tags r:id="rId16"/>
            </p:custDataLst>
          </p:nvPr>
        </p:nvCxnSpPr>
        <p:spPr bwMode="gray">
          <a:xfrm>
            <a:off x="5724525" y="1993900"/>
            <a:ext cx="0" cy="1071563"/>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3" name="Textplatzhalter 2">
            <a:extLst>
              <a:ext uri="{FF2B5EF4-FFF2-40B4-BE49-F238E27FC236}">
                <a16:creationId xmlns:a16="http://schemas.microsoft.com/office/drawing/2014/main" xmlns="" id="{9BBB41A5-8986-4A7A-830B-6D6D84DCB504}"/>
              </a:ext>
            </a:extLst>
          </p:cNvPr>
          <p:cNvSpPr>
            <a:spLocks noGrp="1"/>
          </p:cNvSpPr>
          <p:nvPr>
            <p:custDataLst>
              <p:tags r:id="rId17"/>
            </p:custDataLst>
          </p:nvPr>
        </p:nvSpPr>
        <p:spPr bwMode="auto">
          <a:xfrm>
            <a:off x="5068888" y="36083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6BD38F85-BA22-4CCF-B1C2-673E1DEEF0CF}" type="datetime'''2''''''''''''''''''''''''''''''''''01''''''''''''''2'''''''">
              <a:rPr lang="de-DE" altLang="en-US" sz="1000" smtClean="0">
                <a:sym typeface="+mn-lt"/>
              </a:rPr>
              <a:pPr lvl="1" algn="ctr">
                <a:spcBef>
                  <a:spcPct val="0"/>
                </a:spcBef>
                <a:spcAft>
                  <a:spcPct val="0"/>
                </a:spcAft>
              </a:pPr>
              <a:t>2012</a:t>
            </a:fld>
            <a:endParaRPr lang="de-DE" sz="1000" dirty="0">
              <a:sym typeface="+mn-lt"/>
            </a:endParaRPr>
          </a:p>
        </p:txBody>
      </p:sp>
      <p:sp>
        <p:nvSpPr>
          <p:cNvPr id="208" name="Textplatzhalter 2">
            <a:extLst>
              <a:ext uri="{FF2B5EF4-FFF2-40B4-BE49-F238E27FC236}">
                <a16:creationId xmlns:a16="http://schemas.microsoft.com/office/drawing/2014/main" xmlns="" id="{5D6E6674-D6DF-40F1-BF6D-BA30A840266B}"/>
              </a:ext>
            </a:extLst>
          </p:cNvPr>
          <p:cNvSpPr>
            <a:spLocks noGrp="1"/>
          </p:cNvSpPr>
          <p:nvPr>
            <p:custDataLst>
              <p:tags r:id="rId18"/>
            </p:custDataLst>
          </p:nvPr>
        </p:nvSpPr>
        <p:spPr bwMode="auto">
          <a:xfrm>
            <a:off x="5578475" y="36083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7AAB56D0-AF29-44D6-8166-8841D25E97DD}" type="datetime'''''''2''''''''''''''''0''17'''''''''''''">
              <a:rPr lang="de-DE" altLang="en-US" sz="1000" smtClean="0">
                <a:sym typeface="+mn-lt"/>
              </a:rPr>
              <a:pPr lvl="1" algn="ctr">
                <a:spcBef>
                  <a:spcPct val="0"/>
                </a:spcBef>
                <a:spcAft>
                  <a:spcPct val="0"/>
                </a:spcAft>
              </a:pPr>
              <a:t>2017</a:t>
            </a:fld>
            <a:endParaRPr lang="de-DE" sz="1000" dirty="0">
              <a:sym typeface="+mn-lt"/>
            </a:endParaRPr>
          </a:p>
        </p:txBody>
      </p:sp>
      <p:sp>
        <p:nvSpPr>
          <p:cNvPr id="427" name="Textplatzhalter 2">
            <a:extLst>
              <a:ext uri="{FF2B5EF4-FFF2-40B4-BE49-F238E27FC236}">
                <a16:creationId xmlns:a16="http://schemas.microsoft.com/office/drawing/2014/main" xmlns="" id="{204B034F-F594-4A2A-B5A2-8B24A7A1F3B3}"/>
              </a:ext>
            </a:extLst>
          </p:cNvPr>
          <p:cNvSpPr>
            <a:spLocks noGrp="1"/>
          </p:cNvSpPr>
          <p:nvPr>
            <p:custDataLst>
              <p:tags r:id="rId19"/>
            </p:custDataLst>
          </p:nvPr>
        </p:nvSpPr>
        <p:spPr bwMode="auto">
          <a:xfrm>
            <a:off x="5124451" y="1843088"/>
            <a:ext cx="587375" cy="301625"/>
          </a:xfrm>
          <a:prstGeom prst="ellipse">
            <a:avLst/>
          </a:prstGeom>
          <a:solidFill>
            <a:schemeClr val="bg1"/>
          </a:solidFill>
          <a:ln w="9525" algn="ctr">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094F4B03-C4D7-42BB-9620-910E2D782F1E}" type="datetime'''''''-''''''''''''6''''''''''''''''5''''''''''''%'''''''''">
              <a:rPr lang="de-DE" altLang="en-US" sz="1400" b="1" smtClean="0"/>
              <a:pPr/>
              <a:t>-65%</a:t>
            </a:fld>
            <a:endParaRPr lang="de-DE" sz="1400" b="1" dirty="0">
              <a:sym typeface="+mn-lt"/>
            </a:endParaRPr>
          </a:p>
        </p:txBody>
      </p:sp>
      <p:graphicFrame>
        <p:nvGraphicFramePr>
          <p:cNvPr id="89" name="Chart 3">
            <a:extLst>
              <a:ext uri="{FF2B5EF4-FFF2-40B4-BE49-F238E27FC236}">
                <a16:creationId xmlns:a16="http://schemas.microsoft.com/office/drawing/2014/main" xmlns="" id="{A6C37058-5B84-48A9-87FC-D2B5786A2846}"/>
              </a:ext>
            </a:extLst>
          </p:cNvPr>
          <p:cNvGraphicFramePr/>
          <p:nvPr>
            <p:custDataLst>
              <p:tags r:id="rId20"/>
            </p:custDataLst>
          </p:nvPr>
        </p:nvGraphicFramePr>
        <p:xfrm>
          <a:off x="6254750" y="2109788"/>
          <a:ext cx="2301875" cy="1538287"/>
        </p:xfrm>
        <a:graphic>
          <a:graphicData uri="http://schemas.openxmlformats.org/drawingml/2006/chart">
            <c:chart xmlns:c="http://schemas.openxmlformats.org/drawingml/2006/chart" xmlns:r="http://schemas.openxmlformats.org/officeDocument/2006/relationships" r:id="rId54"/>
          </a:graphicData>
        </a:graphic>
      </p:graphicFrame>
      <p:cxnSp>
        <p:nvCxnSpPr>
          <p:cNvPr id="267" name="Gerade Verbindung 13">
            <a:extLst>
              <a:ext uri="{FF2B5EF4-FFF2-40B4-BE49-F238E27FC236}">
                <a16:creationId xmlns:a16="http://schemas.microsoft.com/office/drawing/2014/main" xmlns="" id="{DEB46407-9BF2-424E-B727-FC7394BDA071}"/>
              </a:ext>
            </a:extLst>
          </p:cNvPr>
          <p:cNvCxnSpPr/>
          <p:nvPr>
            <p:custDataLst>
              <p:tags r:id="rId21"/>
            </p:custDataLst>
          </p:nvPr>
        </p:nvCxnSpPr>
        <p:spPr bwMode="gray">
          <a:xfrm>
            <a:off x="8423275" y="2311400"/>
            <a:ext cx="0" cy="738188"/>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8" name="Gerade Verbindung 5">
            <a:extLst>
              <a:ext uri="{FF2B5EF4-FFF2-40B4-BE49-F238E27FC236}">
                <a16:creationId xmlns:a16="http://schemas.microsoft.com/office/drawing/2014/main" xmlns="" id="{A037FBF5-D3DE-4FAC-AA51-91881810A4E9}"/>
              </a:ext>
            </a:extLst>
          </p:cNvPr>
          <p:cNvCxnSpPr/>
          <p:nvPr>
            <p:custDataLst>
              <p:tags r:id="rId22"/>
            </p:custDataLst>
          </p:nvPr>
        </p:nvCxnSpPr>
        <p:spPr bwMode="gray">
          <a:xfrm flipV="1">
            <a:off x="7812088" y="2311400"/>
            <a:ext cx="0" cy="227013"/>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Gerade Verbindung 12">
            <a:extLst>
              <a:ext uri="{FF2B5EF4-FFF2-40B4-BE49-F238E27FC236}">
                <a16:creationId xmlns:a16="http://schemas.microsoft.com/office/drawing/2014/main" xmlns="" id="{74C3AB40-C61E-48D1-9378-C217B61D5144}"/>
              </a:ext>
            </a:extLst>
          </p:cNvPr>
          <p:cNvCxnSpPr/>
          <p:nvPr>
            <p:custDataLst>
              <p:tags r:id="rId23"/>
            </p:custDataLst>
          </p:nvPr>
        </p:nvCxnSpPr>
        <p:spPr bwMode="gray">
          <a:xfrm>
            <a:off x="7812088" y="2311400"/>
            <a:ext cx="611188"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1" name="Textplatzhalter 2">
            <a:extLst>
              <a:ext uri="{FF2B5EF4-FFF2-40B4-BE49-F238E27FC236}">
                <a16:creationId xmlns:a16="http://schemas.microsoft.com/office/drawing/2014/main" xmlns="" id="{75CECBDB-F74C-4EB2-9DE1-638A426845F0}"/>
              </a:ext>
            </a:extLst>
          </p:cNvPr>
          <p:cNvSpPr>
            <a:spLocks noGrp="1"/>
          </p:cNvSpPr>
          <p:nvPr>
            <p:custDataLst>
              <p:tags r:id="rId24"/>
            </p:custDataLst>
          </p:nvPr>
        </p:nvSpPr>
        <p:spPr bwMode="auto">
          <a:xfrm>
            <a:off x="7767638" y="36083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4719BB46-3E97-41F6-A35C-61EFA6B180F8}" type="datetime'''''''''''''2''''''''0''''''1''''''''2'''''''''">
              <a:rPr lang="de-DE" altLang="en-US" sz="1000" smtClean="0">
                <a:sym typeface="+mn-lt"/>
              </a:rPr>
              <a:pPr lvl="1" algn="ctr">
                <a:spcBef>
                  <a:spcPct val="0"/>
                </a:spcBef>
                <a:spcAft>
                  <a:spcPct val="0"/>
                </a:spcAft>
              </a:pPr>
              <a:t>2012</a:t>
            </a:fld>
            <a:endParaRPr lang="de-DE" sz="1000" dirty="0">
              <a:sym typeface="+mn-lt"/>
            </a:endParaRPr>
          </a:p>
        </p:txBody>
      </p:sp>
      <p:sp>
        <p:nvSpPr>
          <p:cNvPr id="226" name="Textplatzhalter 2">
            <a:extLst>
              <a:ext uri="{FF2B5EF4-FFF2-40B4-BE49-F238E27FC236}">
                <a16:creationId xmlns:a16="http://schemas.microsoft.com/office/drawing/2014/main" xmlns="" id="{A51BD410-7904-42B9-8537-77466DCC3FBB}"/>
              </a:ext>
            </a:extLst>
          </p:cNvPr>
          <p:cNvSpPr>
            <a:spLocks noGrp="1"/>
          </p:cNvSpPr>
          <p:nvPr>
            <p:custDataLst>
              <p:tags r:id="rId25"/>
            </p:custDataLst>
          </p:nvPr>
        </p:nvSpPr>
        <p:spPr bwMode="auto">
          <a:xfrm>
            <a:off x="8277225" y="36083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CBF1FA88-0064-423B-B3B6-AB707EAAC90A}" type="datetime'''''''20''''''''''''''''1''''''''''7'''''''''''''">
              <a:rPr lang="de-DE" altLang="en-US" sz="1000" smtClean="0">
                <a:sym typeface="+mn-lt"/>
              </a:rPr>
              <a:pPr lvl="1" algn="ctr">
                <a:spcBef>
                  <a:spcPct val="0"/>
                </a:spcBef>
                <a:spcAft>
                  <a:spcPct val="0"/>
                </a:spcAft>
              </a:pPr>
              <a:t>2017</a:t>
            </a:fld>
            <a:endParaRPr lang="de-DE" sz="1000" dirty="0">
              <a:sym typeface="+mn-lt"/>
            </a:endParaRPr>
          </a:p>
        </p:txBody>
      </p:sp>
      <p:sp>
        <p:nvSpPr>
          <p:cNvPr id="270" name="Textplatzhalter 2">
            <a:extLst>
              <a:ext uri="{FF2B5EF4-FFF2-40B4-BE49-F238E27FC236}">
                <a16:creationId xmlns:a16="http://schemas.microsoft.com/office/drawing/2014/main" xmlns="" id="{E1F5297E-89AD-4365-82F4-5E367219E195}"/>
              </a:ext>
            </a:extLst>
          </p:cNvPr>
          <p:cNvSpPr>
            <a:spLocks noGrp="1"/>
          </p:cNvSpPr>
          <p:nvPr>
            <p:custDataLst>
              <p:tags r:id="rId26"/>
            </p:custDataLst>
          </p:nvPr>
        </p:nvSpPr>
        <p:spPr bwMode="auto">
          <a:xfrm>
            <a:off x="7823201" y="2160588"/>
            <a:ext cx="587375" cy="301625"/>
          </a:xfrm>
          <a:prstGeom prst="ellipse">
            <a:avLst/>
          </a:prstGeom>
          <a:solidFill>
            <a:schemeClr val="bg1"/>
          </a:solidFill>
          <a:ln w="9525" algn="ctr">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0B0CE055-1B19-4848-BD0D-DEE7AB64B717}" type="datetime'''-5''''2''''''''''%'''''''''''''''''''''''''''''''''''''">
              <a:rPr lang="en-GB" altLang="en-US" sz="1400" b="1" smtClean="0"/>
              <a:pPr/>
              <a:t>-52%</a:t>
            </a:fld>
            <a:endParaRPr lang="en-GB" sz="1400" b="1" dirty="0">
              <a:sym typeface="+mn-lt"/>
            </a:endParaRPr>
          </a:p>
        </p:txBody>
      </p:sp>
      <p:graphicFrame>
        <p:nvGraphicFramePr>
          <p:cNvPr id="92" name="Chart 3">
            <a:extLst>
              <a:ext uri="{FF2B5EF4-FFF2-40B4-BE49-F238E27FC236}">
                <a16:creationId xmlns:a16="http://schemas.microsoft.com/office/drawing/2014/main" xmlns="" id="{BE3903F3-C8FF-48F2-8EB9-0904B8E60EE2}"/>
              </a:ext>
            </a:extLst>
          </p:cNvPr>
          <p:cNvGraphicFramePr/>
          <p:nvPr>
            <p:custDataLst>
              <p:tags r:id="rId27"/>
            </p:custDataLst>
          </p:nvPr>
        </p:nvGraphicFramePr>
        <p:xfrm>
          <a:off x="3556000" y="4106863"/>
          <a:ext cx="2301875" cy="1536700"/>
        </p:xfrm>
        <a:graphic>
          <a:graphicData uri="http://schemas.openxmlformats.org/drawingml/2006/chart">
            <c:chart xmlns:c="http://schemas.openxmlformats.org/drawingml/2006/chart" xmlns:r="http://schemas.openxmlformats.org/officeDocument/2006/relationships" r:id="rId55"/>
          </a:graphicData>
        </a:graphic>
      </p:graphicFrame>
      <p:cxnSp>
        <p:nvCxnSpPr>
          <p:cNvPr id="328" name="Gerade Verbindung 5">
            <a:extLst>
              <a:ext uri="{FF2B5EF4-FFF2-40B4-BE49-F238E27FC236}">
                <a16:creationId xmlns:a16="http://schemas.microsoft.com/office/drawing/2014/main" xmlns="" id="{468DDF60-3C91-4F20-8A22-ACB9B398C106}"/>
              </a:ext>
            </a:extLst>
          </p:cNvPr>
          <p:cNvCxnSpPr/>
          <p:nvPr>
            <p:custDataLst>
              <p:tags r:id="rId28"/>
            </p:custDataLst>
          </p:nvPr>
        </p:nvCxnSpPr>
        <p:spPr bwMode="gray">
          <a:xfrm flipV="1">
            <a:off x="5113338" y="4370388"/>
            <a:ext cx="0" cy="227013"/>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0" name="Gerade Verbindung 13">
            <a:extLst>
              <a:ext uri="{FF2B5EF4-FFF2-40B4-BE49-F238E27FC236}">
                <a16:creationId xmlns:a16="http://schemas.microsoft.com/office/drawing/2014/main" xmlns="" id="{13926876-75B2-45D1-B850-C8F79BDBF8CA}"/>
              </a:ext>
            </a:extLst>
          </p:cNvPr>
          <p:cNvCxnSpPr/>
          <p:nvPr>
            <p:custDataLst>
              <p:tags r:id="rId29"/>
            </p:custDataLst>
          </p:nvPr>
        </p:nvCxnSpPr>
        <p:spPr bwMode="gray">
          <a:xfrm>
            <a:off x="5724525" y="4370388"/>
            <a:ext cx="0" cy="898525"/>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9" name="Gerade Verbindung 12">
            <a:extLst>
              <a:ext uri="{FF2B5EF4-FFF2-40B4-BE49-F238E27FC236}">
                <a16:creationId xmlns:a16="http://schemas.microsoft.com/office/drawing/2014/main" xmlns="" id="{34A93BFB-1F58-4D5B-8672-CC013FAB497F}"/>
              </a:ext>
            </a:extLst>
          </p:cNvPr>
          <p:cNvCxnSpPr/>
          <p:nvPr>
            <p:custDataLst>
              <p:tags r:id="rId30"/>
            </p:custDataLst>
          </p:nvPr>
        </p:nvCxnSpPr>
        <p:spPr bwMode="gray">
          <a:xfrm>
            <a:off x="5113338" y="4370388"/>
            <a:ext cx="611188"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4" name="Textplatzhalter 2">
            <a:extLst>
              <a:ext uri="{FF2B5EF4-FFF2-40B4-BE49-F238E27FC236}">
                <a16:creationId xmlns:a16="http://schemas.microsoft.com/office/drawing/2014/main" xmlns="" id="{C048FA86-88E6-4A7F-91CC-CFAA46A6A95A}"/>
              </a:ext>
            </a:extLst>
          </p:cNvPr>
          <p:cNvSpPr>
            <a:spLocks noGrp="1"/>
          </p:cNvSpPr>
          <p:nvPr>
            <p:custDataLst>
              <p:tags r:id="rId31"/>
            </p:custDataLst>
          </p:nvPr>
        </p:nvSpPr>
        <p:spPr bwMode="auto">
          <a:xfrm>
            <a:off x="5068888" y="560387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307E8742-05A8-42E5-AAA4-659B7EEA2B34}" type="datetime'''2''''''''''''01''''''''2'''''''''''''''">
              <a:rPr lang="de-DE" altLang="en-US" sz="1000" smtClean="0"/>
              <a:pPr lvl="1" algn="ctr">
                <a:spcBef>
                  <a:spcPct val="0"/>
                </a:spcBef>
                <a:spcAft>
                  <a:spcPct val="0"/>
                </a:spcAft>
              </a:pPr>
              <a:t>2012</a:t>
            </a:fld>
            <a:endParaRPr lang="de-DE" sz="1000" dirty="0">
              <a:sym typeface="+mn-lt"/>
            </a:endParaRPr>
          </a:p>
        </p:txBody>
      </p:sp>
      <p:sp>
        <p:nvSpPr>
          <p:cNvPr id="499" name="Textplatzhalter 2">
            <a:extLst>
              <a:ext uri="{FF2B5EF4-FFF2-40B4-BE49-F238E27FC236}">
                <a16:creationId xmlns:a16="http://schemas.microsoft.com/office/drawing/2014/main" xmlns="" id="{11442ECA-E06F-45D2-9566-540F2BC729B6}"/>
              </a:ext>
            </a:extLst>
          </p:cNvPr>
          <p:cNvSpPr>
            <a:spLocks noGrp="1"/>
          </p:cNvSpPr>
          <p:nvPr>
            <p:custDataLst>
              <p:tags r:id="rId32"/>
            </p:custDataLst>
          </p:nvPr>
        </p:nvSpPr>
        <p:spPr bwMode="auto">
          <a:xfrm>
            <a:off x="5578475" y="560387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DF3E145B-90E9-4A8C-B561-722B97B275AB}" type="datetime'''''''''2''''''0''''''''''''''''''''''''''17'''''''">
              <a:rPr lang="de-DE" altLang="en-US" sz="1000" smtClean="0"/>
              <a:pPr lvl="1" algn="ctr">
                <a:spcBef>
                  <a:spcPct val="0"/>
                </a:spcBef>
                <a:spcAft>
                  <a:spcPct val="0"/>
                </a:spcAft>
              </a:pPr>
              <a:t>2017</a:t>
            </a:fld>
            <a:endParaRPr lang="de-DE" sz="1000" dirty="0">
              <a:sym typeface="+mn-lt"/>
            </a:endParaRPr>
          </a:p>
        </p:txBody>
      </p:sp>
      <p:sp>
        <p:nvSpPr>
          <p:cNvPr id="331" name="Textplatzhalter 2">
            <a:extLst>
              <a:ext uri="{FF2B5EF4-FFF2-40B4-BE49-F238E27FC236}">
                <a16:creationId xmlns:a16="http://schemas.microsoft.com/office/drawing/2014/main" xmlns="" id="{C524EB42-8C75-4DC6-AE93-8EE985B40483}"/>
              </a:ext>
            </a:extLst>
          </p:cNvPr>
          <p:cNvSpPr>
            <a:spLocks noGrp="1"/>
          </p:cNvSpPr>
          <p:nvPr>
            <p:custDataLst>
              <p:tags r:id="rId33"/>
            </p:custDataLst>
          </p:nvPr>
        </p:nvSpPr>
        <p:spPr bwMode="auto">
          <a:xfrm>
            <a:off x="5124451" y="4219575"/>
            <a:ext cx="587375" cy="301625"/>
          </a:xfrm>
          <a:prstGeom prst="ellipse">
            <a:avLst/>
          </a:prstGeom>
          <a:solidFill>
            <a:schemeClr val="bg1"/>
          </a:solidFill>
          <a:ln w="9525" algn="ctr">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C8728B6E-B3CF-445B-A916-2C56D01C646C}" type="datetime'''''''-''''7''''3''''''''%'">
              <a:rPr lang="en-GB" altLang="en-US" sz="1400" b="1" smtClean="0"/>
              <a:pPr/>
              <a:t>-73%</a:t>
            </a:fld>
            <a:endParaRPr lang="en-GB" sz="1400" b="1" dirty="0">
              <a:sym typeface="+mn-lt"/>
            </a:endParaRPr>
          </a:p>
        </p:txBody>
      </p:sp>
      <p:graphicFrame>
        <p:nvGraphicFramePr>
          <p:cNvPr id="93" name="Chart 3">
            <a:extLst>
              <a:ext uri="{FF2B5EF4-FFF2-40B4-BE49-F238E27FC236}">
                <a16:creationId xmlns:a16="http://schemas.microsoft.com/office/drawing/2014/main" xmlns="" id="{9737987E-CF3C-42A0-8251-0B013C7AE3B8}"/>
              </a:ext>
            </a:extLst>
          </p:cNvPr>
          <p:cNvGraphicFramePr/>
          <p:nvPr>
            <p:custDataLst>
              <p:tags r:id="rId34"/>
            </p:custDataLst>
          </p:nvPr>
        </p:nvGraphicFramePr>
        <p:xfrm>
          <a:off x="6254750" y="4106863"/>
          <a:ext cx="2301875" cy="1536700"/>
        </p:xfrm>
        <a:graphic>
          <a:graphicData uri="http://schemas.openxmlformats.org/drawingml/2006/chart">
            <c:chart xmlns:c="http://schemas.openxmlformats.org/drawingml/2006/chart" xmlns:r="http://schemas.openxmlformats.org/officeDocument/2006/relationships" r:id="rId56"/>
          </a:graphicData>
        </a:graphic>
      </p:graphicFrame>
      <p:cxnSp>
        <p:nvCxnSpPr>
          <p:cNvPr id="604" name="Gerader Verbinder 603">
            <a:extLst>
              <a:ext uri="{FF2B5EF4-FFF2-40B4-BE49-F238E27FC236}">
                <a16:creationId xmlns:a16="http://schemas.microsoft.com/office/drawing/2014/main" xmlns="" id="{E6519ACB-4491-4F3F-B850-3D10E379B7FF}"/>
              </a:ext>
            </a:extLst>
          </p:cNvPr>
          <p:cNvCxnSpPr/>
          <p:nvPr>
            <p:custDataLst>
              <p:tags r:id="rId35"/>
            </p:custDataLst>
          </p:nvPr>
        </p:nvCxnSpPr>
        <p:spPr bwMode="gray">
          <a:xfrm flipV="1">
            <a:off x="7812088" y="3960813"/>
            <a:ext cx="0" cy="227013"/>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5" name="Gerader Verbinder 604">
            <a:extLst>
              <a:ext uri="{FF2B5EF4-FFF2-40B4-BE49-F238E27FC236}">
                <a16:creationId xmlns:a16="http://schemas.microsoft.com/office/drawing/2014/main" xmlns="" id="{585ABD7A-424F-4892-B0F7-C0B783BE7065}"/>
              </a:ext>
            </a:extLst>
          </p:cNvPr>
          <p:cNvCxnSpPr/>
          <p:nvPr>
            <p:custDataLst>
              <p:tags r:id="rId36"/>
            </p:custDataLst>
          </p:nvPr>
        </p:nvCxnSpPr>
        <p:spPr bwMode="gray">
          <a:xfrm>
            <a:off x="7812088" y="3960813"/>
            <a:ext cx="611188"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6" name="Gerader Verbinder 605">
            <a:extLst>
              <a:ext uri="{FF2B5EF4-FFF2-40B4-BE49-F238E27FC236}">
                <a16:creationId xmlns:a16="http://schemas.microsoft.com/office/drawing/2014/main" xmlns="" id="{3445962F-403A-486C-AC32-B770180802E4}"/>
              </a:ext>
            </a:extLst>
          </p:cNvPr>
          <p:cNvCxnSpPr/>
          <p:nvPr>
            <p:custDataLst>
              <p:tags r:id="rId37"/>
            </p:custDataLst>
          </p:nvPr>
        </p:nvCxnSpPr>
        <p:spPr bwMode="gray">
          <a:xfrm>
            <a:off x="8423275" y="3960813"/>
            <a:ext cx="0" cy="533400"/>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3" name="Textplatzhalter 2">
            <a:extLst>
              <a:ext uri="{FF2B5EF4-FFF2-40B4-BE49-F238E27FC236}">
                <a16:creationId xmlns:a16="http://schemas.microsoft.com/office/drawing/2014/main" xmlns="" id="{D0BB0B7C-9029-4D5E-B51F-988AE51776B1}"/>
              </a:ext>
            </a:extLst>
          </p:cNvPr>
          <p:cNvSpPr>
            <a:spLocks noGrp="1"/>
          </p:cNvSpPr>
          <p:nvPr>
            <p:custDataLst>
              <p:tags r:id="rId38"/>
            </p:custDataLst>
          </p:nvPr>
        </p:nvSpPr>
        <p:spPr bwMode="auto">
          <a:xfrm>
            <a:off x="7767638" y="560387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2F6F6BAD-EE17-4FE9-8DE9-7231C98A3E65}" type="datetime'''''''''2''''''01''''''''''''''''''2'''''''''''''''''''">
              <a:rPr lang="de-DE" altLang="en-US" sz="1000" smtClean="0"/>
              <a:pPr lvl="1" algn="ctr">
                <a:spcBef>
                  <a:spcPct val="0"/>
                </a:spcBef>
                <a:spcAft>
                  <a:spcPct val="0"/>
                </a:spcAft>
              </a:pPr>
              <a:t>2012</a:t>
            </a:fld>
            <a:endParaRPr lang="de-DE" sz="1000" dirty="0">
              <a:sym typeface="+mn-lt"/>
            </a:endParaRPr>
          </a:p>
        </p:txBody>
      </p:sp>
      <p:sp>
        <p:nvSpPr>
          <p:cNvPr id="598" name="Textplatzhalter 2">
            <a:extLst>
              <a:ext uri="{FF2B5EF4-FFF2-40B4-BE49-F238E27FC236}">
                <a16:creationId xmlns:a16="http://schemas.microsoft.com/office/drawing/2014/main" xmlns="" id="{6056A64C-31B5-473D-A448-FBFEBF5E513E}"/>
              </a:ext>
            </a:extLst>
          </p:cNvPr>
          <p:cNvSpPr>
            <a:spLocks noGrp="1"/>
          </p:cNvSpPr>
          <p:nvPr>
            <p:custDataLst>
              <p:tags r:id="rId39"/>
            </p:custDataLst>
          </p:nvPr>
        </p:nvSpPr>
        <p:spPr bwMode="auto">
          <a:xfrm>
            <a:off x="8277225" y="560387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85B6E5DD-55CE-4227-A5A0-AED3F8861498}" type="datetime'''''''''''''''''2''''''0''''''''''''''''''''''''''''''17'">
              <a:rPr lang="de-DE" altLang="en-US" sz="1000" smtClean="0"/>
              <a:pPr lvl="1" algn="ctr">
                <a:spcBef>
                  <a:spcPct val="0"/>
                </a:spcBef>
                <a:spcAft>
                  <a:spcPct val="0"/>
                </a:spcAft>
              </a:pPr>
              <a:t>2017</a:t>
            </a:fld>
            <a:endParaRPr lang="de-DE" sz="1000" dirty="0">
              <a:sym typeface="+mn-lt"/>
            </a:endParaRPr>
          </a:p>
        </p:txBody>
      </p:sp>
      <p:sp>
        <p:nvSpPr>
          <p:cNvPr id="603" name="Textplatzhalter 2">
            <a:extLst>
              <a:ext uri="{FF2B5EF4-FFF2-40B4-BE49-F238E27FC236}">
                <a16:creationId xmlns:a16="http://schemas.microsoft.com/office/drawing/2014/main" xmlns="" id="{38F09FEE-F8DE-4F00-8EFC-12C3E9008F22}"/>
              </a:ext>
            </a:extLst>
          </p:cNvPr>
          <p:cNvSpPr>
            <a:spLocks noGrp="1"/>
          </p:cNvSpPr>
          <p:nvPr>
            <p:custDataLst>
              <p:tags r:id="rId40"/>
            </p:custDataLst>
          </p:nvPr>
        </p:nvSpPr>
        <p:spPr bwMode="auto">
          <a:xfrm>
            <a:off x="7823201" y="3810000"/>
            <a:ext cx="587375" cy="301625"/>
          </a:xfrm>
          <a:prstGeom prst="ellipse">
            <a:avLst/>
          </a:prstGeom>
          <a:solidFill>
            <a:schemeClr val="bg1"/>
          </a:solidFill>
          <a:ln w="9525" algn="ctr">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4E17B611-6C4E-4FC8-A202-46BD7C1D3EC9}" type="datetime'''-''''''''2''''''''''3''''''''''''%'''''''''''''''''">
              <a:rPr lang="de-DE" altLang="en-US" sz="1400" b="1" smtClean="0"/>
              <a:pPr/>
              <a:t>-23%</a:t>
            </a:fld>
            <a:endParaRPr lang="de-DE" sz="1400" b="1" dirty="0">
              <a:sym typeface="+mn-lt"/>
            </a:endParaRPr>
          </a:p>
        </p:txBody>
      </p:sp>
      <p:cxnSp>
        <p:nvCxnSpPr>
          <p:cNvPr id="468" name="Gerader Verbinder 467">
            <a:extLst>
              <a:ext uri="{FF2B5EF4-FFF2-40B4-BE49-F238E27FC236}">
                <a16:creationId xmlns:a16="http://schemas.microsoft.com/office/drawing/2014/main" xmlns="" id="{19524D4D-AC85-40D7-81CC-0EE35DC47C95}"/>
              </a:ext>
            </a:extLst>
          </p:cNvPr>
          <p:cNvCxnSpPr>
            <a:cxnSpLocks/>
          </p:cNvCxnSpPr>
          <p:nvPr/>
        </p:nvCxnSpPr>
        <p:spPr>
          <a:xfrm>
            <a:off x="7908752" y="2578100"/>
            <a:ext cx="0" cy="987425"/>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94" name="Chart 3">
            <a:extLst>
              <a:ext uri="{FF2B5EF4-FFF2-40B4-BE49-F238E27FC236}">
                <a16:creationId xmlns:a16="http://schemas.microsoft.com/office/drawing/2014/main" xmlns="" id="{FAC55DF7-8A45-4224-A26C-E7AFD648E268}"/>
              </a:ext>
            </a:extLst>
          </p:cNvPr>
          <p:cNvGraphicFramePr/>
          <p:nvPr>
            <p:custDataLst>
              <p:tags r:id="rId41"/>
            </p:custDataLst>
          </p:nvPr>
        </p:nvGraphicFramePr>
        <p:xfrm>
          <a:off x="804863" y="2990850"/>
          <a:ext cx="2301875" cy="1536700"/>
        </p:xfrm>
        <a:graphic>
          <a:graphicData uri="http://schemas.openxmlformats.org/drawingml/2006/chart">
            <c:chart xmlns:c="http://schemas.openxmlformats.org/drawingml/2006/chart" xmlns:r="http://schemas.openxmlformats.org/officeDocument/2006/relationships" r:id="rId57"/>
          </a:graphicData>
        </a:graphic>
      </p:graphicFrame>
      <p:cxnSp>
        <p:nvCxnSpPr>
          <p:cNvPr id="37" name="Gerader Verbinder 36">
            <a:extLst>
              <a:ext uri="{FF2B5EF4-FFF2-40B4-BE49-F238E27FC236}">
                <a16:creationId xmlns:a16="http://schemas.microsoft.com/office/drawing/2014/main" xmlns="" id="{70D09B49-3C64-4873-8DAF-E856A9BA88DE}"/>
              </a:ext>
            </a:extLst>
          </p:cNvPr>
          <p:cNvCxnSpPr/>
          <p:nvPr>
            <p:custDataLst>
              <p:tags r:id="rId42"/>
            </p:custDataLst>
          </p:nvPr>
        </p:nvCxnSpPr>
        <p:spPr bwMode="gray">
          <a:xfrm>
            <a:off x="2362200" y="2800350"/>
            <a:ext cx="611188"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xmlns="" id="{884C4C9C-7219-4BAF-9DAD-ADCB2F6A105B}"/>
              </a:ext>
            </a:extLst>
          </p:cNvPr>
          <p:cNvCxnSpPr/>
          <p:nvPr>
            <p:custDataLst>
              <p:tags r:id="rId43"/>
            </p:custDataLst>
          </p:nvPr>
        </p:nvCxnSpPr>
        <p:spPr bwMode="gray">
          <a:xfrm flipV="1">
            <a:off x="2362200" y="2800350"/>
            <a:ext cx="0" cy="993775"/>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xmlns="" id="{082C3CB1-FB85-4E4E-A955-DA3F1C289875}"/>
              </a:ext>
            </a:extLst>
          </p:cNvPr>
          <p:cNvCxnSpPr/>
          <p:nvPr>
            <p:custDataLst>
              <p:tags r:id="rId44"/>
            </p:custDataLst>
          </p:nvPr>
        </p:nvCxnSpPr>
        <p:spPr bwMode="gray">
          <a:xfrm>
            <a:off x="2973388" y="2800350"/>
            <a:ext cx="0" cy="303213"/>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platzhalter 2">
            <a:extLst>
              <a:ext uri="{FF2B5EF4-FFF2-40B4-BE49-F238E27FC236}">
                <a16:creationId xmlns:a16="http://schemas.microsoft.com/office/drawing/2014/main" xmlns="" id="{79499962-9945-462C-99E7-5233B112497D}"/>
              </a:ext>
            </a:extLst>
          </p:cNvPr>
          <p:cNvSpPr>
            <a:spLocks noGrp="1"/>
          </p:cNvSpPr>
          <p:nvPr>
            <p:custDataLst>
              <p:tags r:id="rId45"/>
            </p:custDataLst>
          </p:nvPr>
        </p:nvSpPr>
        <p:spPr bwMode="auto">
          <a:xfrm>
            <a:off x="2317750" y="4487863"/>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C137D3CD-8CC9-4F6A-B7FD-ADCEE9F8EC06}" type="datetime'2''''''''''''''''01''''''''''2'">
              <a:rPr lang="de-DE" altLang="en-US" sz="1000" smtClean="0"/>
              <a:pPr lvl="1" algn="ctr">
                <a:spcBef>
                  <a:spcPct val="0"/>
                </a:spcBef>
                <a:spcAft>
                  <a:spcPct val="0"/>
                </a:spcAft>
              </a:pPr>
              <a:t>2012</a:t>
            </a:fld>
            <a:endParaRPr lang="de-DE" sz="1000" dirty="0">
              <a:sym typeface="+mn-lt"/>
            </a:endParaRPr>
          </a:p>
        </p:txBody>
      </p:sp>
      <p:sp>
        <p:nvSpPr>
          <p:cNvPr id="96" name="Textplatzhalter 2">
            <a:extLst>
              <a:ext uri="{FF2B5EF4-FFF2-40B4-BE49-F238E27FC236}">
                <a16:creationId xmlns:a16="http://schemas.microsoft.com/office/drawing/2014/main" xmlns="" id="{6220F045-EAF6-457E-98E2-96C20A5967DA}"/>
              </a:ext>
            </a:extLst>
          </p:cNvPr>
          <p:cNvSpPr>
            <a:spLocks noGrp="1"/>
          </p:cNvSpPr>
          <p:nvPr>
            <p:custDataLst>
              <p:tags r:id="rId46"/>
            </p:custDataLst>
          </p:nvPr>
        </p:nvSpPr>
        <p:spPr bwMode="auto">
          <a:xfrm>
            <a:off x="2827338" y="4487863"/>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01DA7E14-DE68-4942-8A7D-69B0B3F95AFF}" type="datetime'''2''''''''''''0''''''''1''''''''''''''''''''''''7'''">
              <a:rPr lang="de-DE" altLang="en-US" sz="1000" smtClean="0"/>
              <a:pPr lvl="1" algn="ctr">
                <a:spcBef>
                  <a:spcPct val="0"/>
                </a:spcBef>
                <a:spcAft>
                  <a:spcPct val="0"/>
                </a:spcAft>
              </a:pPr>
              <a:t>2017</a:t>
            </a:fld>
            <a:endParaRPr lang="de-DE" sz="1000" dirty="0">
              <a:sym typeface="+mn-lt"/>
            </a:endParaRPr>
          </a:p>
        </p:txBody>
      </p:sp>
      <p:sp>
        <p:nvSpPr>
          <p:cNvPr id="256" name="Textplatzhalter 2">
            <a:extLst>
              <a:ext uri="{FF2B5EF4-FFF2-40B4-BE49-F238E27FC236}">
                <a16:creationId xmlns:a16="http://schemas.microsoft.com/office/drawing/2014/main" xmlns="" id="{70B2923C-6768-4EB9-A43A-6142A3E65B90}"/>
              </a:ext>
            </a:extLst>
          </p:cNvPr>
          <p:cNvSpPr>
            <a:spLocks noGrp="1"/>
          </p:cNvSpPr>
          <p:nvPr>
            <p:custDataLst>
              <p:tags r:id="rId47"/>
            </p:custDataLst>
          </p:nvPr>
        </p:nvSpPr>
        <p:spPr bwMode="auto">
          <a:xfrm>
            <a:off x="2273299" y="2649538"/>
            <a:ext cx="788988" cy="301625"/>
          </a:xfrm>
          <a:prstGeom prst="ellipse">
            <a:avLst/>
          </a:prstGeom>
          <a:solidFill>
            <a:schemeClr val="bg1"/>
          </a:solidFill>
          <a:ln w="9525" algn="ctr">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r>
              <a:rPr lang="de-DE" altLang="en-US" sz="1400" b="1" dirty="0">
                <a:sym typeface="+mn-lt"/>
              </a:rPr>
              <a:t>+122%</a:t>
            </a:r>
            <a:endParaRPr lang="de-DE" sz="1400" b="1" dirty="0">
              <a:sym typeface="+mn-lt"/>
            </a:endParaRPr>
          </a:p>
        </p:txBody>
      </p:sp>
      <p:cxnSp>
        <p:nvCxnSpPr>
          <p:cNvPr id="711" name="Gerader Verbinder 710">
            <a:extLst>
              <a:ext uri="{FF2B5EF4-FFF2-40B4-BE49-F238E27FC236}">
                <a16:creationId xmlns:a16="http://schemas.microsoft.com/office/drawing/2014/main" xmlns="" id="{188BDB2D-4F6E-4CA8-A112-0888EC1F6A0B}"/>
              </a:ext>
            </a:extLst>
          </p:cNvPr>
          <p:cNvCxnSpPr>
            <a:cxnSpLocks/>
          </p:cNvCxnSpPr>
          <p:nvPr/>
        </p:nvCxnSpPr>
        <p:spPr>
          <a:xfrm>
            <a:off x="5207842" y="2193925"/>
            <a:ext cx="0" cy="1368425"/>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715" name="Gerader Verbinder 714">
            <a:extLst>
              <a:ext uri="{FF2B5EF4-FFF2-40B4-BE49-F238E27FC236}">
                <a16:creationId xmlns:a16="http://schemas.microsoft.com/office/drawing/2014/main" xmlns="" id="{04C2320D-5CF7-42BB-96BD-F5F0631BECD3}"/>
              </a:ext>
            </a:extLst>
          </p:cNvPr>
          <p:cNvCxnSpPr>
            <a:cxnSpLocks/>
          </p:cNvCxnSpPr>
          <p:nvPr/>
        </p:nvCxnSpPr>
        <p:spPr>
          <a:xfrm>
            <a:off x="7908752" y="4192588"/>
            <a:ext cx="0" cy="1368425"/>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716" name="Gerader Verbinder 715">
            <a:extLst>
              <a:ext uri="{FF2B5EF4-FFF2-40B4-BE49-F238E27FC236}">
                <a16:creationId xmlns:a16="http://schemas.microsoft.com/office/drawing/2014/main" xmlns="" id="{F7743146-93CB-4789-9CA3-2C3A21209802}"/>
              </a:ext>
            </a:extLst>
          </p:cNvPr>
          <p:cNvCxnSpPr>
            <a:cxnSpLocks/>
          </p:cNvCxnSpPr>
          <p:nvPr/>
        </p:nvCxnSpPr>
        <p:spPr>
          <a:xfrm>
            <a:off x="5207842" y="4640263"/>
            <a:ext cx="0" cy="920750"/>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751" name="Gerader Verbinder 750">
            <a:extLst>
              <a:ext uri="{FF2B5EF4-FFF2-40B4-BE49-F238E27FC236}">
                <a16:creationId xmlns:a16="http://schemas.microsoft.com/office/drawing/2014/main" xmlns="" id="{294F900D-5F9D-4B91-8948-1BA221CE83B7}"/>
              </a:ext>
            </a:extLst>
          </p:cNvPr>
          <p:cNvCxnSpPr>
            <a:cxnSpLocks/>
          </p:cNvCxnSpPr>
          <p:nvPr/>
        </p:nvCxnSpPr>
        <p:spPr>
          <a:xfrm>
            <a:off x="2456260" y="3089275"/>
            <a:ext cx="0" cy="1368425"/>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97" name="Gruppieren 96">
            <a:extLst>
              <a:ext uri="{FF2B5EF4-FFF2-40B4-BE49-F238E27FC236}">
                <a16:creationId xmlns:a16="http://schemas.microsoft.com/office/drawing/2014/main" xmlns="" id="{75566AFA-9D5F-44B6-924F-F5FB3348DFCC}"/>
              </a:ext>
            </a:extLst>
          </p:cNvPr>
          <p:cNvGrpSpPr/>
          <p:nvPr/>
        </p:nvGrpSpPr>
        <p:grpSpPr>
          <a:xfrm>
            <a:off x="8208962" y="1016776"/>
            <a:ext cx="395288" cy="396000"/>
            <a:chOff x="2510622" y="3699834"/>
            <a:chExt cx="578254" cy="578254"/>
          </a:xfrm>
        </p:grpSpPr>
        <p:pic>
          <p:nvPicPr>
            <p:cNvPr id="98" name="Grafik 97">
              <a:extLst>
                <a:ext uri="{FF2B5EF4-FFF2-40B4-BE49-F238E27FC236}">
                  <a16:creationId xmlns:a16="http://schemas.microsoft.com/office/drawing/2014/main" xmlns="" id="{21C6B1DF-9A8D-45E4-BEB7-B62155B59956}"/>
                </a:ext>
              </a:extLst>
            </p:cNvPr>
            <p:cNvPicPr>
              <a:picLocks noChangeAspect="1"/>
            </p:cNvPicPr>
            <p:nvPr/>
          </p:nvPicPr>
          <p:blipFill>
            <a:blip r:embed="rId58">
              <a:duotone>
                <a:schemeClr val="accent5">
                  <a:shade val="45000"/>
                  <a:satMod val="135000"/>
                </a:schemeClr>
                <a:prstClr val="white"/>
              </a:duotone>
              <a:extLst>
                <a:ext uri="{BEBA8EAE-BF5A-486C-A8C5-ECC9F3942E4B}">
                  <a14:imgProps xmlns:a14="http://schemas.microsoft.com/office/drawing/2010/main">
                    <a14:imgLayer r:embed="rId59">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2545143" y="3727665"/>
              <a:ext cx="515089" cy="515089"/>
            </a:xfrm>
            <a:prstGeom prst="rect">
              <a:avLst/>
            </a:prstGeom>
          </p:spPr>
        </p:pic>
        <p:sp>
          <p:nvSpPr>
            <p:cNvPr id="99" name="Ellipse 98">
              <a:extLst>
                <a:ext uri="{FF2B5EF4-FFF2-40B4-BE49-F238E27FC236}">
                  <a16:creationId xmlns:a16="http://schemas.microsoft.com/office/drawing/2014/main" xmlns="" id="{630BF6E0-2E6B-4B84-BC86-054274EA200F}"/>
                </a:ext>
              </a:extLst>
            </p:cNvPr>
            <p:cNvSpPr/>
            <p:nvPr/>
          </p:nvSpPr>
          <p:spPr>
            <a:xfrm>
              <a:off x="2510622" y="3699834"/>
              <a:ext cx="578254" cy="578254"/>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sp>
        <p:nvSpPr>
          <p:cNvPr id="59" name="Textfeld 58">
            <a:extLst>
              <a:ext uri="{FF2B5EF4-FFF2-40B4-BE49-F238E27FC236}">
                <a16:creationId xmlns:a16="http://schemas.microsoft.com/office/drawing/2014/main" xmlns="" id="{627B8EDF-0A27-41DB-8BC6-BFC89748029A}"/>
              </a:ext>
            </a:extLst>
          </p:cNvPr>
          <p:cNvSpPr txBox="1"/>
          <p:nvPr/>
        </p:nvSpPr>
        <p:spPr>
          <a:xfrm>
            <a:off x="899592" y="4252446"/>
            <a:ext cx="627095"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solidFill>
                <a:effectLst/>
                <a:uLnTx/>
                <a:uFillTx/>
                <a:latin typeface="Arial"/>
                <a:ea typeface="+mn-ea"/>
                <a:cs typeface="+mn-cs"/>
              </a:rPr>
              <a:t>© </a:t>
            </a:r>
            <a:r>
              <a:rPr kumimoji="0" lang="de-DE" sz="600" b="0" i="0" u="none" strike="noStrike" kern="1200" cap="none" spc="0" normalizeH="0" baseline="0" noProof="0" dirty="0" err="1">
                <a:ln>
                  <a:noFill/>
                </a:ln>
                <a:solidFill>
                  <a:prstClr val="black"/>
                </a:solidFill>
                <a:effectLst/>
                <a:uLnTx/>
                <a:uFillTx/>
                <a:latin typeface="Arial"/>
                <a:ea typeface="+mn-ea"/>
                <a:cs typeface="+mn-cs"/>
              </a:rPr>
              <a:t>civity</a:t>
            </a:r>
            <a:r>
              <a:rPr kumimoji="0" lang="de-DE" sz="600" b="0" i="0" u="none" strike="noStrike" kern="1200" cap="none" spc="0" normalizeH="0" baseline="0" noProof="0" dirty="0">
                <a:ln>
                  <a:noFill/>
                </a:ln>
                <a:solidFill>
                  <a:prstClr val="black"/>
                </a:solidFill>
                <a:effectLst/>
                <a:uLnTx/>
                <a:uFillTx/>
                <a:latin typeface="Arial"/>
                <a:ea typeface="+mn-ea"/>
                <a:cs typeface="+mn-cs"/>
              </a:rPr>
              <a:t> 2019</a:t>
            </a:r>
          </a:p>
        </p:txBody>
      </p:sp>
      <p:sp>
        <p:nvSpPr>
          <p:cNvPr id="60" name="Textfeld 59">
            <a:extLst>
              <a:ext uri="{FF2B5EF4-FFF2-40B4-BE49-F238E27FC236}">
                <a16:creationId xmlns:a16="http://schemas.microsoft.com/office/drawing/2014/main" xmlns="" id="{350CEA4B-FDA1-42F8-80B3-EEA53E944C5F}"/>
              </a:ext>
            </a:extLst>
          </p:cNvPr>
          <p:cNvSpPr txBox="1"/>
          <p:nvPr/>
        </p:nvSpPr>
        <p:spPr>
          <a:xfrm>
            <a:off x="3635896" y="3356992"/>
            <a:ext cx="627095"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solidFill>
                <a:effectLst/>
                <a:uLnTx/>
                <a:uFillTx/>
                <a:latin typeface="Arial"/>
                <a:ea typeface="+mn-ea"/>
                <a:cs typeface="+mn-cs"/>
              </a:rPr>
              <a:t>© </a:t>
            </a:r>
            <a:r>
              <a:rPr kumimoji="0" lang="de-DE" sz="600" b="0" i="0" u="none" strike="noStrike" kern="1200" cap="none" spc="0" normalizeH="0" baseline="0" noProof="0" dirty="0" err="1">
                <a:ln>
                  <a:noFill/>
                </a:ln>
                <a:solidFill>
                  <a:prstClr val="black"/>
                </a:solidFill>
                <a:effectLst/>
                <a:uLnTx/>
                <a:uFillTx/>
                <a:latin typeface="Arial"/>
                <a:ea typeface="+mn-ea"/>
                <a:cs typeface="+mn-cs"/>
              </a:rPr>
              <a:t>civity</a:t>
            </a:r>
            <a:r>
              <a:rPr kumimoji="0" lang="de-DE" sz="600" b="0" i="0" u="none" strike="noStrike" kern="1200" cap="none" spc="0" normalizeH="0" baseline="0" noProof="0" dirty="0">
                <a:ln>
                  <a:noFill/>
                </a:ln>
                <a:solidFill>
                  <a:prstClr val="black"/>
                </a:solidFill>
                <a:effectLst/>
                <a:uLnTx/>
                <a:uFillTx/>
                <a:latin typeface="Arial"/>
                <a:ea typeface="+mn-ea"/>
                <a:cs typeface="+mn-cs"/>
              </a:rPr>
              <a:t> 2019</a:t>
            </a:r>
          </a:p>
        </p:txBody>
      </p:sp>
      <p:sp>
        <p:nvSpPr>
          <p:cNvPr id="61" name="Textfeld 60">
            <a:extLst>
              <a:ext uri="{FF2B5EF4-FFF2-40B4-BE49-F238E27FC236}">
                <a16:creationId xmlns:a16="http://schemas.microsoft.com/office/drawing/2014/main" xmlns="" id="{8B24EAC4-4DA0-40E6-92D1-0920E91C9401}"/>
              </a:ext>
            </a:extLst>
          </p:cNvPr>
          <p:cNvSpPr txBox="1"/>
          <p:nvPr/>
        </p:nvSpPr>
        <p:spPr>
          <a:xfrm>
            <a:off x="3635896" y="5376347"/>
            <a:ext cx="627095"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solidFill>
                <a:effectLst/>
                <a:uLnTx/>
                <a:uFillTx/>
                <a:latin typeface="Arial"/>
                <a:ea typeface="+mn-ea"/>
                <a:cs typeface="+mn-cs"/>
              </a:rPr>
              <a:t>© </a:t>
            </a:r>
            <a:r>
              <a:rPr kumimoji="0" lang="de-DE" sz="600" b="0" i="0" u="none" strike="noStrike" kern="1200" cap="none" spc="0" normalizeH="0" baseline="0" noProof="0" dirty="0" err="1">
                <a:ln>
                  <a:noFill/>
                </a:ln>
                <a:solidFill>
                  <a:prstClr val="black"/>
                </a:solidFill>
                <a:effectLst/>
                <a:uLnTx/>
                <a:uFillTx/>
                <a:latin typeface="Arial"/>
                <a:ea typeface="+mn-ea"/>
                <a:cs typeface="+mn-cs"/>
              </a:rPr>
              <a:t>civity</a:t>
            </a:r>
            <a:r>
              <a:rPr kumimoji="0" lang="de-DE" sz="600" b="0" i="0" u="none" strike="noStrike" kern="1200" cap="none" spc="0" normalizeH="0" baseline="0" noProof="0" dirty="0">
                <a:ln>
                  <a:noFill/>
                </a:ln>
                <a:solidFill>
                  <a:prstClr val="black"/>
                </a:solidFill>
                <a:effectLst/>
                <a:uLnTx/>
                <a:uFillTx/>
                <a:latin typeface="Arial"/>
                <a:ea typeface="+mn-ea"/>
                <a:cs typeface="+mn-cs"/>
              </a:rPr>
              <a:t> 2019</a:t>
            </a:r>
          </a:p>
        </p:txBody>
      </p:sp>
      <p:sp>
        <p:nvSpPr>
          <p:cNvPr id="62" name="Textfeld 61">
            <a:extLst>
              <a:ext uri="{FF2B5EF4-FFF2-40B4-BE49-F238E27FC236}">
                <a16:creationId xmlns:a16="http://schemas.microsoft.com/office/drawing/2014/main" xmlns="" id="{382E6253-3B82-4532-B646-D0F0ABFE9BEE}"/>
              </a:ext>
            </a:extLst>
          </p:cNvPr>
          <p:cNvSpPr txBox="1"/>
          <p:nvPr/>
        </p:nvSpPr>
        <p:spPr>
          <a:xfrm>
            <a:off x="6323012" y="3356992"/>
            <a:ext cx="627095"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solidFill>
                <a:effectLst/>
                <a:uLnTx/>
                <a:uFillTx/>
                <a:latin typeface="Arial"/>
                <a:ea typeface="+mn-ea"/>
                <a:cs typeface="+mn-cs"/>
              </a:rPr>
              <a:t>© </a:t>
            </a:r>
            <a:r>
              <a:rPr kumimoji="0" lang="de-DE" sz="600" b="0" i="0" u="none" strike="noStrike" kern="1200" cap="none" spc="0" normalizeH="0" baseline="0" noProof="0" dirty="0" err="1">
                <a:ln>
                  <a:noFill/>
                </a:ln>
                <a:solidFill>
                  <a:prstClr val="black"/>
                </a:solidFill>
                <a:effectLst/>
                <a:uLnTx/>
                <a:uFillTx/>
                <a:latin typeface="Arial"/>
                <a:ea typeface="+mn-ea"/>
                <a:cs typeface="+mn-cs"/>
              </a:rPr>
              <a:t>civity</a:t>
            </a:r>
            <a:r>
              <a:rPr kumimoji="0" lang="de-DE" sz="600" b="0" i="0" u="none" strike="noStrike" kern="1200" cap="none" spc="0" normalizeH="0" baseline="0" noProof="0" dirty="0">
                <a:ln>
                  <a:noFill/>
                </a:ln>
                <a:solidFill>
                  <a:prstClr val="black"/>
                </a:solidFill>
                <a:effectLst/>
                <a:uLnTx/>
                <a:uFillTx/>
                <a:latin typeface="Arial"/>
                <a:ea typeface="+mn-ea"/>
                <a:cs typeface="+mn-cs"/>
              </a:rPr>
              <a:t> 2019</a:t>
            </a:r>
          </a:p>
        </p:txBody>
      </p:sp>
      <p:sp>
        <p:nvSpPr>
          <p:cNvPr id="63" name="Textfeld 62">
            <a:extLst>
              <a:ext uri="{FF2B5EF4-FFF2-40B4-BE49-F238E27FC236}">
                <a16:creationId xmlns:a16="http://schemas.microsoft.com/office/drawing/2014/main" xmlns="" id="{28351649-324D-4AA6-B30D-F803AC2B1E18}"/>
              </a:ext>
            </a:extLst>
          </p:cNvPr>
          <p:cNvSpPr txBox="1"/>
          <p:nvPr/>
        </p:nvSpPr>
        <p:spPr>
          <a:xfrm>
            <a:off x="6323012" y="5376347"/>
            <a:ext cx="627095"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prstClr val="black"/>
                </a:solidFill>
                <a:effectLst/>
                <a:uLnTx/>
                <a:uFillTx/>
                <a:latin typeface="Arial"/>
                <a:ea typeface="+mn-ea"/>
                <a:cs typeface="+mn-cs"/>
              </a:rPr>
              <a:t>© </a:t>
            </a:r>
            <a:r>
              <a:rPr kumimoji="0" lang="de-DE" sz="600" b="0" i="0" u="none" strike="noStrike" kern="1200" cap="none" spc="0" normalizeH="0" baseline="0" noProof="0" dirty="0" err="1">
                <a:ln>
                  <a:noFill/>
                </a:ln>
                <a:solidFill>
                  <a:prstClr val="black"/>
                </a:solidFill>
                <a:effectLst/>
                <a:uLnTx/>
                <a:uFillTx/>
                <a:latin typeface="Arial"/>
                <a:ea typeface="+mn-ea"/>
                <a:cs typeface="+mn-cs"/>
              </a:rPr>
              <a:t>civity</a:t>
            </a:r>
            <a:r>
              <a:rPr kumimoji="0" lang="de-DE" sz="600" b="0" i="0" u="none" strike="noStrike" kern="1200" cap="none" spc="0" normalizeH="0" baseline="0" noProof="0" dirty="0">
                <a:ln>
                  <a:noFill/>
                </a:ln>
                <a:solidFill>
                  <a:prstClr val="black"/>
                </a:solidFill>
                <a:effectLst/>
                <a:uLnTx/>
                <a:uFillTx/>
                <a:latin typeface="Arial"/>
                <a:ea typeface="+mn-ea"/>
                <a:cs typeface="+mn-cs"/>
              </a:rPr>
              <a:t> 2019</a:t>
            </a:r>
          </a:p>
        </p:txBody>
      </p:sp>
      <p:sp>
        <p:nvSpPr>
          <p:cNvPr id="64" name="Textfeld 63">
            <a:extLst>
              <a:ext uri="{FF2B5EF4-FFF2-40B4-BE49-F238E27FC236}">
                <a16:creationId xmlns:a16="http://schemas.microsoft.com/office/drawing/2014/main" xmlns="" id="{AABEA954-15EE-4383-A0B0-E676B5E77C07}"/>
              </a:ext>
            </a:extLst>
          </p:cNvPr>
          <p:cNvSpPr txBox="1"/>
          <p:nvPr/>
        </p:nvSpPr>
        <p:spPr>
          <a:xfrm>
            <a:off x="451758" y="6063099"/>
            <a:ext cx="8164800" cy="246221"/>
          </a:xfrm>
          <a:prstGeom prst="rect">
            <a:avLst/>
          </a:prstGeom>
          <a:noFill/>
        </p:spPr>
        <p:txBody>
          <a:bodyPr wrap="square" rtlCol="0">
            <a:spAutoFit/>
          </a:bodyPr>
          <a:lstStyle/>
          <a:p>
            <a:pPr marL="0" lvl="1">
              <a:tabLst>
                <a:tab pos="180975" algn="l"/>
              </a:tabLst>
            </a:pPr>
            <a:r>
              <a:rPr lang="de-DE" sz="1000" dirty="0">
                <a:latin typeface="Arial" panose="020B0604020202020204" pitchFamily="34" charset="0"/>
                <a:cs typeface="Arial" panose="020B0604020202020204" pitchFamily="34" charset="0"/>
                <a:sym typeface="Arial" panose="020B0604020202020204" pitchFamily="34" charset="0"/>
              </a:rPr>
              <a:t>Quelle: Wiener Linien</a:t>
            </a:r>
          </a:p>
        </p:txBody>
      </p:sp>
      <p:cxnSp>
        <p:nvCxnSpPr>
          <p:cNvPr id="65" name="Gerade Verbindung 6">
            <a:extLst>
              <a:ext uri="{FF2B5EF4-FFF2-40B4-BE49-F238E27FC236}">
                <a16:creationId xmlns:a16="http://schemas.microsoft.com/office/drawing/2014/main" xmlns="" id="{AF90CF6B-DF05-4B77-92F4-34F77402F73D}"/>
              </a:ext>
            </a:extLst>
          </p:cNvPr>
          <p:cNvCxnSpPr/>
          <p:nvPr>
            <p:custDataLst>
              <p:tags r:id="rId48"/>
            </p:custDataLst>
          </p:nvPr>
        </p:nvCxnSpPr>
        <p:spPr>
          <a:xfrm>
            <a:off x="539552" y="5877272"/>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Gerader Verbinder 49">
            <a:extLst>
              <a:ext uri="{FF2B5EF4-FFF2-40B4-BE49-F238E27FC236}">
                <a16:creationId xmlns:a16="http://schemas.microsoft.com/office/drawing/2014/main" xmlns="" id="{A60C9A32-17DE-4772-B23F-AD4E9FACA71C}"/>
              </a:ext>
            </a:extLst>
          </p:cNvPr>
          <p:cNvCxnSpPr>
            <a:cxnSpLocks/>
          </p:cNvCxnSpPr>
          <p:nvPr/>
        </p:nvCxnSpPr>
        <p:spPr>
          <a:xfrm flipH="1">
            <a:off x="547218" y="6000303"/>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xmlns="" id="{F6140A5D-71E4-414F-AD49-CFD6EC212779}"/>
              </a:ext>
            </a:extLst>
          </p:cNvPr>
          <p:cNvSpPr/>
          <p:nvPr/>
        </p:nvSpPr>
        <p:spPr>
          <a:xfrm>
            <a:off x="887781" y="5877272"/>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Jahreskarte Juni 2012</a:t>
            </a:r>
          </a:p>
        </p:txBody>
      </p:sp>
    </p:spTree>
    <p:extLst>
      <p:ext uri="{BB962C8B-B14F-4D97-AF65-F5344CB8AC3E}">
        <p14:creationId xmlns:p14="http://schemas.microsoft.com/office/powerpoint/2010/main" val="2219126301"/>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076B1DC3-23ED-4910-9CD6-A6F7165DEF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7041" name="think-cell Folie" r:id="rId17" imgW="321" imgH="318" progId="TCLayout.ActiveDocument.1">
                  <p:embed/>
                </p:oleObj>
              </mc:Choice>
              <mc:Fallback>
                <p:oleObj name="think-cell Folie" r:id="rId17" imgW="321" imgH="318" progId="TCLayout.ActiveDocument.1">
                  <p:embed/>
                  <p:pic>
                    <p:nvPicPr>
                      <p:cNvPr id="5" name="Objekt 4" hidden="1">
                        <a:extLst>
                          <a:ext uri="{FF2B5EF4-FFF2-40B4-BE49-F238E27FC236}">
                            <a16:creationId xmlns:a16="http://schemas.microsoft.com/office/drawing/2014/main" xmlns="" id="{076B1DC3-23ED-4910-9CD6-A6F7165DEF9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 id="{7BE1DB50-E6AB-4193-866B-7B26B6A4AE5D}"/>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3F2647A3-3327-429B-BA83-56FFBC30EB00}"/>
              </a:ext>
            </a:extLst>
          </p:cNvPr>
          <p:cNvSpPr>
            <a:spLocks noGrp="1"/>
          </p:cNvSpPr>
          <p:nvPr>
            <p:ph type="title"/>
          </p:nvPr>
        </p:nvSpPr>
        <p:spPr/>
        <p:txBody>
          <a:bodyPr/>
          <a:lstStyle/>
          <a:p>
            <a:r>
              <a:rPr lang="de-DE" dirty="0"/>
              <a:t>Die Einnahmen aus der Parkraumbewirtschaftung in Wien, übertreffen die Einnahmen deutscher Städte deutlich</a:t>
            </a:r>
          </a:p>
        </p:txBody>
      </p:sp>
      <p:sp>
        <p:nvSpPr>
          <p:cNvPr id="4" name="Foliennummernplatzhalter 3">
            <a:extLst>
              <a:ext uri="{FF2B5EF4-FFF2-40B4-BE49-F238E27FC236}">
                <a16:creationId xmlns:a16="http://schemas.microsoft.com/office/drawing/2014/main" xmlns="" id="{C3CD2858-DC16-4283-936F-F82A3E7F7319}"/>
              </a:ext>
            </a:extLst>
          </p:cNvPr>
          <p:cNvSpPr>
            <a:spLocks noGrp="1"/>
          </p:cNvSpPr>
          <p:nvPr>
            <p:ph type="sldNum" sz="quarter" idx="11"/>
          </p:nvPr>
        </p:nvSpPr>
        <p:spPr/>
        <p:txBody>
          <a:bodyPr/>
          <a:lstStyle/>
          <a:p>
            <a:fld id="{CD21EFEB-933F-4F46-A5AD-B6372944D9E5}" type="slidenum">
              <a:rPr lang="de-DE" smtClean="0"/>
              <a:pPr/>
              <a:t>36</a:t>
            </a:fld>
            <a:endParaRPr lang="de-DE" dirty="0"/>
          </a:p>
        </p:txBody>
      </p:sp>
      <p:sp>
        <p:nvSpPr>
          <p:cNvPr id="9" name="Inhaltsplatzhalter 8">
            <a:extLst>
              <a:ext uri="{FF2B5EF4-FFF2-40B4-BE49-F238E27FC236}">
                <a16:creationId xmlns:a16="http://schemas.microsoft.com/office/drawing/2014/main" xmlns="" id="{141395D0-1E83-4412-ABE2-A8BBD71422A9}"/>
              </a:ext>
            </a:extLst>
          </p:cNvPr>
          <p:cNvSpPr>
            <a:spLocks noGrp="1"/>
          </p:cNvSpPr>
          <p:nvPr>
            <p:ph idx="1"/>
          </p:nvPr>
        </p:nvSpPr>
        <p:spPr/>
        <p:txBody>
          <a:bodyPr/>
          <a:lstStyle/>
          <a:p>
            <a:r>
              <a:rPr lang="de-DE" dirty="0"/>
              <a:t>Finanzierung: Parkraumbewirtschaftung</a:t>
            </a:r>
          </a:p>
        </p:txBody>
      </p:sp>
      <p:cxnSp>
        <p:nvCxnSpPr>
          <p:cNvPr id="8" name="Gerade Verbindung 113">
            <a:extLst>
              <a:ext uri="{FF2B5EF4-FFF2-40B4-BE49-F238E27FC236}">
                <a16:creationId xmlns:a16="http://schemas.microsoft.com/office/drawing/2014/main" xmlns="" id="{954D63E5-28A9-42C8-B699-FA413F1E13CC}"/>
              </a:ext>
            </a:extLst>
          </p:cNvPr>
          <p:cNvCxnSpPr>
            <a:cxnSpLocks/>
          </p:cNvCxnSpPr>
          <p:nvPr/>
        </p:nvCxnSpPr>
        <p:spPr>
          <a:xfrm>
            <a:off x="539750" y="5828950"/>
            <a:ext cx="8064500"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xmlns="" id="{467C0094-D220-4AAC-A8A9-69C2343D7A77}"/>
              </a:ext>
            </a:extLst>
          </p:cNvPr>
          <p:cNvSpPr/>
          <p:nvPr/>
        </p:nvSpPr>
        <p:spPr>
          <a:xfrm>
            <a:off x="750866" y="2565400"/>
            <a:ext cx="1233436" cy="360363"/>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400" b="1" dirty="0">
                <a:solidFill>
                  <a:schemeClr val="tx1"/>
                </a:solidFill>
              </a:rPr>
              <a:t>∑ 104 € </a:t>
            </a:r>
          </a:p>
        </p:txBody>
      </p:sp>
      <p:sp>
        <p:nvSpPr>
          <p:cNvPr id="12" name="Ellipse 11">
            <a:extLst>
              <a:ext uri="{FF2B5EF4-FFF2-40B4-BE49-F238E27FC236}">
                <a16:creationId xmlns:a16="http://schemas.microsoft.com/office/drawing/2014/main" xmlns="" id="{8CC99A4C-6FAE-4FCD-8E92-EDF7815CCD06}"/>
              </a:ext>
            </a:extLst>
          </p:cNvPr>
          <p:cNvSpPr/>
          <p:nvPr/>
        </p:nvSpPr>
        <p:spPr>
          <a:xfrm>
            <a:off x="2358911" y="2565400"/>
            <a:ext cx="1233488" cy="360363"/>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rPr>
              <a:t>∑ 20 € </a:t>
            </a:r>
          </a:p>
        </p:txBody>
      </p:sp>
      <p:sp>
        <p:nvSpPr>
          <p:cNvPr id="13" name="Ellipse 12">
            <a:extLst>
              <a:ext uri="{FF2B5EF4-FFF2-40B4-BE49-F238E27FC236}">
                <a16:creationId xmlns:a16="http://schemas.microsoft.com/office/drawing/2014/main" xmlns="" id="{3B6456A6-6B23-4CD4-8256-CCBC4B23894D}"/>
              </a:ext>
            </a:extLst>
          </p:cNvPr>
          <p:cNvSpPr/>
          <p:nvPr/>
        </p:nvSpPr>
        <p:spPr>
          <a:xfrm>
            <a:off x="3967008" y="2565400"/>
            <a:ext cx="1233488" cy="360363"/>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rPr>
              <a:t>∑ 12 € </a:t>
            </a:r>
          </a:p>
        </p:txBody>
      </p:sp>
      <p:sp>
        <p:nvSpPr>
          <p:cNvPr id="15" name="Ellipse 14">
            <a:extLst>
              <a:ext uri="{FF2B5EF4-FFF2-40B4-BE49-F238E27FC236}">
                <a16:creationId xmlns:a16="http://schemas.microsoft.com/office/drawing/2014/main" xmlns="" id="{6D8B1531-904B-4FF8-8BD5-B647A09A4E69}"/>
              </a:ext>
            </a:extLst>
          </p:cNvPr>
          <p:cNvSpPr/>
          <p:nvPr/>
        </p:nvSpPr>
        <p:spPr>
          <a:xfrm>
            <a:off x="5575105" y="2565400"/>
            <a:ext cx="1233488" cy="360363"/>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rPr>
              <a:t>∑ 34 € </a:t>
            </a:r>
          </a:p>
        </p:txBody>
      </p:sp>
      <p:sp>
        <p:nvSpPr>
          <p:cNvPr id="16" name="Ellipse 15">
            <a:extLst>
              <a:ext uri="{FF2B5EF4-FFF2-40B4-BE49-F238E27FC236}">
                <a16:creationId xmlns:a16="http://schemas.microsoft.com/office/drawing/2014/main" xmlns="" id="{08C6032C-A9A9-4CC9-BA8B-A3B10C17DDF9}"/>
              </a:ext>
            </a:extLst>
          </p:cNvPr>
          <p:cNvSpPr/>
          <p:nvPr/>
        </p:nvSpPr>
        <p:spPr>
          <a:xfrm>
            <a:off x="7183201" y="2565400"/>
            <a:ext cx="1233488" cy="360363"/>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olidFill>
                  <a:schemeClr val="tx1"/>
                </a:solidFill>
              </a:rPr>
              <a:t>∑ 34 € </a:t>
            </a:r>
          </a:p>
        </p:txBody>
      </p:sp>
      <p:graphicFrame>
        <p:nvGraphicFramePr>
          <p:cNvPr id="38" name="Chart 3">
            <a:extLst>
              <a:ext uri="{FF2B5EF4-FFF2-40B4-BE49-F238E27FC236}">
                <a16:creationId xmlns:a16="http://schemas.microsoft.com/office/drawing/2014/main" xmlns="" id="{D9847DCB-E030-4DED-ADE0-4762A317B496}"/>
              </a:ext>
            </a:extLst>
          </p:cNvPr>
          <p:cNvGraphicFramePr/>
          <p:nvPr>
            <p:custDataLst>
              <p:tags r:id="rId4"/>
            </p:custDataLst>
          </p:nvPr>
        </p:nvGraphicFramePr>
        <p:xfrm>
          <a:off x="457200" y="3060700"/>
          <a:ext cx="8229600" cy="1990725"/>
        </p:xfrm>
        <a:graphic>
          <a:graphicData uri="http://schemas.openxmlformats.org/drawingml/2006/chart">
            <c:chart xmlns:c="http://schemas.openxmlformats.org/drawingml/2006/chart" xmlns:r="http://schemas.openxmlformats.org/officeDocument/2006/relationships" r:id="rId19"/>
          </a:graphicData>
        </a:graphic>
      </p:graphicFrame>
      <p:sp>
        <p:nvSpPr>
          <p:cNvPr id="37" name="Textplatzhalter 2">
            <a:extLst>
              <a:ext uri="{FF2B5EF4-FFF2-40B4-BE49-F238E27FC236}">
                <a16:creationId xmlns:a16="http://schemas.microsoft.com/office/drawing/2014/main" xmlns="" id="{504135EC-2177-4E1E-836C-C504D94FB87F}"/>
              </a:ext>
            </a:extLst>
          </p:cNvPr>
          <p:cNvSpPr>
            <a:spLocks noGrp="1"/>
          </p:cNvSpPr>
          <p:nvPr>
            <p:custDataLst>
              <p:tags r:id="rId5"/>
            </p:custDataLst>
          </p:nvPr>
        </p:nvSpPr>
        <p:spPr bwMode="auto">
          <a:xfrm>
            <a:off x="5813425" y="5027613"/>
            <a:ext cx="7413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F3AEFC3C-0BBC-4CA9-80B1-C7FDF90CF609}" type="datetime'''''''''''M''''''''''''''''ü''''n''''c''h''''''''''e''''n'">
              <a:rPr lang="de-DE" altLang="en-US" sz="1400" smtClean="0"/>
              <a:pPr/>
              <a:t>München</a:t>
            </a:fld>
            <a:endParaRPr lang="de-DE" sz="1400" dirty="0">
              <a:sym typeface="+mn-lt"/>
            </a:endParaRPr>
          </a:p>
        </p:txBody>
      </p:sp>
      <p:sp>
        <p:nvSpPr>
          <p:cNvPr id="19" name="Textplatzhalter 2">
            <a:extLst>
              <a:ext uri="{FF2B5EF4-FFF2-40B4-BE49-F238E27FC236}">
                <a16:creationId xmlns:a16="http://schemas.microsoft.com/office/drawing/2014/main" xmlns="" id="{4C18EA3C-C9B9-4B81-BF24-32531532CC46}"/>
              </a:ext>
            </a:extLst>
          </p:cNvPr>
          <p:cNvSpPr>
            <a:spLocks noGrp="1"/>
          </p:cNvSpPr>
          <p:nvPr>
            <p:custDataLst>
              <p:tags r:id="rId6"/>
            </p:custDataLst>
          </p:nvPr>
        </p:nvSpPr>
        <p:spPr bwMode="auto">
          <a:xfrm>
            <a:off x="1136650" y="5027613"/>
            <a:ext cx="4175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74F5606D-495C-4AA0-A96A-4824F1646FAF}" type="datetime'''''''''''''''''''W''''''''''''''''''''''''''''''''i''''''en'">
              <a:rPr lang="de-DE" altLang="en-US" sz="1400" smtClean="0"/>
              <a:pPr/>
              <a:t>Wien</a:t>
            </a:fld>
            <a:endParaRPr lang="de-DE" sz="1400" dirty="0">
              <a:sym typeface="+mn-lt"/>
            </a:endParaRPr>
          </a:p>
        </p:txBody>
      </p:sp>
      <p:sp>
        <p:nvSpPr>
          <p:cNvPr id="33" name="Textplatzhalter 2">
            <a:extLst>
              <a:ext uri="{FF2B5EF4-FFF2-40B4-BE49-F238E27FC236}">
                <a16:creationId xmlns:a16="http://schemas.microsoft.com/office/drawing/2014/main" xmlns="" id="{4B982783-885C-4FE0-8F43-7296F781FFB1}"/>
              </a:ext>
            </a:extLst>
          </p:cNvPr>
          <p:cNvSpPr>
            <a:spLocks noGrp="1"/>
          </p:cNvSpPr>
          <p:nvPr>
            <p:custDataLst>
              <p:tags r:id="rId7"/>
            </p:custDataLst>
          </p:nvPr>
        </p:nvSpPr>
        <p:spPr bwMode="auto">
          <a:xfrm>
            <a:off x="2724150" y="5027613"/>
            <a:ext cx="4667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2127886B-6093-46A0-8CA8-BDCBE412C7AD}" type="datetime'''''B''''''''e''''''''r''l''''''''i''''''''n'">
              <a:rPr lang="de-DE" altLang="en-US" sz="1400" smtClean="0"/>
              <a:pPr/>
              <a:t>Berlin</a:t>
            </a:fld>
            <a:endParaRPr lang="de-DE" sz="1400" dirty="0">
              <a:sym typeface="+mn-lt"/>
            </a:endParaRPr>
          </a:p>
        </p:txBody>
      </p:sp>
      <p:sp>
        <p:nvSpPr>
          <p:cNvPr id="35" name="Textplatzhalter 2">
            <a:extLst>
              <a:ext uri="{FF2B5EF4-FFF2-40B4-BE49-F238E27FC236}">
                <a16:creationId xmlns:a16="http://schemas.microsoft.com/office/drawing/2014/main" xmlns="" id="{72DB6F49-E067-436D-AFD6-1845ED66FF71}"/>
              </a:ext>
            </a:extLst>
          </p:cNvPr>
          <p:cNvSpPr>
            <a:spLocks noGrp="1"/>
          </p:cNvSpPr>
          <p:nvPr>
            <p:custDataLst>
              <p:tags r:id="rId8"/>
            </p:custDataLst>
          </p:nvPr>
        </p:nvSpPr>
        <p:spPr bwMode="auto">
          <a:xfrm>
            <a:off x="4200525" y="5027613"/>
            <a:ext cx="7413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F4E0AFF9-F8D7-476C-86B3-1AAED66A98D5}" type="datetime'''Ha''''mb''''u''''''''r''''''''''''''''''g'''''''''''''">
              <a:rPr lang="de-DE" altLang="en-US" sz="1400" smtClean="0"/>
              <a:pPr/>
              <a:t>Hamburg</a:t>
            </a:fld>
            <a:endParaRPr lang="de-DE" sz="1400" dirty="0">
              <a:sym typeface="+mn-lt"/>
            </a:endParaRPr>
          </a:p>
        </p:txBody>
      </p:sp>
      <p:sp>
        <p:nvSpPr>
          <p:cNvPr id="39" name="Textplatzhalter 2">
            <a:extLst>
              <a:ext uri="{FF2B5EF4-FFF2-40B4-BE49-F238E27FC236}">
                <a16:creationId xmlns:a16="http://schemas.microsoft.com/office/drawing/2014/main" xmlns="" id="{DDD5490E-1E48-4580-B016-639FF5AA4875}"/>
              </a:ext>
            </a:extLst>
          </p:cNvPr>
          <p:cNvSpPr>
            <a:spLocks noGrp="1"/>
          </p:cNvSpPr>
          <p:nvPr>
            <p:custDataLst>
              <p:tags r:id="rId9"/>
            </p:custDataLst>
          </p:nvPr>
        </p:nvSpPr>
        <p:spPr bwMode="auto">
          <a:xfrm>
            <a:off x="7612063" y="5027613"/>
            <a:ext cx="3683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C7543FB0-ECF7-4297-8C18-C2CB5F6677E3}" type="datetime'''''''''''''K''''''''''''''''''ö''''''''ln'''">
              <a:rPr lang="de-DE" altLang="en-US" sz="1400" smtClean="0"/>
              <a:pPr/>
              <a:t>Köln</a:t>
            </a:fld>
            <a:endParaRPr lang="de-DE" sz="1400" dirty="0">
              <a:sym typeface="+mn-lt"/>
            </a:endParaRPr>
          </a:p>
        </p:txBody>
      </p:sp>
      <p:sp>
        <p:nvSpPr>
          <p:cNvPr id="57" name="Rechteck 56">
            <a:extLst>
              <a:ext uri="{FF2B5EF4-FFF2-40B4-BE49-F238E27FC236}">
                <a16:creationId xmlns:a16="http://schemas.microsoft.com/office/drawing/2014/main" xmlns="" id="{80943A8E-A7F7-4E06-A931-DF1F067328D0}"/>
              </a:ext>
            </a:extLst>
          </p:cNvPr>
          <p:cNvSpPr/>
          <p:nvPr>
            <p:custDataLst>
              <p:tags r:id="rId10"/>
            </p:custDataLst>
          </p:nvPr>
        </p:nvSpPr>
        <p:spPr bwMode="auto">
          <a:xfrm>
            <a:off x="554038" y="5883275"/>
            <a:ext cx="179388"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58" name="Rechteck 57">
            <a:extLst>
              <a:ext uri="{FF2B5EF4-FFF2-40B4-BE49-F238E27FC236}">
                <a16:creationId xmlns:a16="http://schemas.microsoft.com/office/drawing/2014/main" xmlns="" id="{CF4274DE-8A17-4042-BF6C-6D97A08C56E7}"/>
              </a:ext>
            </a:extLst>
          </p:cNvPr>
          <p:cNvSpPr/>
          <p:nvPr>
            <p:custDataLst>
              <p:tags r:id="rId11"/>
            </p:custDataLst>
          </p:nvPr>
        </p:nvSpPr>
        <p:spPr bwMode="auto">
          <a:xfrm>
            <a:off x="1446213" y="5883275"/>
            <a:ext cx="179388" cy="13335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59" name="Rechteck 58">
            <a:extLst>
              <a:ext uri="{FF2B5EF4-FFF2-40B4-BE49-F238E27FC236}">
                <a16:creationId xmlns:a16="http://schemas.microsoft.com/office/drawing/2014/main" xmlns="" id="{D53EF8DB-C950-4DEA-A90D-789F46ACF65E}"/>
              </a:ext>
            </a:extLst>
          </p:cNvPr>
          <p:cNvSpPr/>
          <p:nvPr>
            <p:custDataLst>
              <p:tags r:id="rId12"/>
            </p:custDataLst>
          </p:nvPr>
        </p:nvSpPr>
        <p:spPr bwMode="auto">
          <a:xfrm>
            <a:off x="2184400" y="5883275"/>
            <a:ext cx="179388" cy="133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53" name="Textplatzhalter 2">
            <a:extLst>
              <a:ext uri="{FF2B5EF4-FFF2-40B4-BE49-F238E27FC236}">
                <a16:creationId xmlns:a16="http://schemas.microsoft.com/office/drawing/2014/main" xmlns="" id="{7E77AEF7-A7C3-4E6E-9D35-5EB7ED2D0117}"/>
              </a:ext>
            </a:extLst>
          </p:cNvPr>
          <p:cNvSpPr>
            <a:spLocks noGrp="1"/>
          </p:cNvSpPr>
          <p:nvPr>
            <p:custDataLst>
              <p:tags r:id="rId13"/>
            </p:custDataLst>
          </p:nvPr>
        </p:nvSpPr>
        <p:spPr bwMode="auto">
          <a:xfrm>
            <a:off x="784225" y="5878513"/>
            <a:ext cx="5603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1AC380ED-D668-4153-9539-5A8B482D302B}" type="datetime'''G''e''''''''''''''''b''''ü''h''''''''r''''''''''''e''n'''''">
              <a:rPr lang="de-DE" altLang="en-US" sz="1000" smtClean="0">
                <a:sym typeface="+mn-lt"/>
              </a:rPr>
              <a:pPr lvl="1">
                <a:spcBef>
                  <a:spcPct val="0"/>
                </a:spcBef>
                <a:spcAft>
                  <a:spcPct val="0"/>
                </a:spcAft>
              </a:pPr>
              <a:t>Gebühren</a:t>
            </a:fld>
            <a:endParaRPr lang="de-DE" sz="1000" dirty="0">
              <a:sym typeface="+mn-lt"/>
            </a:endParaRPr>
          </a:p>
        </p:txBody>
      </p:sp>
      <p:sp>
        <p:nvSpPr>
          <p:cNvPr id="54" name="Textplatzhalter 2">
            <a:extLst>
              <a:ext uri="{FF2B5EF4-FFF2-40B4-BE49-F238E27FC236}">
                <a16:creationId xmlns:a16="http://schemas.microsoft.com/office/drawing/2014/main" xmlns="" id="{1E36BF7D-4EC4-4047-8961-5AB40F6CCD23}"/>
              </a:ext>
            </a:extLst>
          </p:cNvPr>
          <p:cNvSpPr>
            <a:spLocks noGrp="1"/>
          </p:cNvSpPr>
          <p:nvPr>
            <p:custDataLst>
              <p:tags r:id="rId14"/>
            </p:custDataLst>
          </p:nvPr>
        </p:nvSpPr>
        <p:spPr bwMode="auto">
          <a:xfrm>
            <a:off x="1676400" y="5878513"/>
            <a:ext cx="406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CFABF939-E695-4C91-9949-4BEF9D3C8E48}" type="datetime'S''t''''r''''''''''''''''''''''''af''''e''n'''''">
              <a:rPr lang="de-DE" altLang="en-US" sz="1000" smtClean="0">
                <a:sym typeface="+mn-lt"/>
              </a:rPr>
              <a:pPr lvl="1">
                <a:spcBef>
                  <a:spcPct val="0"/>
                </a:spcBef>
                <a:spcAft>
                  <a:spcPct val="0"/>
                </a:spcAft>
              </a:pPr>
              <a:t>Strafen</a:t>
            </a:fld>
            <a:endParaRPr lang="de-DE" sz="1000" dirty="0">
              <a:sym typeface="+mn-lt"/>
            </a:endParaRPr>
          </a:p>
        </p:txBody>
      </p:sp>
      <p:sp>
        <p:nvSpPr>
          <p:cNvPr id="55" name="Textplatzhalter 2">
            <a:extLst>
              <a:ext uri="{FF2B5EF4-FFF2-40B4-BE49-F238E27FC236}">
                <a16:creationId xmlns:a16="http://schemas.microsoft.com/office/drawing/2014/main" xmlns="" id="{5767F4F4-3B95-4933-91F1-35AD71F8424D}"/>
              </a:ext>
            </a:extLst>
          </p:cNvPr>
          <p:cNvSpPr>
            <a:spLocks noGrp="1"/>
          </p:cNvSpPr>
          <p:nvPr>
            <p:custDataLst>
              <p:tags r:id="rId15"/>
            </p:custDataLst>
          </p:nvPr>
        </p:nvSpPr>
        <p:spPr bwMode="auto">
          <a:xfrm>
            <a:off x="2414588" y="5878513"/>
            <a:ext cx="9540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251D5D9A-C1CF-4D2A-9C04-8859AB72A867}" type="datetime'B''''''''ewo''hne''''r''p''''''''''a''''r''''''''k''e''n'">
              <a:rPr lang="de-DE" altLang="en-US" sz="1000" smtClean="0">
                <a:sym typeface="+mn-lt"/>
              </a:rPr>
              <a:pPr lvl="1">
                <a:spcBef>
                  <a:spcPct val="0"/>
                </a:spcBef>
                <a:spcAft>
                  <a:spcPct val="0"/>
                </a:spcAft>
              </a:pPr>
              <a:t>Bewohnerparken</a:t>
            </a:fld>
            <a:endParaRPr lang="de-DE" sz="1000" dirty="0">
              <a:sym typeface="+mn-lt"/>
            </a:endParaRPr>
          </a:p>
        </p:txBody>
      </p:sp>
      <p:sp>
        <p:nvSpPr>
          <p:cNvPr id="26" name="Rechteck 25">
            <a:extLst>
              <a:ext uri="{FF2B5EF4-FFF2-40B4-BE49-F238E27FC236}">
                <a16:creationId xmlns:a16="http://schemas.microsoft.com/office/drawing/2014/main" xmlns="" id="{5108CC67-5E0D-4969-A4F6-D4E5BDEA0AC1}"/>
              </a:ext>
            </a:extLst>
          </p:cNvPr>
          <p:cNvSpPr/>
          <p:nvPr/>
        </p:nvSpPr>
        <p:spPr>
          <a:xfrm>
            <a:off x="444500" y="1772665"/>
            <a:ext cx="4847580"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de-DE" sz="1400" b="1" dirty="0">
                <a:solidFill>
                  <a:schemeClr val="tx1"/>
                </a:solidFill>
              </a:rPr>
              <a:t>Einnahmen aus der Parkraumbewirtschaftung</a:t>
            </a:r>
          </a:p>
          <a:p>
            <a:pPr algn="l">
              <a:spcBef>
                <a:spcPts val="600"/>
              </a:spcBef>
            </a:pPr>
            <a:r>
              <a:rPr lang="de-DE" sz="1400" dirty="0">
                <a:solidFill>
                  <a:schemeClr val="tx1"/>
                </a:solidFill>
              </a:rPr>
              <a:t>in € pro Einwohner und Jahr</a:t>
            </a:r>
          </a:p>
        </p:txBody>
      </p:sp>
      <p:cxnSp>
        <p:nvCxnSpPr>
          <p:cNvPr id="27" name="Gerade Verbindung 6">
            <a:extLst>
              <a:ext uri="{FF2B5EF4-FFF2-40B4-BE49-F238E27FC236}">
                <a16:creationId xmlns:a16="http://schemas.microsoft.com/office/drawing/2014/main" xmlns="" id="{87F11A89-BEA1-450D-8996-EC2D67D2170A}"/>
              </a:ext>
            </a:extLst>
          </p:cNvPr>
          <p:cNvCxnSpPr>
            <a:cxnSpLocks/>
          </p:cNvCxnSpPr>
          <p:nvPr/>
        </p:nvCxnSpPr>
        <p:spPr>
          <a:xfrm>
            <a:off x="539751" y="2061023"/>
            <a:ext cx="807052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8" name="Gruppieren 27">
            <a:extLst>
              <a:ext uri="{FF2B5EF4-FFF2-40B4-BE49-F238E27FC236}">
                <a16:creationId xmlns:a16="http://schemas.microsoft.com/office/drawing/2014/main" xmlns="" id="{165B67E7-B102-463A-8D1E-EFB9054C0D12}"/>
              </a:ext>
            </a:extLst>
          </p:cNvPr>
          <p:cNvGrpSpPr/>
          <p:nvPr/>
        </p:nvGrpSpPr>
        <p:grpSpPr>
          <a:xfrm>
            <a:off x="8156091" y="1628800"/>
            <a:ext cx="390500" cy="390500"/>
            <a:chOff x="5508104" y="1628800"/>
            <a:chExt cx="360040" cy="360040"/>
          </a:xfrm>
        </p:grpSpPr>
        <p:sp>
          <p:nvSpPr>
            <p:cNvPr id="29" name="Ellipse 28">
              <a:extLst>
                <a:ext uri="{FF2B5EF4-FFF2-40B4-BE49-F238E27FC236}">
                  <a16:creationId xmlns:a16="http://schemas.microsoft.com/office/drawing/2014/main" xmlns="" id="{491C0D44-578F-4518-883F-31CEEA4E053B}"/>
                </a:ext>
              </a:extLst>
            </p:cNvPr>
            <p:cNvSpPr/>
            <p:nvPr/>
          </p:nvSpPr>
          <p:spPr>
            <a:xfrm>
              <a:off x="5508104" y="162880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30" name="Grafik 29">
              <a:extLst>
                <a:ext uri="{FF2B5EF4-FFF2-40B4-BE49-F238E27FC236}">
                  <a16:creationId xmlns:a16="http://schemas.microsoft.com/office/drawing/2014/main" xmlns="" id="{5EEE8696-C862-48C8-B8A8-D66EB924EC7C}"/>
                </a:ext>
              </a:extLst>
            </p:cNvPr>
            <p:cNvPicPr>
              <a:picLocks noChangeAspect="1"/>
            </p:cNvPicPr>
            <p:nvPr/>
          </p:nvPicPr>
          <p:blipFill>
            <a:blip r:embed="rId20" cstate="hqprint">
              <a:duotone>
                <a:schemeClr val="accent5">
                  <a:shade val="45000"/>
                  <a:satMod val="135000"/>
                </a:schemeClr>
                <a:prstClr val="white"/>
              </a:duotone>
              <a:extLst>
                <a:ext uri="{BEBA8EAE-BF5A-486C-A8C5-ECC9F3942E4B}">
                  <a14:imgProps xmlns:a14="http://schemas.microsoft.com/office/drawing/2010/main">
                    <a14:imgLayer r:embed="rId21">
                      <a14:imgEffect>
                        <a14:brightnessContrast contrast="-70000"/>
                      </a14:imgEffect>
                    </a14:imgLayer>
                  </a14:imgProps>
                </a:ext>
                <a:ext uri="{28A0092B-C50C-407E-A947-70E740481C1C}">
                  <a14:useLocalDpi xmlns:a14="http://schemas.microsoft.com/office/drawing/2010/main"/>
                </a:ext>
              </a:extLst>
            </a:blip>
            <a:stretch>
              <a:fillRect/>
            </a:stretch>
          </p:blipFill>
          <p:spPr>
            <a:xfrm>
              <a:off x="5582380" y="1689364"/>
              <a:ext cx="230527" cy="230527"/>
            </a:xfrm>
            <a:prstGeom prst="rect">
              <a:avLst/>
            </a:prstGeom>
          </p:spPr>
        </p:pic>
      </p:grpSp>
      <p:pic>
        <p:nvPicPr>
          <p:cNvPr id="40" name="Grafik 39">
            <a:extLst>
              <a:ext uri="{FF2B5EF4-FFF2-40B4-BE49-F238E27FC236}">
                <a16:creationId xmlns:a16="http://schemas.microsoft.com/office/drawing/2014/main" xmlns="" id="{884DD064-072F-45AB-9A6D-56962E290998}"/>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4390835" y="5273870"/>
            <a:ext cx="257143" cy="360000"/>
          </a:xfrm>
          <a:prstGeom prst="rect">
            <a:avLst/>
          </a:prstGeom>
        </p:spPr>
      </p:pic>
      <p:pic>
        <p:nvPicPr>
          <p:cNvPr id="41" name="Grafik 40">
            <a:extLst>
              <a:ext uri="{FF2B5EF4-FFF2-40B4-BE49-F238E27FC236}">
                <a16:creationId xmlns:a16="http://schemas.microsoft.com/office/drawing/2014/main" xmlns="" id="{28045EA8-9E3A-4379-BBF7-8A0002C30D97}"/>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2828521" y="5245454"/>
            <a:ext cx="246933" cy="405519"/>
          </a:xfrm>
          <a:prstGeom prst="rect">
            <a:avLst/>
          </a:prstGeom>
        </p:spPr>
      </p:pic>
      <p:pic>
        <p:nvPicPr>
          <p:cNvPr id="42" name="Grafik 41">
            <a:extLst>
              <a:ext uri="{FF2B5EF4-FFF2-40B4-BE49-F238E27FC236}">
                <a16:creationId xmlns:a16="http://schemas.microsoft.com/office/drawing/2014/main" xmlns="" id="{C475B8F2-53D8-4E86-9E14-5D0D33182D83}"/>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6039643" y="5267466"/>
            <a:ext cx="288925" cy="361493"/>
          </a:xfrm>
          <a:prstGeom prst="rect">
            <a:avLst/>
          </a:prstGeom>
        </p:spPr>
      </p:pic>
      <p:pic>
        <p:nvPicPr>
          <p:cNvPr id="43" name="Grafik 42">
            <a:extLst>
              <a:ext uri="{FF2B5EF4-FFF2-40B4-BE49-F238E27FC236}">
                <a16:creationId xmlns:a16="http://schemas.microsoft.com/office/drawing/2014/main" xmlns="" id="{57A95974-E0D2-4EB5-9931-847FBE69A470}"/>
              </a:ext>
            </a:extLst>
          </p:cNvPr>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1189071" y="5272421"/>
            <a:ext cx="257142" cy="334284"/>
          </a:xfrm>
          <a:prstGeom prst="rect">
            <a:avLst/>
          </a:prstGeom>
        </p:spPr>
      </p:pic>
      <p:pic>
        <p:nvPicPr>
          <p:cNvPr id="44" name="Grafik 43">
            <a:extLst>
              <a:ext uri="{FF2B5EF4-FFF2-40B4-BE49-F238E27FC236}">
                <a16:creationId xmlns:a16="http://schemas.microsoft.com/office/drawing/2014/main" xmlns="" id="{F3600AA6-3E2E-4592-AD77-2604E6D79424}"/>
              </a:ext>
            </a:extLst>
          </p:cNvPr>
          <p:cNvPicPr>
            <a:picLocks noChangeAspect="1"/>
          </p:cNvPicPr>
          <p:nvPr/>
        </p:nvPicPr>
        <p:blipFill>
          <a:blip r:embed="rId26"/>
          <a:stretch>
            <a:fillRect/>
          </a:stretch>
        </p:blipFill>
        <p:spPr>
          <a:xfrm flipH="1">
            <a:off x="7646689" y="5274589"/>
            <a:ext cx="299047" cy="359155"/>
          </a:xfrm>
          <a:prstGeom prst="rect">
            <a:avLst/>
          </a:prstGeom>
        </p:spPr>
      </p:pic>
    </p:spTree>
    <p:extLst>
      <p:ext uri="{BB962C8B-B14F-4D97-AF65-F5344CB8AC3E}">
        <p14:creationId xmlns:p14="http://schemas.microsoft.com/office/powerpoint/2010/main" val="34851265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15871DAB-B767-48EB-9BDF-F4D3CCB700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231" name="think-cell Folie" r:id="rId15" imgW="351" imgH="351" progId="TCLayout.ActiveDocument.1">
                  <p:embed/>
                </p:oleObj>
              </mc:Choice>
              <mc:Fallback>
                <p:oleObj name="think-cell Folie" r:id="rId15" imgW="351" imgH="351" progId="TCLayout.ActiveDocument.1">
                  <p:embed/>
                  <p:pic>
                    <p:nvPicPr>
                      <p:cNvPr id="6" name="Objekt 5" hidden="1">
                        <a:extLst>
                          <a:ext uri="{FF2B5EF4-FFF2-40B4-BE49-F238E27FC236}">
                            <a16:creationId xmlns:a16="http://schemas.microsoft.com/office/drawing/2014/main" xmlns="" id="{15871DAB-B767-48EB-9BDF-F4D3CCB7002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xmlns="" id="{14B3E9D3-7717-4D3A-B781-9A5F006E0464}"/>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9" name="Eingekerbter Richtungspfeil 17">
            <a:extLst>
              <a:ext uri="{FF2B5EF4-FFF2-40B4-BE49-F238E27FC236}">
                <a16:creationId xmlns:a16="http://schemas.microsoft.com/office/drawing/2014/main" xmlns="" id="{A95BDD7C-7BA7-4B55-96AC-D08DCC5FAF74}"/>
              </a:ext>
            </a:extLst>
          </p:cNvPr>
          <p:cNvSpPr/>
          <p:nvPr/>
        </p:nvSpPr>
        <p:spPr>
          <a:xfrm>
            <a:off x="4617720" y="2996952"/>
            <a:ext cx="3986727" cy="648072"/>
          </a:xfrm>
          <a:prstGeom prst="chevron">
            <a:avLst>
              <a:gd name="adj" fmla="val 16955"/>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400" b="1" dirty="0">
                <a:solidFill>
                  <a:schemeClr val="tx1"/>
                </a:solidFill>
              </a:rPr>
              <a:t>Erforderliche Anpassungen auf </a:t>
            </a:r>
            <a:br>
              <a:rPr lang="de-DE" sz="1400" b="1" dirty="0">
                <a:solidFill>
                  <a:schemeClr val="tx1"/>
                </a:solidFill>
              </a:rPr>
            </a:br>
            <a:r>
              <a:rPr lang="de-DE" sz="1400" b="1" dirty="0">
                <a:solidFill>
                  <a:schemeClr val="tx1"/>
                </a:solidFill>
              </a:rPr>
              <a:t>kommunaler Ebene</a:t>
            </a:r>
          </a:p>
        </p:txBody>
      </p:sp>
      <p:sp>
        <p:nvSpPr>
          <p:cNvPr id="2" name="Titel 1"/>
          <p:cNvSpPr>
            <a:spLocks noGrp="1"/>
          </p:cNvSpPr>
          <p:nvPr>
            <p:ph type="title"/>
          </p:nvPr>
        </p:nvSpPr>
        <p:spPr/>
        <p:txBody>
          <a:bodyPr/>
          <a:lstStyle/>
          <a:p>
            <a:r>
              <a:rPr lang="de-DE" dirty="0"/>
              <a:t>Einzelne Instrumente der </a:t>
            </a:r>
            <a:r>
              <a:rPr lang="de-DE" dirty="0" err="1"/>
              <a:t>Nutznießerfinanzierung</a:t>
            </a:r>
            <a:r>
              <a:rPr lang="de-DE" dirty="0"/>
              <a:t> erfordern Anpassungen der rechtlichen Rahmenbedingungen</a:t>
            </a:r>
          </a:p>
        </p:txBody>
      </p:sp>
      <p:sp>
        <p:nvSpPr>
          <p:cNvPr id="4" name="Foliennummernplatzhalter 3"/>
          <p:cNvSpPr>
            <a:spLocks noGrp="1"/>
          </p:cNvSpPr>
          <p:nvPr>
            <p:ph type="sldNum" sz="quarter" idx="11"/>
          </p:nvPr>
        </p:nvSpPr>
        <p:spPr/>
        <p:txBody>
          <a:bodyPr/>
          <a:lstStyle/>
          <a:p>
            <a:fld id="{CD21EFEB-933F-4F46-A5AD-B6372944D9E5}" type="slidenum">
              <a:rPr lang="de-DE" smtClean="0"/>
              <a:pPr/>
              <a:t>37</a:t>
            </a:fld>
            <a:endParaRPr lang="de-DE" dirty="0"/>
          </a:p>
        </p:txBody>
      </p:sp>
      <p:sp>
        <p:nvSpPr>
          <p:cNvPr id="13" name="Inhaltsplatzhalter 12">
            <a:extLst>
              <a:ext uri="{FF2B5EF4-FFF2-40B4-BE49-F238E27FC236}">
                <a16:creationId xmlns:a16="http://schemas.microsoft.com/office/drawing/2014/main" xmlns="" id="{9564A886-0B10-4482-B4F9-D348B20C66D1}"/>
              </a:ext>
            </a:extLst>
          </p:cNvPr>
          <p:cNvSpPr>
            <a:spLocks noGrp="1"/>
          </p:cNvSpPr>
          <p:nvPr>
            <p:ph idx="1"/>
          </p:nvPr>
        </p:nvSpPr>
        <p:spPr/>
        <p:txBody>
          <a:bodyPr/>
          <a:lstStyle/>
          <a:p>
            <a:r>
              <a:rPr lang="de-DE" dirty="0"/>
              <a:t>Rechtliche Rahmenbedingungen</a:t>
            </a:r>
          </a:p>
        </p:txBody>
      </p:sp>
      <p:sp>
        <p:nvSpPr>
          <p:cNvPr id="7" name="Richtungspfeil 15">
            <a:extLst>
              <a:ext uri="{FF2B5EF4-FFF2-40B4-BE49-F238E27FC236}">
                <a16:creationId xmlns:a16="http://schemas.microsoft.com/office/drawing/2014/main" xmlns="" id="{F0B37093-5828-450D-8ED7-816309BE4CD3}"/>
              </a:ext>
            </a:extLst>
          </p:cNvPr>
          <p:cNvSpPr/>
          <p:nvPr>
            <p:custDataLst>
              <p:tags r:id="rId4"/>
            </p:custDataLst>
          </p:nvPr>
        </p:nvSpPr>
        <p:spPr>
          <a:xfrm>
            <a:off x="539553" y="2996952"/>
            <a:ext cx="4104455" cy="648072"/>
          </a:xfrm>
          <a:prstGeom prst="homePlate">
            <a:avLst>
              <a:gd name="adj" fmla="val 17184"/>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400" b="1" dirty="0">
                <a:solidFill>
                  <a:schemeClr val="tx1"/>
                </a:solidFill>
              </a:rPr>
              <a:t>Anpassung gesetzliche Regelung </a:t>
            </a:r>
            <a:br>
              <a:rPr lang="de-DE" sz="1400" b="1" dirty="0">
                <a:solidFill>
                  <a:schemeClr val="tx1"/>
                </a:solidFill>
              </a:rPr>
            </a:br>
            <a:r>
              <a:rPr lang="de-DE" sz="1400" b="1" dirty="0">
                <a:solidFill>
                  <a:schemeClr val="tx1"/>
                </a:solidFill>
              </a:rPr>
              <a:t>(überwiegend Länderebene)</a:t>
            </a:r>
          </a:p>
        </p:txBody>
      </p:sp>
      <p:sp>
        <p:nvSpPr>
          <p:cNvPr id="8" name="Ellipse 7">
            <a:extLst>
              <a:ext uri="{FF2B5EF4-FFF2-40B4-BE49-F238E27FC236}">
                <a16:creationId xmlns:a16="http://schemas.microsoft.com/office/drawing/2014/main" xmlns="" id="{9351B05D-DE97-4796-B25D-621CB8DD0FBC}"/>
              </a:ext>
            </a:extLst>
          </p:cNvPr>
          <p:cNvSpPr/>
          <p:nvPr>
            <p:custDataLst>
              <p:tags r:id="rId5"/>
            </p:custDataLst>
          </p:nvPr>
        </p:nvSpPr>
        <p:spPr>
          <a:xfrm>
            <a:off x="593306" y="2822729"/>
            <a:ext cx="288032" cy="28803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dirty="0">
                <a:solidFill>
                  <a:schemeClr val="tx1"/>
                </a:solidFill>
              </a:rPr>
              <a:t>1</a:t>
            </a:r>
          </a:p>
        </p:txBody>
      </p:sp>
      <p:sp>
        <p:nvSpPr>
          <p:cNvPr id="10" name="Ellipse 9">
            <a:extLst>
              <a:ext uri="{FF2B5EF4-FFF2-40B4-BE49-F238E27FC236}">
                <a16:creationId xmlns:a16="http://schemas.microsoft.com/office/drawing/2014/main" xmlns="" id="{189673B2-8B94-472B-AFDC-C56B408F6270}"/>
              </a:ext>
            </a:extLst>
          </p:cNvPr>
          <p:cNvSpPr/>
          <p:nvPr/>
        </p:nvSpPr>
        <p:spPr>
          <a:xfrm>
            <a:off x="4697762" y="2822729"/>
            <a:ext cx="288032" cy="28803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dirty="0">
                <a:solidFill>
                  <a:schemeClr val="tx1"/>
                </a:solidFill>
              </a:rPr>
              <a:t>2</a:t>
            </a:r>
          </a:p>
        </p:txBody>
      </p:sp>
      <p:sp>
        <p:nvSpPr>
          <p:cNvPr id="27" name="Freeform 7">
            <a:extLst>
              <a:ext uri="{FF2B5EF4-FFF2-40B4-BE49-F238E27FC236}">
                <a16:creationId xmlns:a16="http://schemas.microsoft.com/office/drawing/2014/main" xmlns="" id="{5151AF71-A02A-47DB-B11E-5248E651045D}"/>
              </a:ext>
            </a:extLst>
          </p:cNvPr>
          <p:cNvSpPr>
            <a:spLocks/>
          </p:cNvSpPr>
          <p:nvPr>
            <p:custDataLst>
              <p:tags r:id="rId6"/>
            </p:custDataLst>
          </p:nvPr>
        </p:nvSpPr>
        <p:spPr bwMode="auto">
          <a:xfrm rot="5400000">
            <a:off x="6467067" y="3329295"/>
            <a:ext cx="288032" cy="1650484"/>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1"/>
          </a:solidFill>
          <a:ln w="12700" cap="rnd">
            <a:noFill/>
            <a:round/>
            <a:headEnd type="none" w="sm" len="sm"/>
            <a:tailEnd type="none" w="sm" len="sm"/>
          </a:ln>
          <a:effectLst/>
        </p:spPr>
        <p:txBody>
          <a:bodyPr/>
          <a:lstStyle/>
          <a:p>
            <a:endParaRPr lang="de-DE" sz="1400" dirty="0"/>
          </a:p>
        </p:txBody>
      </p:sp>
      <p:sp>
        <p:nvSpPr>
          <p:cNvPr id="28" name="Freeform 7">
            <a:extLst>
              <a:ext uri="{FF2B5EF4-FFF2-40B4-BE49-F238E27FC236}">
                <a16:creationId xmlns:a16="http://schemas.microsoft.com/office/drawing/2014/main" xmlns="" id="{0CEB3EF7-D089-4DDB-A70B-BAEA91374A5C}"/>
              </a:ext>
            </a:extLst>
          </p:cNvPr>
          <p:cNvSpPr>
            <a:spLocks/>
          </p:cNvSpPr>
          <p:nvPr>
            <p:custDataLst>
              <p:tags r:id="rId7"/>
            </p:custDataLst>
          </p:nvPr>
        </p:nvSpPr>
        <p:spPr bwMode="auto">
          <a:xfrm rot="5400000">
            <a:off x="2447764" y="3329295"/>
            <a:ext cx="288032" cy="1650484"/>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1"/>
          </a:solidFill>
          <a:ln w="12700" cap="rnd">
            <a:noFill/>
            <a:round/>
            <a:headEnd type="none" w="sm" len="sm"/>
            <a:tailEnd type="none" w="sm" len="sm"/>
          </a:ln>
          <a:effectLst/>
        </p:spPr>
        <p:txBody>
          <a:bodyPr/>
          <a:lstStyle/>
          <a:p>
            <a:endParaRPr lang="de-DE" sz="1400" dirty="0"/>
          </a:p>
        </p:txBody>
      </p:sp>
      <p:sp>
        <p:nvSpPr>
          <p:cNvPr id="32" name="Inhaltsplatzhalter 2">
            <a:extLst>
              <a:ext uri="{FF2B5EF4-FFF2-40B4-BE49-F238E27FC236}">
                <a16:creationId xmlns:a16="http://schemas.microsoft.com/office/drawing/2014/main" xmlns="" id="{6138AD61-571C-450A-8BA8-1A351EA8A649}"/>
              </a:ext>
            </a:extLst>
          </p:cNvPr>
          <p:cNvSpPr txBox="1">
            <a:spLocks/>
          </p:cNvSpPr>
          <p:nvPr>
            <p:custDataLst>
              <p:tags r:id="rId8"/>
            </p:custDataLst>
          </p:nvPr>
        </p:nvSpPr>
        <p:spPr>
          <a:xfrm>
            <a:off x="498023" y="4353357"/>
            <a:ext cx="4104458" cy="420726"/>
          </a:xfrm>
          <a:prstGeom prst="rect">
            <a:avLst/>
          </a:prstGeom>
          <a:noFill/>
          <a:ln>
            <a:solidFill>
              <a:srgbClr val="FFFFFF">
                <a:alpha val="0"/>
              </a:srgbClr>
            </a:solidFill>
          </a:ln>
        </p:spPr>
        <p:txBody>
          <a:bodyPr vert="horz" lIns="90000" tIns="46800" rIns="9000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r>
              <a:rPr lang="de-DE" sz="1400" b="1" dirty="0"/>
              <a:t>Schaffung der gesetzlichen Grundlage (überwiegend durch Landesregierung)</a:t>
            </a:r>
          </a:p>
          <a:p>
            <a:pPr lvl="1" algn="ctr"/>
            <a:r>
              <a:rPr lang="de-DE" sz="1400" b="1" dirty="0"/>
              <a:t>z. B. Kommunalabgabengesetze</a:t>
            </a:r>
          </a:p>
        </p:txBody>
      </p:sp>
      <p:sp>
        <p:nvSpPr>
          <p:cNvPr id="33" name="Inhaltsplatzhalter 2">
            <a:extLst>
              <a:ext uri="{FF2B5EF4-FFF2-40B4-BE49-F238E27FC236}">
                <a16:creationId xmlns:a16="http://schemas.microsoft.com/office/drawing/2014/main" xmlns="" id="{AE5F5808-E1CA-483D-9C4F-73A9F3C16688}"/>
              </a:ext>
            </a:extLst>
          </p:cNvPr>
          <p:cNvSpPr txBox="1">
            <a:spLocks/>
          </p:cNvSpPr>
          <p:nvPr>
            <p:custDataLst>
              <p:tags r:id="rId9"/>
            </p:custDataLst>
          </p:nvPr>
        </p:nvSpPr>
        <p:spPr>
          <a:xfrm>
            <a:off x="4810759" y="4353357"/>
            <a:ext cx="3600648" cy="420726"/>
          </a:xfrm>
          <a:prstGeom prst="rect">
            <a:avLst/>
          </a:prstGeom>
          <a:noFill/>
          <a:ln>
            <a:solidFill>
              <a:srgbClr val="FFFFFF">
                <a:alpha val="0"/>
              </a:srgbClr>
            </a:solidFill>
          </a:ln>
        </p:spPr>
        <p:txBody>
          <a:bodyPr vert="horz" lIns="90000" tIns="46800" rIns="9000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r>
              <a:rPr lang="de-DE" sz="1400" b="1" dirty="0"/>
              <a:t>Einführung neuer Finanzierungsinstrumente auf kommunaler Ebene</a:t>
            </a:r>
          </a:p>
          <a:p>
            <a:pPr lvl="1" algn="ctr"/>
            <a:r>
              <a:rPr lang="de-DE" sz="1400" b="1" dirty="0"/>
              <a:t>z. B. Satzungen</a:t>
            </a:r>
          </a:p>
        </p:txBody>
      </p:sp>
      <p:sp>
        <p:nvSpPr>
          <p:cNvPr id="26" name="Inhaltsplatzhalter 2">
            <a:extLst>
              <a:ext uri="{FF2B5EF4-FFF2-40B4-BE49-F238E27FC236}">
                <a16:creationId xmlns:a16="http://schemas.microsoft.com/office/drawing/2014/main" xmlns="" id="{489091E4-AEF8-41BC-ADF8-E5D5D2A5CB2C}"/>
              </a:ext>
            </a:extLst>
          </p:cNvPr>
          <p:cNvSpPr txBox="1">
            <a:spLocks/>
          </p:cNvSpPr>
          <p:nvPr>
            <p:custDataLst>
              <p:tags r:id="rId10"/>
            </p:custDataLst>
          </p:nvPr>
        </p:nvSpPr>
        <p:spPr>
          <a:xfrm>
            <a:off x="6074906" y="2132856"/>
            <a:ext cx="2529344" cy="528411"/>
          </a:xfrm>
          <a:prstGeom prst="rect">
            <a:avLst/>
          </a:prstGeom>
          <a:solidFill>
            <a:schemeClr val="tx2">
              <a:lumMod val="20000"/>
              <a:lumOff val="80000"/>
            </a:schemeClr>
          </a:solidFill>
          <a:ln>
            <a:solidFill>
              <a:schemeClr val="tx2"/>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r>
              <a:rPr lang="de-DE" sz="1400" b="1" dirty="0"/>
              <a:t>Bürgerticket </a:t>
            </a:r>
          </a:p>
        </p:txBody>
      </p:sp>
      <p:sp>
        <p:nvSpPr>
          <p:cNvPr id="29" name="Inhaltsplatzhalter 2">
            <a:extLst>
              <a:ext uri="{FF2B5EF4-FFF2-40B4-BE49-F238E27FC236}">
                <a16:creationId xmlns:a16="http://schemas.microsoft.com/office/drawing/2014/main" xmlns="" id="{8C7B9B8B-D10D-48E9-9D0D-69D0C00541B1}"/>
              </a:ext>
            </a:extLst>
          </p:cNvPr>
          <p:cNvSpPr txBox="1">
            <a:spLocks/>
          </p:cNvSpPr>
          <p:nvPr>
            <p:custDataLst>
              <p:tags r:id="rId11"/>
            </p:custDataLst>
          </p:nvPr>
        </p:nvSpPr>
        <p:spPr>
          <a:xfrm>
            <a:off x="539750" y="2132856"/>
            <a:ext cx="2529344" cy="528411"/>
          </a:xfrm>
          <a:prstGeom prst="rect">
            <a:avLst/>
          </a:prstGeom>
          <a:solidFill>
            <a:schemeClr val="accent2">
              <a:lumMod val="20000"/>
              <a:lumOff val="80000"/>
            </a:schemeClr>
          </a:solidFill>
          <a:ln>
            <a:solidFill>
              <a:schemeClr val="accent2"/>
            </a:solidFill>
          </a:ln>
        </p:spPr>
        <p:txBody>
          <a:bodyPr vert="horz" lIns="90000" tIns="46800" rIns="91440" bIns="46800" rtlCol="0" anchor="ctr">
            <a:noAutofit/>
          </a:bodyPr>
          <a:lstStyle>
            <a:defPPr>
              <a:defRPr lang="de-DE"/>
            </a:defPPr>
            <a:lvl1pPr indent="0">
              <a:lnSpc>
                <a:spcPct val="100000"/>
              </a:lnSpc>
              <a:spcBef>
                <a:spcPct val="20000"/>
              </a:spcBef>
              <a:buFontTx/>
              <a:buNone/>
              <a:defRPr sz="1600" b="1" baseline="0">
                <a:solidFill>
                  <a:schemeClr val="accent6"/>
                </a:solidFill>
              </a:defRPr>
            </a:lvl1pPr>
            <a:lvl2pPr marL="0" indent="0">
              <a:lnSpc>
                <a:spcPct val="100000"/>
              </a:lnSpc>
              <a:spcBef>
                <a:spcPts val="1000"/>
              </a:spcBef>
              <a:buFontTx/>
              <a:buNone/>
              <a:defRPr sz="1600"/>
            </a:lvl2pPr>
            <a:lvl3pPr marL="0" lvl="2" indent="0">
              <a:lnSpc>
                <a:spcPct val="100000"/>
              </a:lnSpc>
              <a:spcBef>
                <a:spcPts val="600"/>
              </a:spcBef>
              <a:buFont typeface="Arial" pitchFamily="34" charset="0"/>
              <a:buNone/>
              <a:defRPr sz="1200" b="1"/>
            </a:lvl3pPr>
            <a:lvl4pPr marL="358775" indent="-176213">
              <a:lnSpc>
                <a:spcPct val="100000"/>
              </a:lnSpc>
              <a:spcBef>
                <a:spcPts val="400"/>
              </a:spcBef>
              <a:buFont typeface="Arial" pitchFamily="34" charset="0"/>
              <a:buChar char="–"/>
              <a:defRPr sz="1600"/>
            </a:lvl4pPr>
            <a:lvl5pPr marL="540000" indent="-180975">
              <a:lnSpc>
                <a:spcPct val="100000"/>
              </a:lnSpc>
              <a:spcBef>
                <a:spcPts val="200"/>
              </a:spcBef>
              <a:buFont typeface="Arial" pitchFamily="34" charset="0"/>
              <a:buChar char="-"/>
              <a:defRPr sz="1600"/>
            </a:lvl5pPr>
            <a:lvl6pPr marL="540000" indent="-180975">
              <a:lnSpc>
                <a:spcPct val="100000"/>
              </a:lnSpc>
              <a:spcBef>
                <a:spcPts val="200"/>
              </a:spcBef>
              <a:buFont typeface="Arial" pitchFamily="34" charset="0"/>
              <a:buChar char="-"/>
              <a:defRPr sz="1600" baseline="0"/>
            </a:lvl6pPr>
            <a:lvl7pPr marL="542925" indent="-180975">
              <a:spcBef>
                <a:spcPct val="20000"/>
              </a:spcBef>
              <a:buFont typeface="Arial" pitchFamily="34" charset="0"/>
              <a:buChar char="-"/>
              <a:defRPr sz="1600" baseline="0"/>
            </a:lvl7pPr>
            <a:lvl8pPr marL="542925" indent="-180975">
              <a:spcBef>
                <a:spcPct val="20000"/>
              </a:spcBef>
              <a:buFont typeface="Arial" pitchFamily="34" charset="0"/>
              <a:buChar char="-"/>
              <a:defRPr sz="1600" baseline="0"/>
            </a:lvl8pPr>
            <a:lvl9pPr marL="540000" indent="-180975">
              <a:lnSpc>
                <a:spcPct val="100000"/>
              </a:lnSpc>
              <a:spcBef>
                <a:spcPts val="200"/>
              </a:spcBef>
              <a:buFont typeface="Arial" pitchFamily="34" charset="0"/>
              <a:buChar char="-"/>
              <a:defRPr sz="1600" baseline="0"/>
            </a:lvl9pPr>
          </a:lstStyle>
          <a:p>
            <a:pPr lvl="2"/>
            <a:r>
              <a:rPr lang="de-DE" sz="1400" dirty="0"/>
              <a:t>Arbeitgeberabgabe</a:t>
            </a:r>
          </a:p>
        </p:txBody>
      </p:sp>
      <p:sp>
        <p:nvSpPr>
          <p:cNvPr id="30" name="Inhaltsplatzhalter 2">
            <a:extLst>
              <a:ext uri="{FF2B5EF4-FFF2-40B4-BE49-F238E27FC236}">
                <a16:creationId xmlns:a16="http://schemas.microsoft.com/office/drawing/2014/main" xmlns="" id="{E2A1B84A-74CB-4862-9E12-76A05F0F8586}"/>
              </a:ext>
            </a:extLst>
          </p:cNvPr>
          <p:cNvSpPr txBox="1">
            <a:spLocks/>
          </p:cNvSpPr>
          <p:nvPr>
            <p:custDataLst>
              <p:tags r:id="rId12"/>
            </p:custDataLst>
          </p:nvPr>
        </p:nvSpPr>
        <p:spPr>
          <a:xfrm>
            <a:off x="3307328" y="2132856"/>
            <a:ext cx="2529344" cy="528411"/>
          </a:xfrm>
          <a:prstGeom prst="rect">
            <a:avLst/>
          </a:prstGeom>
          <a:solidFill>
            <a:schemeClr val="accent3">
              <a:lumMod val="20000"/>
              <a:lumOff val="80000"/>
            </a:schemeClr>
          </a:solidFill>
          <a:ln>
            <a:solidFill>
              <a:schemeClr val="accent3"/>
            </a:solidFill>
          </a:ln>
        </p:spPr>
        <p:txBody>
          <a:bodyPr vert="horz" lIns="90000" tIns="46800" rIns="91440" bIns="46800" rtlCol="0" anchor="ctr">
            <a:noAutofit/>
          </a:bodyPr>
          <a:lstStyle>
            <a:defPPr>
              <a:defRPr lang="de-DE"/>
            </a:defPPr>
            <a:lvl1pPr indent="0">
              <a:lnSpc>
                <a:spcPct val="100000"/>
              </a:lnSpc>
              <a:spcBef>
                <a:spcPct val="20000"/>
              </a:spcBef>
              <a:buFontTx/>
              <a:buNone/>
              <a:defRPr sz="1600" b="1" baseline="0">
                <a:solidFill>
                  <a:schemeClr val="accent6"/>
                </a:solidFill>
              </a:defRPr>
            </a:lvl1pPr>
            <a:lvl2pPr marL="0" indent="0">
              <a:lnSpc>
                <a:spcPct val="100000"/>
              </a:lnSpc>
              <a:spcBef>
                <a:spcPts val="1000"/>
              </a:spcBef>
              <a:buFontTx/>
              <a:buNone/>
              <a:defRPr sz="1600"/>
            </a:lvl2pPr>
            <a:lvl3pPr marL="0" lvl="2" indent="0">
              <a:lnSpc>
                <a:spcPct val="100000"/>
              </a:lnSpc>
              <a:spcBef>
                <a:spcPts val="600"/>
              </a:spcBef>
              <a:buFont typeface="Arial" pitchFamily="34" charset="0"/>
              <a:buNone/>
              <a:defRPr sz="1200" b="1"/>
            </a:lvl3pPr>
            <a:lvl4pPr marL="358775" indent="-176213">
              <a:lnSpc>
                <a:spcPct val="100000"/>
              </a:lnSpc>
              <a:spcBef>
                <a:spcPts val="400"/>
              </a:spcBef>
              <a:buFont typeface="Arial" pitchFamily="34" charset="0"/>
              <a:buChar char="–"/>
              <a:defRPr sz="1600"/>
            </a:lvl4pPr>
            <a:lvl5pPr marL="540000" indent="-180975">
              <a:lnSpc>
                <a:spcPct val="100000"/>
              </a:lnSpc>
              <a:spcBef>
                <a:spcPts val="200"/>
              </a:spcBef>
              <a:buFont typeface="Arial" pitchFamily="34" charset="0"/>
              <a:buChar char="-"/>
              <a:defRPr sz="1600"/>
            </a:lvl5pPr>
            <a:lvl6pPr marL="540000" indent="-180975">
              <a:lnSpc>
                <a:spcPct val="100000"/>
              </a:lnSpc>
              <a:spcBef>
                <a:spcPts val="200"/>
              </a:spcBef>
              <a:buFont typeface="Arial" pitchFamily="34" charset="0"/>
              <a:buChar char="-"/>
              <a:defRPr sz="1600" baseline="0"/>
            </a:lvl6pPr>
            <a:lvl7pPr marL="542925" indent="-180975">
              <a:spcBef>
                <a:spcPct val="20000"/>
              </a:spcBef>
              <a:buFont typeface="Arial" pitchFamily="34" charset="0"/>
              <a:buChar char="-"/>
              <a:defRPr sz="1600" baseline="0"/>
            </a:lvl7pPr>
            <a:lvl8pPr marL="542925" indent="-180975">
              <a:spcBef>
                <a:spcPct val="20000"/>
              </a:spcBef>
              <a:buFont typeface="Arial" pitchFamily="34" charset="0"/>
              <a:buChar char="-"/>
              <a:defRPr sz="1600" baseline="0"/>
            </a:lvl8pPr>
            <a:lvl9pPr marL="540000" indent="-180975">
              <a:lnSpc>
                <a:spcPct val="100000"/>
              </a:lnSpc>
              <a:spcBef>
                <a:spcPts val="200"/>
              </a:spcBef>
              <a:buFont typeface="Arial" pitchFamily="34" charset="0"/>
              <a:buChar char="-"/>
              <a:defRPr sz="1600" baseline="0"/>
            </a:lvl9pPr>
          </a:lstStyle>
          <a:p>
            <a:pPr lvl="2"/>
            <a:r>
              <a:rPr lang="de-DE" sz="1400" dirty="0"/>
              <a:t>ÖPNV-Erschließungs-beträge</a:t>
            </a:r>
          </a:p>
        </p:txBody>
      </p:sp>
      <p:sp>
        <p:nvSpPr>
          <p:cNvPr id="35" name="Ellipse 34">
            <a:extLst>
              <a:ext uri="{FF2B5EF4-FFF2-40B4-BE49-F238E27FC236}">
                <a16:creationId xmlns:a16="http://schemas.microsoft.com/office/drawing/2014/main" xmlns="" id="{98DA942B-77E8-4801-A652-FEDC9AA8FAE3}"/>
              </a:ext>
            </a:extLst>
          </p:cNvPr>
          <p:cNvSpPr/>
          <p:nvPr/>
        </p:nvSpPr>
        <p:spPr>
          <a:xfrm>
            <a:off x="2627784" y="2227177"/>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r>
              <a:rPr lang="de-DE" sz="1600" b="1" dirty="0">
                <a:solidFill>
                  <a:schemeClr val="accent5"/>
                </a:solidFill>
              </a:rPr>
              <a:t>§</a:t>
            </a:r>
          </a:p>
        </p:txBody>
      </p:sp>
      <p:sp>
        <p:nvSpPr>
          <p:cNvPr id="22" name="Ellipse 21">
            <a:extLst>
              <a:ext uri="{FF2B5EF4-FFF2-40B4-BE49-F238E27FC236}">
                <a16:creationId xmlns:a16="http://schemas.microsoft.com/office/drawing/2014/main" xmlns="" id="{956C3758-3D3D-4AE5-95F2-87700BF808E6}"/>
              </a:ext>
            </a:extLst>
          </p:cNvPr>
          <p:cNvSpPr/>
          <p:nvPr/>
        </p:nvSpPr>
        <p:spPr>
          <a:xfrm>
            <a:off x="5436096" y="2227177"/>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r>
              <a:rPr lang="de-DE" sz="1600" b="1" dirty="0">
                <a:solidFill>
                  <a:schemeClr val="accent5"/>
                </a:solidFill>
              </a:rPr>
              <a:t>§</a:t>
            </a:r>
          </a:p>
        </p:txBody>
      </p:sp>
      <p:sp>
        <p:nvSpPr>
          <p:cNvPr id="23" name="Ellipse 22">
            <a:extLst>
              <a:ext uri="{FF2B5EF4-FFF2-40B4-BE49-F238E27FC236}">
                <a16:creationId xmlns:a16="http://schemas.microsoft.com/office/drawing/2014/main" xmlns="" id="{18B05EFF-B8DC-4995-BE8A-8EAD3B3933DE}"/>
              </a:ext>
            </a:extLst>
          </p:cNvPr>
          <p:cNvSpPr/>
          <p:nvPr/>
        </p:nvSpPr>
        <p:spPr>
          <a:xfrm>
            <a:off x="8172400" y="2227177"/>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algn="ctr"/>
            <a:r>
              <a:rPr lang="de-DE" sz="1600" b="1" dirty="0">
                <a:solidFill>
                  <a:schemeClr val="accent5"/>
                </a:solidFill>
              </a:rPr>
              <a:t>§</a:t>
            </a:r>
          </a:p>
        </p:txBody>
      </p:sp>
      <p:sp>
        <p:nvSpPr>
          <p:cNvPr id="21" name="Textfeld 20">
            <a:extLst>
              <a:ext uri="{FF2B5EF4-FFF2-40B4-BE49-F238E27FC236}">
                <a16:creationId xmlns:a16="http://schemas.microsoft.com/office/drawing/2014/main" xmlns="" id="{99959B15-3C47-44D1-A46E-7CE0AA73F7D2}"/>
              </a:ext>
            </a:extLst>
          </p:cNvPr>
          <p:cNvSpPr txBox="1"/>
          <p:nvPr/>
        </p:nvSpPr>
        <p:spPr>
          <a:xfrm>
            <a:off x="-1980728" y="1981562"/>
            <a:ext cx="1296144" cy="584775"/>
          </a:xfrm>
          <a:prstGeom prst="rect">
            <a:avLst/>
          </a:prstGeom>
          <a:solidFill>
            <a:schemeClr val="tx2"/>
          </a:solidFill>
        </p:spPr>
        <p:txBody>
          <a:bodyPr wrap="square" rtlCol="0">
            <a:spAutoFit/>
          </a:bodyPr>
          <a:lstStyle/>
          <a:p>
            <a:r>
              <a:rPr lang="de-DE" sz="1600" dirty="0"/>
              <a:t>Ergänzend zu 28</a:t>
            </a:r>
          </a:p>
        </p:txBody>
      </p:sp>
    </p:spTree>
    <p:extLst>
      <p:ext uri="{BB962C8B-B14F-4D97-AF65-F5344CB8AC3E}">
        <p14:creationId xmlns:p14="http://schemas.microsoft.com/office/powerpoint/2010/main" val="35662247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0112" name="think-cell Folie" r:id="rId17" imgW="270" imgH="270" progId="TCLayout.ActiveDocument.1">
                  <p:embed/>
                </p:oleObj>
              </mc:Choice>
              <mc:Fallback>
                <p:oleObj name="think-cell Folie" r:id="rId17" imgW="270" imgH="270" progId="TCLayout.ActiveDocument.1">
                  <p:embed/>
                  <p:pic>
                    <p:nvPicPr>
                      <p:cNvPr id="5" name="Objekt 4" hidden="1"/>
                      <p:cNvPicPr/>
                      <p:nvPr/>
                    </p:nvPicPr>
                    <p:blipFill>
                      <a:blip r:embed="rId18"/>
                      <a:stretch>
                        <a:fillRect/>
                      </a:stretch>
                    </p:blipFill>
                    <p:spPr>
                      <a:xfrm>
                        <a:off x="0" y="0"/>
                        <a:ext cx="158750" cy="158750"/>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AE3F7155-9BBA-4932-BFF1-D1956133B631}"/>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15" name="Inhaltsplatzhalter 2"/>
          <p:cNvSpPr txBox="1">
            <a:spLocks/>
          </p:cNvSpPr>
          <p:nvPr>
            <p:custDataLst>
              <p:tags r:id="rId4"/>
            </p:custDataLst>
          </p:nvPr>
        </p:nvSpPr>
        <p:spPr>
          <a:xfrm>
            <a:off x="539552" y="1698971"/>
            <a:ext cx="1775251" cy="3460057"/>
          </a:xfrm>
          <a:prstGeom prst="rect">
            <a:avLst/>
          </a:prstGeom>
          <a:solidFill>
            <a:schemeClr val="accent5"/>
          </a:solidFill>
          <a:ln>
            <a:solidFill>
              <a:schemeClr val="accent5"/>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400" b="1" dirty="0"/>
              <a:t>Studien</a:t>
            </a:r>
          </a:p>
        </p:txBody>
      </p:sp>
      <p:sp>
        <p:nvSpPr>
          <p:cNvPr id="16" name="Inhaltsplatzhalter 2"/>
          <p:cNvSpPr txBox="1">
            <a:spLocks/>
          </p:cNvSpPr>
          <p:nvPr>
            <p:custDataLst>
              <p:tags r:id="rId5"/>
            </p:custDataLst>
          </p:nvPr>
        </p:nvSpPr>
        <p:spPr>
          <a:xfrm>
            <a:off x="733030" y="2201924"/>
            <a:ext cx="2254793" cy="1083059"/>
          </a:xfrm>
          <a:prstGeom prst="homePlate">
            <a:avLst>
              <a:gd name="adj" fmla="val 28104"/>
            </a:avLst>
          </a:prstGeom>
          <a:solidFill>
            <a:schemeClr val="bg1"/>
          </a:solidFill>
          <a:ln>
            <a:solidFill>
              <a:schemeClr val="accent5"/>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400" b="1" dirty="0"/>
              <a:t>Deutschland (2015):</a:t>
            </a:r>
          </a:p>
          <a:p>
            <a:pPr lvl="1"/>
            <a:r>
              <a:rPr lang="de-DE" sz="1400" b="1" dirty="0"/>
              <a:t>Hrsg.: </a:t>
            </a:r>
            <a:r>
              <a:rPr lang="de-DE" sz="1400" b="1" i="1" dirty="0"/>
              <a:t>Bundesinstitut für  Bau-, Stadt- und Raumforschung</a:t>
            </a:r>
          </a:p>
        </p:txBody>
      </p:sp>
      <p:sp>
        <p:nvSpPr>
          <p:cNvPr id="18" name="Inhaltsplatzhalter 2"/>
          <p:cNvSpPr txBox="1">
            <a:spLocks/>
          </p:cNvSpPr>
          <p:nvPr>
            <p:custDataLst>
              <p:tags r:id="rId6"/>
            </p:custDataLst>
          </p:nvPr>
        </p:nvSpPr>
        <p:spPr>
          <a:xfrm>
            <a:off x="3131840" y="2367319"/>
            <a:ext cx="5472410" cy="714382"/>
          </a:xfrm>
          <a:prstGeom prst="rect">
            <a:avLst/>
          </a:prstGeom>
          <a:solidFill>
            <a:schemeClr val="bg1"/>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b="1" u="sng" dirty="0"/>
              <a:t>Mindestens</a:t>
            </a:r>
            <a:r>
              <a:rPr lang="de-DE" sz="1400" dirty="0"/>
              <a:t> 4 % Wertsteigerung durch Erstanschluss schienengebundener ÖPNV-Infrastruktur</a:t>
            </a:r>
            <a:r>
              <a:rPr lang="de-DE" sz="1400" baseline="30000" dirty="0"/>
              <a:t>1)</a:t>
            </a:r>
            <a:endParaRPr lang="de-DE" sz="1400" dirty="0"/>
          </a:p>
          <a:p>
            <a:pPr lvl="2"/>
            <a:r>
              <a:rPr lang="de-DE" sz="1400" dirty="0"/>
              <a:t>Untersuchung von Projekten in 6 deutschen Großstädten</a:t>
            </a:r>
            <a:r>
              <a:rPr lang="de-DE" sz="1400" baseline="30000" dirty="0"/>
              <a:t>2)</a:t>
            </a:r>
          </a:p>
        </p:txBody>
      </p:sp>
      <p:sp>
        <p:nvSpPr>
          <p:cNvPr id="2" name="Titel 1"/>
          <p:cNvSpPr>
            <a:spLocks noGrp="1"/>
          </p:cNvSpPr>
          <p:nvPr>
            <p:ph type="title"/>
            <p:custDataLst>
              <p:tags r:id="rId7"/>
            </p:custDataLst>
          </p:nvPr>
        </p:nvSpPr>
        <p:spPr/>
        <p:txBody>
          <a:bodyPr/>
          <a:lstStyle/>
          <a:p>
            <a:r>
              <a:rPr lang="de-DE" dirty="0"/>
              <a:t>Immobilieneigentümer profitieren von einer hochwertigen ÖPNV-Anbindung mit Wertsteigerungen ihrer Grundstücke</a:t>
            </a:r>
          </a:p>
        </p:txBody>
      </p:sp>
      <p:sp>
        <p:nvSpPr>
          <p:cNvPr id="3" name="Inhaltsplatzhalter 2"/>
          <p:cNvSpPr>
            <a:spLocks noGrp="1"/>
          </p:cNvSpPr>
          <p:nvPr>
            <p:ph idx="1"/>
            <p:custDataLst>
              <p:tags r:id="rId8"/>
            </p:custDataLst>
          </p:nvPr>
        </p:nvSpPr>
        <p:spPr>
          <a:xfrm>
            <a:off x="451758" y="1083558"/>
            <a:ext cx="7648634" cy="292316"/>
          </a:xfrm>
        </p:spPr>
        <p:txBody>
          <a:bodyPr/>
          <a:lstStyle/>
          <a:p>
            <a:r>
              <a:rPr lang="de-DE" dirty="0"/>
              <a:t>Immobilien: Wertsteigerungen durch schienengebundenen ÖPNV-Anschluss</a:t>
            </a:r>
          </a:p>
        </p:txBody>
      </p:sp>
      <p:sp>
        <p:nvSpPr>
          <p:cNvPr id="4" name="Foliennummernplatzhalter 3"/>
          <p:cNvSpPr>
            <a:spLocks noGrp="1"/>
          </p:cNvSpPr>
          <p:nvPr>
            <p:ph type="sldNum" sz="quarter" idx="11"/>
            <p:custDataLst>
              <p:tags r:id="rId9"/>
            </p:custDataLst>
          </p:nvPr>
        </p:nvSpPr>
        <p:spPr>
          <a:xfrm>
            <a:off x="519428" y="6295779"/>
            <a:ext cx="227626" cy="246221"/>
          </a:xfrm>
        </p:spPr>
        <p:txBody>
          <a:bodyPr/>
          <a:lstStyle/>
          <a:p>
            <a:fld id="{CD21EFEB-933F-4F46-A5AD-B6372944D9E5}" type="slidenum">
              <a:rPr lang="de-DE" smtClean="0"/>
              <a:pPr/>
              <a:t>38</a:t>
            </a:fld>
            <a:endParaRPr lang="de-DE"/>
          </a:p>
        </p:txBody>
      </p:sp>
      <p:sp>
        <p:nvSpPr>
          <p:cNvPr id="19" name="Inhaltsplatzhalter 2"/>
          <p:cNvSpPr>
            <a:spLocks noGrp="1"/>
          </p:cNvSpPr>
          <p:nvPr>
            <p:custDataLst>
              <p:tags r:id="rId10"/>
            </p:custDataLst>
          </p:nvPr>
        </p:nvSpPr>
        <p:spPr>
          <a:xfrm>
            <a:off x="3131840" y="1683349"/>
            <a:ext cx="5544616" cy="309958"/>
          </a:xfrm>
          <a:prstGeom prst="rect">
            <a:avLst/>
          </a:prstGeom>
          <a:noFill/>
          <a:ln>
            <a:noFill/>
          </a:ln>
        </p:spPr>
        <p:txBody>
          <a:bodyPr vert="horz" wrap="square" lIns="90000" tIns="46800" rIns="91440" bIns="4680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r>
              <a:rPr lang="de-DE" sz="1400" dirty="0">
                <a:solidFill>
                  <a:schemeClr val="tx1"/>
                </a:solidFill>
              </a:rPr>
              <a:t>Wesentliche Ergebnisse</a:t>
            </a:r>
          </a:p>
        </p:txBody>
      </p:sp>
      <p:sp>
        <p:nvSpPr>
          <p:cNvPr id="14" name="Line 6"/>
          <p:cNvSpPr>
            <a:spLocks noChangeShapeType="1"/>
          </p:cNvSpPr>
          <p:nvPr>
            <p:custDataLst>
              <p:tags r:id="rId11"/>
            </p:custDataLst>
          </p:nvPr>
        </p:nvSpPr>
        <p:spPr bwMode="auto">
          <a:xfrm>
            <a:off x="3203848" y="2024084"/>
            <a:ext cx="5400401" cy="0"/>
          </a:xfrm>
          <a:prstGeom prst="line">
            <a:avLst/>
          </a:prstGeom>
          <a:noFill/>
          <a:ln w="9525" cap="flat" cmpd="sng" algn="ctr">
            <a:solidFill>
              <a:schemeClr val="accent1"/>
            </a:solidFill>
            <a:prstDash val="solid"/>
            <a:round/>
            <a:headEnd type="none" w="med" len="med"/>
            <a:tailEnd type="none" w="med" len="med"/>
          </a:ln>
          <a:effectLst/>
        </p:spPr>
        <p:txBody>
          <a:bodyPr wrap="none" anchor="ctr"/>
          <a:lstStyle/>
          <a:p>
            <a:endParaRPr lang="de-DE" sz="1400">
              <a:ln>
                <a:solidFill>
                  <a:schemeClr val="accent1"/>
                </a:solidFill>
              </a:ln>
              <a:latin typeface="+mn-lt"/>
            </a:endParaRPr>
          </a:p>
        </p:txBody>
      </p:sp>
      <p:sp>
        <p:nvSpPr>
          <p:cNvPr id="20" name="Inhaltsplatzhalter 2"/>
          <p:cNvSpPr txBox="1">
            <a:spLocks/>
          </p:cNvSpPr>
          <p:nvPr/>
        </p:nvSpPr>
        <p:spPr>
          <a:xfrm>
            <a:off x="733030" y="3618880"/>
            <a:ext cx="2254793" cy="1112741"/>
          </a:xfrm>
          <a:prstGeom prst="homePlate">
            <a:avLst>
              <a:gd name="adj" fmla="val 28104"/>
            </a:avLst>
          </a:prstGeom>
          <a:solidFill>
            <a:schemeClr val="bg1"/>
          </a:solidFill>
          <a:ln>
            <a:solidFill>
              <a:schemeClr val="accent5"/>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r>
              <a:rPr lang="de-DE" sz="1400" b="1" dirty="0"/>
              <a:t>Stand der Forschung (2013):</a:t>
            </a:r>
          </a:p>
          <a:p>
            <a:pPr lvl="1"/>
            <a:r>
              <a:rPr lang="de-DE" sz="1400" b="1" dirty="0"/>
              <a:t>Hrsg.: </a:t>
            </a:r>
            <a:r>
              <a:rPr lang="de-DE" sz="1400" b="1" i="1" dirty="0"/>
              <a:t>Transportation Research</a:t>
            </a:r>
          </a:p>
        </p:txBody>
      </p:sp>
      <p:sp>
        <p:nvSpPr>
          <p:cNvPr id="22" name="Inhaltsplatzhalter 2"/>
          <p:cNvSpPr txBox="1">
            <a:spLocks/>
          </p:cNvSpPr>
          <p:nvPr/>
        </p:nvSpPr>
        <p:spPr>
          <a:xfrm>
            <a:off x="3131840" y="3914915"/>
            <a:ext cx="5472410" cy="714382"/>
          </a:xfrm>
          <a:prstGeom prst="rect">
            <a:avLst/>
          </a:prstGeom>
          <a:solidFill>
            <a:schemeClr val="bg1"/>
          </a:solidFill>
          <a:ln>
            <a:no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Mittlere Wertsteigerung in den Projekten: 8 % </a:t>
            </a:r>
          </a:p>
          <a:p>
            <a:pPr lvl="3"/>
            <a:r>
              <a:rPr lang="de-DE" sz="1400" dirty="0"/>
              <a:t>Einzelne Extremwerte (z. B. London mit bis zu 70 % Wertsteigerung); Median bei 5,4 %</a:t>
            </a:r>
          </a:p>
          <a:p>
            <a:pPr lvl="2"/>
            <a:r>
              <a:rPr lang="de-DE" sz="1400" dirty="0"/>
              <a:t>Untersuchung von 23 weltweit durchgeführten Studien zum Einfluss von ÖPNV-Anbindung auf Immobilienwerte</a:t>
            </a:r>
          </a:p>
        </p:txBody>
      </p:sp>
      <p:sp>
        <p:nvSpPr>
          <p:cNvPr id="17" name="Textfeld 16">
            <a:extLst>
              <a:ext uri="{FF2B5EF4-FFF2-40B4-BE49-F238E27FC236}">
                <a16:creationId xmlns:a16="http://schemas.microsoft.com/office/drawing/2014/main" xmlns="" id="{BB6FDA1A-19BF-4321-9809-1A38D3054425}"/>
              </a:ext>
            </a:extLst>
          </p:cNvPr>
          <p:cNvSpPr txBox="1"/>
          <p:nvPr/>
        </p:nvSpPr>
        <p:spPr>
          <a:xfrm>
            <a:off x="438969" y="5702637"/>
            <a:ext cx="8164800" cy="400110"/>
          </a:xfrm>
          <a:prstGeom prst="rect">
            <a:avLst/>
          </a:prstGeom>
          <a:noFill/>
        </p:spPr>
        <p:txBody>
          <a:bodyPr wrap="square" rtlCol="0">
            <a:spAutoFit/>
          </a:bodyPr>
          <a:lstStyle/>
          <a:p>
            <a:pPr marL="179388" lvl="1" indent="-179388">
              <a:buFont typeface="+mj-lt"/>
              <a:buAutoNum type="arabicParenR"/>
              <a:tabLst>
                <a:tab pos="180975" algn="l"/>
              </a:tabLst>
            </a:pPr>
            <a:r>
              <a:rPr lang="de-DE" sz="1000" dirty="0"/>
              <a:t>Erstanschluss in einem Umkreis von 1.000 Metern oder Reduktion von mind. 15 Minuten Wegezeit</a:t>
            </a:r>
          </a:p>
          <a:p>
            <a:pPr marL="179388" lvl="1" indent="-179388">
              <a:buFont typeface="+mj-lt"/>
              <a:buAutoNum type="arabicParenR"/>
              <a:tabLst>
                <a:tab pos="180975" algn="l"/>
              </a:tabLst>
            </a:pPr>
            <a:r>
              <a:rPr lang="de-DE" sz="1000" dirty="0"/>
              <a:t>Stuttgart, Berlin, Erfurt, Ulm, Kassel, Saarbrücken</a:t>
            </a:r>
          </a:p>
        </p:txBody>
      </p:sp>
      <p:sp>
        <p:nvSpPr>
          <p:cNvPr id="21" name="Freeform 7">
            <a:extLst>
              <a:ext uri="{FF2B5EF4-FFF2-40B4-BE49-F238E27FC236}">
                <a16:creationId xmlns:a16="http://schemas.microsoft.com/office/drawing/2014/main" xmlns="" id="{EE9EA7BC-BAE1-462D-A3EF-F466E48C5985}"/>
              </a:ext>
            </a:extLst>
          </p:cNvPr>
          <p:cNvSpPr>
            <a:spLocks/>
          </p:cNvSpPr>
          <p:nvPr>
            <p:custDataLst>
              <p:tags r:id="rId12"/>
            </p:custDataLst>
          </p:nvPr>
        </p:nvSpPr>
        <p:spPr bwMode="auto">
          <a:xfrm>
            <a:off x="539552" y="5197015"/>
            <a:ext cx="144016" cy="350028"/>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6"/>
          </a:solidFill>
          <a:ln w="12700" cap="rnd">
            <a:noFill/>
            <a:round/>
            <a:headEnd type="none" w="sm" len="sm"/>
            <a:tailEnd type="none" w="sm" len="sm"/>
          </a:ln>
          <a:effectLst/>
        </p:spPr>
        <p:txBody>
          <a:bodyPr/>
          <a:lstStyle/>
          <a:p>
            <a:endParaRPr lang="de-DE" dirty="0"/>
          </a:p>
        </p:txBody>
      </p:sp>
      <p:sp>
        <p:nvSpPr>
          <p:cNvPr id="25" name="Inhaltsplatzhalter 2">
            <a:extLst>
              <a:ext uri="{FF2B5EF4-FFF2-40B4-BE49-F238E27FC236}">
                <a16:creationId xmlns:a16="http://schemas.microsoft.com/office/drawing/2014/main" xmlns="" id="{2977CBF4-5DC6-4B10-978D-579C6911913F}"/>
              </a:ext>
            </a:extLst>
          </p:cNvPr>
          <p:cNvSpPr>
            <a:spLocks noGrp="1"/>
          </p:cNvSpPr>
          <p:nvPr>
            <p:custDataLst>
              <p:tags r:id="rId13"/>
            </p:custDataLst>
          </p:nvPr>
        </p:nvSpPr>
        <p:spPr>
          <a:xfrm>
            <a:off x="683568" y="5227793"/>
            <a:ext cx="7992888" cy="525401"/>
          </a:xfrm>
          <a:prstGeom prst="rect">
            <a:avLst/>
          </a:prstGeom>
          <a:noFill/>
          <a:ln>
            <a:noFill/>
          </a:ln>
        </p:spPr>
        <p:txBody>
          <a:bodyPr vert="horz" wrap="square" lIns="90000" tIns="46800" rIns="91440" bIns="46800" rtlCol="0" anchor="ctr">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400" b="1" dirty="0"/>
              <a:t>Mit einem konservativem Ansatz empfehlen wir die Anwendung auf der mindestens erfolgten Wertsteigerung um 4 % gemäß BBSR.</a:t>
            </a:r>
          </a:p>
        </p:txBody>
      </p:sp>
      <p:cxnSp>
        <p:nvCxnSpPr>
          <p:cNvPr id="26" name="Gerade Verbindung 6">
            <a:extLst>
              <a:ext uri="{FF2B5EF4-FFF2-40B4-BE49-F238E27FC236}">
                <a16:creationId xmlns:a16="http://schemas.microsoft.com/office/drawing/2014/main" xmlns="" id="{5E764735-2889-4BC5-8E6C-A20B72E84AA8}"/>
              </a:ext>
            </a:extLst>
          </p:cNvPr>
          <p:cNvCxnSpPr/>
          <p:nvPr>
            <p:custDataLst>
              <p:tags r:id="rId14"/>
            </p:custDataLst>
          </p:nvPr>
        </p:nvCxnSpPr>
        <p:spPr>
          <a:xfrm>
            <a:off x="539552" y="5729609"/>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3" name="Gruppieren 316">
            <a:extLst>
              <a:ext uri="{FF2B5EF4-FFF2-40B4-BE49-F238E27FC236}">
                <a16:creationId xmlns:a16="http://schemas.microsoft.com/office/drawing/2014/main" xmlns="" id="{8FD1582E-885D-48D4-82BE-8AFD2DA33E20}"/>
              </a:ext>
            </a:extLst>
          </p:cNvPr>
          <p:cNvGrpSpPr/>
          <p:nvPr/>
        </p:nvGrpSpPr>
        <p:grpSpPr>
          <a:xfrm>
            <a:off x="8181357" y="961915"/>
            <a:ext cx="428298" cy="428298"/>
            <a:chOff x="1583505" y="3717032"/>
            <a:chExt cx="360040" cy="360040"/>
          </a:xfrm>
        </p:grpSpPr>
        <p:sp>
          <p:nvSpPr>
            <p:cNvPr id="24" name="Ellipse 317">
              <a:extLst>
                <a:ext uri="{FF2B5EF4-FFF2-40B4-BE49-F238E27FC236}">
                  <a16:creationId xmlns:a16="http://schemas.microsoft.com/office/drawing/2014/main" xmlns="" id="{EDD39E56-E556-4A7D-91A7-B21A00D7CBD8}"/>
                </a:ext>
              </a:extLst>
            </p:cNvPr>
            <p:cNvSpPr/>
            <p:nvPr/>
          </p:nvSpPr>
          <p:spPr>
            <a:xfrm>
              <a:off x="1583505" y="3717032"/>
              <a:ext cx="360040" cy="36004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27" name="Grafik 318">
              <a:extLst>
                <a:ext uri="{FF2B5EF4-FFF2-40B4-BE49-F238E27FC236}">
                  <a16:creationId xmlns:a16="http://schemas.microsoft.com/office/drawing/2014/main" xmlns="" id="{7A86D3DD-19C3-4355-A339-8B24A4BFA636}"/>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1634279" y="3792277"/>
              <a:ext cx="257175" cy="209550"/>
            </a:xfrm>
            <a:prstGeom prst="rect">
              <a:avLst/>
            </a:prstGeom>
          </p:spPr>
        </p:pic>
      </p:grpSp>
    </p:spTree>
    <p:extLst>
      <p:ext uri="{BB962C8B-B14F-4D97-AF65-F5344CB8AC3E}">
        <p14:creationId xmlns:p14="http://schemas.microsoft.com/office/powerpoint/2010/main" val="9709175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kt 34" hidden="1">
            <a:extLst>
              <a:ext uri="{FF2B5EF4-FFF2-40B4-BE49-F238E27FC236}">
                <a16:creationId xmlns:a16="http://schemas.microsoft.com/office/drawing/2014/main" xmlns="" id="{D08F6CA5-4F6E-4F9B-AD1C-756C6E1647BF}"/>
              </a:ext>
            </a:extLst>
          </p:cNvPr>
          <p:cNvGraphicFramePr>
            <a:graphicFrameLocks noChangeAspect="1"/>
          </p:cNvGraphicFramePr>
          <p:nvPr>
            <p:custDataLst>
              <p:tags r:id="rId2"/>
            </p:custDataLst>
            <p:extLst>
              <p:ext uri="{D42A27DB-BD31-4B8C-83A1-F6EECF244321}">
                <p14:modId xmlns:p14="http://schemas.microsoft.com/office/powerpoint/2010/main" val="2160058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1137" name="think-cell Folie" r:id="rId55" imgW="530" imgH="531" progId="TCLayout.ActiveDocument.1">
                  <p:embed/>
                </p:oleObj>
              </mc:Choice>
              <mc:Fallback>
                <p:oleObj name="think-cell Folie" r:id="rId55" imgW="530" imgH="531" progId="TCLayout.ActiveDocument.1">
                  <p:embed/>
                  <p:pic>
                    <p:nvPicPr>
                      <p:cNvPr id="35" name="Objekt 34" hidden="1">
                        <a:extLst>
                          <a:ext uri="{FF2B5EF4-FFF2-40B4-BE49-F238E27FC236}">
                            <a16:creationId xmlns:a16="http://schemas.microsoft.com/office/drawing/2014/main" xmlns="" id="{D08F6CA5-4F6E-4F9B-AD1C-756C6E1647BF}"/>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3" name="Rechteck 22" hidden="1">
            <a:extLst>
              <a:ext uri="{FF2B5EF4-FFF2-40B4-BE49-F238E27FC236}">
                <a16:creationId xmlns:a16="http://schemas.microsoft.com/office/drawing/2014/main" xmlns="" id="{D2AD6159-3EB8-45A5-8FC0-CB50B9D8A112}"/>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D2B214F6-310F-4C23-AB9D-FDA25FAA6AB2}"/>
              </a:ext>
            </a:extLst>
          </p:cNvPr>
          <p:cNvSpPr>
            <a:spLocks noGrp="1"/>
          </p:cNvSpPr>
          <p:nvPr>
            <p:ph type="title"/>
          </p:nvPr>
        </p:nvSpPr>
        <p:spPr/>
        <p:txBody>
          <a:bodyPr/>
          <a:lstStyle/>
          <a:p>
            <a:r>
              <a:rPr lang="de-DE" dirty="0"/>
              <a:t>Beispiel: Die Parkraumbewirtschaftung bietet im VRR ein sehr großes Finanzierungspotenzial für den ÖPNV</a:t>
            </a:r>
          </a:p>
        </p:txBody>
      </p:sp>
      <p:sp>
        <p:nvSpPr>
          <p:cNvPr id="3" name="Inhaltsplatzhalter 2">
            <a:extLst>
              <a:ext uri="{FF2B5EF4-FFF2-40B4-BE49-F238E27FC236}">
                <a16:creationId xmlns:a16="http://schemas.microsoft.com/office/drawing/2014/main" xmlns="" id="{5A2BD725-A930-4D12-BBC0-3591D11ADF04}"/>
              </a:ext>
            </a:extLst>
          </p:cNvPr>
          <p:cNvSpPr>
            <a:spLocks noGrp="1"/>
          </p:cNvSpPr>
          <p:nvPr>
            <p:ph idx="1"/>
          </p:nvPr>
        </p:nvSpPr>
        <p:spPr/>
        <p:txBody>
          <a:bodyPr/>
          <a:lstStyle/>
          <a:p>
            <a:r>
              <a:rPr lang="de-DE" dirty="0"/>
              <a:t>Erlössimulation</a:t>
            </a:r>
          </a:p>
        </p:txBody>
      </p:sp>
      <p:sp>
        <p:nvSpPr>
          <p:cNvPr id="4" name="Foliennummernplatzhalter 3">
            <a:extLst>
              <a:ext uri="{FF2B5EF4-FFF2-40B4-BE49-F238E27FC236}">
                <a16:creationId xmlns:a16="http://schemas.microsoft.com/office/drawing/2014/main" xmlns="" id="{143CE5F5-10A4-495B-8E78-AEECD4B22D84}"/>
              </a:ext>
            </a:extLst>
          </p:cNvPr>
          <p:cNvSpPr>
            <a:spLocks noGrp="1"/>
          </p:cNvSpPr>
          <p:nvPr>
            <p:ph type="sldNum" sz="quarter" idx="11"/>
          </p:nvPr>
        </p:nvSpPr>
        <p:spPr/>
        <p:txBody>
          <a:bodyPr/>
          <a:lstStyle/>
          <a:p>
            <a:fld id="{CD21EFEB-933F-4F46-A5AD-B6372944D9E5}" type="slidenum">
              <a:rPr lang="de-DE" smtClean="0"/>
              <a:pPr/>
              <a:t>39</a:t>
            </a:fld>
            <a:endParaRPr lang="de-DE" dirty="0"/>
          </a:p>
        </p:txBody>
      </p:sp>
      <p:graphicFrame>
        <p:nvGraphicFramePr>
          <p:cNvPr id="81" name="Chart 3">
            <a:extLst>
              <a:ext uri="{FF2B5EF4-FFF2-40B4-BE49-F238E27FC236}">
                <a16:creationId xmlns:a16="http://schemas.microsoft.com/office/drawing/2014/main" xmlns="" id="{110DA41B-E8B4-4EA8-AECC-7C3741C2CF5C}"/>
              </a:ext>
            </a:extLst>
          </p:cNvPr>
          <p:cNvGraphicFramePr/>
          <p:nvPr>
            <p:custDataLst>
              <p:tags r:id="rId4"/>
            </p:custDataLst>
          </p:nvPr>
        </p:nvGraphicFramePr>
        <p:xfrm>
          <a:off x="1719263" y="2309813"/>
          <a:ext cx="1225550" cy="3217862"/>
        </p:xfrm>
        <a:graphic>
          <a:graphicData uri="http://schemas.openxmlformats.org/drawingml/2006/chart">
            <c:chart xmlns:c="http://schemas.openxmlformats.org/drawingml/2006/chart" xmlns:r="http://schemas.openxmlformats.org/officeDocument/2006/relationships" r:id="rId57"/>
          </a:graphicData>
        </a:graphic>
      </p:graphicFrame>
      <p:sp>
        <p:nvSpPr>
          <p:cNvPr id="39" name="Textplatzhalter 2">
            <a:extLst>
              <a:ext uri="{FF2B5EF4-FFF2-40B4-BE49-F238E27FC236}">
                <a16:creationId xmlns:a16="http://schemas.microsoft.com/office/drawing/2014/main" xmlns="" id="{5F3254EF-49E3-499B-8223-7033A5CA5E7E}"/>
              </a:ext>
            </a:extLst>
          </p:cNvPr>
          <p:cNvSpPr>
            <a:spLocks noGrp="1"/>
          </p:cNvSpPr>
          <p:nvPr>
            <p:custDataLst>
              <p:tags r:id="rId5"/>
            </p:custDataLst>
          </p:nvPr>
        </p:nvSpPr>
        <p:spPr bwMode="auto">
          <a:xfrm>
            <a:off x="1190625" y="3621088"/>
            <a:ext cx="4937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r">
              <a:spcBef>
                <a:spcPct val="0"/>
              </a:spcBef>
              <a:spcAft>
                <a:spcPct val="0"/>
              </a:spcAft>
            </a:pPr>
            <a:fld id="{A7F5297F-50DA-45F8-B84D-C54C250ADFC4}" type="datetime'E''''''s''s''e''''n'''''''''''">
              <a:rPr lang="de-DE" altLang="en-US" sz="1400" smtClean="0"/>
              <a:pPr lvl="1" algn="r">
                <a:spcBef>
                  <a:spcPct val="0"/>
                </a:spcBef>
                <a:spcAft>
                  <a:spcPct val="0"/>
                </a:spcAft>
              </a:pPr>
              <a:t>Essen</a:t>
            </a:fld>
            <a:endParaRPr lang="de-DE" sz="1400" dirty="0">
              <a:latin typeface="+mn-lt"/>
              <a:sym typeface="+mn-lt"/>
            </a:endParaRPr>
          </a:p>
        </p:txBody>
      </p:sp>
      <p:sp>
        <p:nvSpPr>
          <p:cNvPr id="43" name="Textplatzhalter 2">
            <a:extLst>
              <a:ext uri="{FF2B5EF4-FFF2-40B4-BE49-F238E27FC236}">
                <a16:creationId xmlns:a16="http://schemas.microsoft.com/office/drawing/2014/main" xmlns="" id="{F2B8DB61-FE3B-4768-8E06-4014C7817968}"/>
              </a:ext>
            </a:extLst>
          </p:cNvPr>
          <p:cNvSpPr>
            <a:spLocks noGrp="1"/>
          </p:cNvSpPr>
          <p:nvPr>
            <p:custDataLst>
              <p:tags r:id="rId6"/>
            </p:custDataLst>
          </p:nvPr>
        </p:nvSpPr>
        <p:spPr bwMode="auto">
          <a:xfrm>
            <a:off x="1033463" y="4384675"/>
            <a:ext cx="6508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r">
              <a:spcBef>
                <a:spcPct val="0"/>
              </a:spcBef>
              <a:spcAft>
                <a:spcPct val="0"/>
              </a:spcAft>
            </a:pPr>
            <a:fld id="{9F6637B1-049A-403E-B93C-EBEB9B821625}" type="datetime'''''''''''''''''''''B''''''''''''''oc''''''''h''u''''''''m'''">
              <a:rPr lang="de-DE" altLang="en-US" sz="1400" smtClean="0"/>
              <a:pPr lvl="1" algn="r">
                <a:spcBef>
                  <a:spcPct val="0"/>
                </a:spcBef>
                <a:spcAft>
                  <a:spcPct val="0"/>
                </a:spcAft>
              </a:pPr>
              <a:t>Bochum</a:t>
            </a:fld>
            <a:endParaRPr lang="de-DE" sz="1400" dirty="0">
              <a:latin typeface="+mn-lt"/>
              <a:sym typeface="+mn-lt"/>
            </a:endParaRPr>
          </a:p>
        </p:txBody>
      </p:sp>
      <p:sp>
        <p:nvSpPr>
          <p:cNvPr id="44" name="Textplatzhalter 2">
            <a:extLst>
              <a:ext uri="{FF2B5EF4-FFF2-40B4-BE49-F238E27FC236}">
                <a16:creationId xmlns:a16="http://schemas.microsoft.com/office/drawing/2014/main" xmlns="" id="{D0A71451-E805-4BB7-A83E-E4A3E5C5846B}"/>
              </a:ext>
            </a:extLst>
          </p:cNvPr>
          <p:cNvSpPr>
            <a:spLocks noGrp="1"/>
          </p:cNvSpPr>
          <p:nvPr>
            <p:custDataLst>
              <p:tags r:id="rId7"/>
            </p:custDataLst>
          </p:nvPr>
        </p:nvSpPr>
        <p:spPr bwMode="gray">
          <a:xfrm>
            <a:off x="1849438" y="4765675"/>
            <a:ext cx="2968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08A584D4-C566-4289-B68D-B308DF3E2383}" type="datetime'''''''''''''''''''''''2'''''',''''''''0'''''''">
              <a:rPr lang="de-DE" altLang="en-US" sz="1400" smtClean="0">
                <a:cs typeface="Arial" panose="020B0604020202020204" pitchFamily="34" charset="0"/>
              </a:rPr>
              <a:pPr lvl="1">
                <a:spcBef>
                  <a:spcPct val="0"/>
                </a:spcBef>
                <a:spcAft>
                  <a:spcPct val="0"/>
                </a:spcAft>
              </a:pPr>
              <a:t>2,0</a:t>
            </a:fld>
            <a:endParaRPr lang="de-DE" sz="1400" dirty="0">
              <a:cs typeface="Arial" panose="020B0604020202020204" pitchFamily="34" charset="0"/>
              <a:sym typeface="+mn-lt"/>
            </a:endParaRPr>
          </a:p>
        </p:txBody>
      </p:sp>
      <p:sp>
        <p:nvSpPr>
          <p:cNvPr id="36" name="Textplatzhalter 2">
            <a:extLst>
              <a:ext uri="{FF2B5EF4-FFF2-40B4-BE49-F238E27FC236}">
                <a16:creationId xmlns:a16="http://schemas.microsoft.com/office/drawing/2014/main" xmlns="" id="{313CED94-0F77-4787-8F19-A8B3ED90B1C9}"/>
              </a:ext>
            </a:extLst>
          </p:cNvPr>
          <p:cNvSpPr>
            <a:spLocks noGrp="1"/>
          </p:cNvSpPr>
          <p:nvPr>
            <p:custDataLst>
              <p:tags r:id="rId8"/>
            </p:custDataLst>
          </p:nvPr>
        </p:nvSpPr>
        <p:spPr bwMode="gray">
          <a:xfrm>
            <a:off x="1919288" y="2857500"/>
            <a:ext cx="2968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A05A2AF9-21D1-4A76-9C0E-825AFF869796}" type="datetime'''''''8'',''''''''''''''''''''''''''''''1'''''''''''''">
              <a:rPr lang="de-DE" altLang="en-US" sz="1400" smtClean="0">
                <a:cs typeface="Arial" panose="020B0604020202020204" pitchFamily="34" charset="0"/>
              </a:rPr>
              <a:pPr lvl="1">
                <a:spcBef>
                  <a:spcPct val="0"/>
                </a:spcBef>
                <a:spcAft>
                  <a:spcPct val="0"/>
                </a:spcAft>
              </a:pPr>
              <a:t>8,1</a:t>
            </a:fld>
            <a:endParaRPr lang="de-DE" sz="1400" dirty="0">
              <a:cs typeface="Arial" panose="020B0604020202020204" pitchFamily="34" charset="0"/>
              <a:sym typeface="+mn-lt"/>
            </a:endParaRPr>
          </a:p>
        </p:txBody>
      </p:sp>
      <p:sp>
        <p:nvSpPr>
          <p:cNvPr id="22" name="Textplatzhalter 2">
            <a:extLst>
              <a:ext uri="{FF2B5EF4-FFF2-40B4-BE49-F238E27FC236}">
                <a16:creationId xmlns:a16="http://schemas.microsoft.com/office/drawing/2014/main" xmlns="" id="{536ED70D-B499-417D-93FE-913A1C938BF5}"/>
              </a:ext>
            </a:extLst>
          </p:cNvPr>
          <p:cNvSpPr>
            <a:spLocks noGrp="1"/>
          </p:cNvSpPr>
          <p:nvPr>
            <p:custDataLst>
              <p:tags r:id="rId9"/>
            </p:custDataLst>
          </p:nvPr>
        </p:nvSpPr>
        <p:spPr bwMode="auto">
          <a:xfrm>
            <a:off x="1279525" y="2476500"/>
            <a:ext cx="4048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r">
              <a:spcBef>
                <a:spcPct val="0"/>
              </a:spcBef>
              <a:spcAft>
                <a:spcPct val="0"/>
              </a:spcAft>
            </a:pPr>
            <a:fld id="{BFFF9885-DC12-46EE-8E49-01DFA3A5CA2E}" type="datetime'''''''''W''''''i''''''e''''''''''''''''''''''''''n'''''''">
              <a:rPr lang="de-DE" altLang="en-US" sz="1400" smtClean="0"/>
              <a:pPr lvl="1" algn="r">
                <a:spcBef>
                  <a:spcPct val="0"/>
                </a:spcBef>
                <a:spcAft>
                  <a:spcPct val="0"/>
                </a:spcAft>
              </a:pPr>
              <a:t>Wien</a:t>
            </a:fld>
            <a:endParaRPr lang="de-DE" sz="1400" dirty="0">
              <a:latin typeface="+mn-lt"/>
              <a:sym typeface="+mn-lt"/>
            </a:endParaRPr>
          </a:p>
        </p:txBody>
      </p:sp>
      <p:sp>
        <p:nvSpPr>
          <p:cNvPr id="41" name="Textplatzhalter 2">
            <a:extLst>
              <a:ext uri="{FF2B5EF4-FFF2-40B4-BE49-F238E27FC236}">
                <a16:creationId xmlns:a16="http://schemas.microsoft.com/office/drawing/2014/main" xmlns="" id="{507CA375-378C-4613-B08A-777C7A87DE43}"/>
              </a:ext>
            </a:extLst>
          </p:cNvPr>
          <p:cNvSpPr>
            <a:spLocks noGrp="1"/>
          </p:cNvSpPr>
          <p:nvPr>
            <p:custDataLst>
              <p:tags r:id="rId10"/>
            </p:custDataLst>
          </p:nvPr>
        </p:nvSpPr>
        <p:spPr bwMode="auto">
          <a:xfrm>
            <a:off x="974725" y="4003675"/>
            <a:ext cx="7096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r">
              <a:spcBef>
                <a:spcPct val="0"/>
              </a:spcBef>
              <a:spcAft>
                <a:spcPct val="0"/>
              </a:spcAft>
            </a:pPr>
            <a:fld id="{8F496176-415A-4F91-A62A-B80F412E418F}" type="datetime'D''''u''''i''''s''b''''''''''''''''''''''u''rg'''''''''''''">
              <a:rPr lang="de-DE" altLang="en-US" sz="1400" smtClean="0"/>
              <a:pPr lvl="1" algn="r">
                <a:spcBef>
                  <a:spcPct val="0"/>
                </a:spcBef>
                <a:spcAft>
                  <a:spcPct val="0"/>
                </a:spcAft>
              </a:pPr>
              <a:t>Duisburg</a:t>
            </a:fld>
            <a:endParaRPr lang="de-DE" sz="1400" dirty="0">
              <a:latin typeface="+mn-lt"/>
              <a:sym typeface="+mn-lt"/>
            </a:endParaRPr>
          </a:p>
        </p:txBody>
      </p:sp>
      <p:sp>
        <p:nvSpPr>
          <p:cNvPr id="24" name="Textplatzhalter 2">
            <a:extLst>
              <a:ext uri="{FF2B5EF4-FFF2-40B4-BE49-F238E27FC236}">
                <a16:creationId xmlns:a16="http://schemas.microsoft.com/office/drawing/2014/main" xmlns="" id="{DE12B293-A022-4257-BF8C-DDEABD648354}"/>
              </a:ext>
            </a:extLst>
          </p:cNvPr>
          <p:cNvSpPr>
            <a:spLocks noGrp="1"/>
          </p:cNvSpPr>
          <p:nvPr>
            <p:custDataLst>
              <p:tags r:id="rId11"/>
            </p:custDataLst>
          </p:nvPr>
        </p:nvSpPr>
        <p:spPr bwMode="auto">
          <a:xfrm>
            <a:off x="738188" y="2857500"/>
            <a:ext cx="9461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r">
              <a:spcBef>
                <a:spcPct val="0"/>
              </a:spcBef>
              <a:spcAft>
                <a:spcPct val="0"/>
              </a:spcAft>
            </a:pPr>
            <a:fld id="{7D81487A-5139-4625-8BBD-539BFDCE20DB}" type="datetime'Du''''e''ss''''el''''d''''''o''''r''''''''''''''''f'''''''''">
              <a:rPr lang="de-DE" altLang="en-US" sz="1400" smtClean="0"/>
              <a:pPr lvl="1" algn="r">
                <a:spcBef>
                  <a:spcPct val="0"/>
                </a:spcBef>
                <a:spcAft>
                  <a:spcPct val="0"/>
                </a:spcAft>
              </a:pPr>
              <a:t>Duesseldorf</a:t>
            </a:fld>
            <a:endParaRPr lang="de-DE" sz="1400" dirty="0">
              <a:latin typeface="+mn-lt"/>
              <a:sym typeface="+mn-lt"/>
            </a:endParaRPr>
          </a:p>
        </p:txBody>
      </p:sp>
      <p:sp>
        <p:nvSpPr>
          <p:cNvPr id="47" name="Textplatzhalter 2">
            <a:extLst>
              <a:ext uri="{FF2B5EF4-FFF2-40B4-BE49-F238E27FC236}">
                <a16:creationId xmlns:a16="http://schemas.microsoft.com/office/drawing/2014/main" xmlns="" id="{B5F6AAE7-25A3-433F-A73E-895C7C80E3EA}"/>
              </a:ext>
            </a:extLst>
          </p:cNvPr>
          <p:cNvSpPr>
            <a:spLocks noGrp="1"/>
          </p:cNvSpPr>
          <p:nvPr>
            <p:custDataLst>
              <p:tags r:id="rId12"/>
            </p:custDataLst>
          </p:nvPr>
        </p:nvSpPr>
        <p:spPr bwMode="auto">
          <a:xfrm>
            <a:off x="550863" y="5148263"/>
            <a:ext cx="11334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r">
              <a:spcBef>
                <a:spcPct val="0"/>
              </a:spcBef>
              <a:spcAft>
                <a:spcPct val="0"/>
              </a:spcAft>
            </a:pPr>
            <a:fld id="{5011F545-4CDE-40EF-A5CD-2EE05055BF47}" type="datetime'''Ge''''l''''''se''nk''''i''''''''r''''''''c''''''he''''''n'''">
              <a:rPr lang="de-DE" altLang="en-US" sz="1400" smtClean="0"/>
              <a:pPr lvl="1" algn="r">
                <a:spcBef>
                  <a:spcPct val="0"/>
                </a:spcBef>
                <a:spcAft>
                  <a:spcPct val="0"/>
                </a:spcAft>
              </a:pPr>
              <a:t>Gelsenkirchen</a:t>
            </a:fld>
            <a:endParaRPr lang="de-DE" sz="1400" dirty="0">
              <a:latin typeface="+mn-lt"/>
              <a:sym typeface="+mn-lt"/>
            </a:endParaRPr>
          </a:p>
        </p:txBody>
      </p:sp>
      <p:sp>
        <p:nvSpPr>
          <p:cNvPr id="25" name="Textplatzhalter 2">
            <a:extLst>
              <a:ext uri="{FF2B5EF4-FFF2-40B4-BE49-F238E27FC236}">
                <a16:creationId xmlns:a16="http://schemas.microsoft.com/office/drawing/2014/main" xmlns="" id="{EB2518D2-74E7-4FB3-8C58-550D6D59E5A1}"/>
              </a:ext>
            </a:extLst>
          </p:cNvPr>
          <p:cNvSpPr>
            <a:spLocks noGrp="1"/>
          </p:cNvSpPr>
          <p:nvPr>
            <p:custDataLst>
              <p:tags r:id="rId13"/>
            </p:custDataLst>
          </p:nvPr>
        </p:nvSpPr>
        <p:spPr bwMode="auto">
          <a:xfrm>
            <a:off x="906463" y="3240088"/>
            <a:ext cx="7778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r">
              <a:spcBef>
                <a:spcPct val="0"/>
              </a:spcBef>
              <a:spcAft>
                <a:spcPct val="0"/>
              </a:spcAft>
            </a:pPr>
            <a:fld id="{3306AB2A-5F29-40F2-8EB0-6D9EBCAAC374}" type="datetime'D''o''rtmu''''''''''''n''''d'''''''''''''''''''''''''''''">
              <a:rPr lang="de-DE" altLang="en-US" sz="1400" smtClean="0"/>
              <a:pPr lvl="1" algn="r">
                <a:spcBef>
                  <a:spcPct val="0"/>
                </a:spcBef>
                <a:spcAft>
                  <a:spcPct val="0"/>
                </a:spcAft>
              </a:pPr>
              <a:t>Dortmund</a:t>
            </a:fld>
            <a:endParaRPr lang="de-DE" sz="1400" dirty="0">
              <a:latin typeface="+mn-lt"/>
              <a:sym typeface="+mn-lt"/>
            </a:endParaRPr>
          </a:p>
        </p:txBody>
      </p:sp>
      <p:sp>
        <p:nvSpPr>
          <p:cNvPr id="45" name="Textplatzhalter 2">
            <a:extLst>
              <a:ext uri="{FF2B5EF4-FFF2-40B4-BE49-F238E27FC236}">
                <a16:creationId xmlns:a16="http://schemas.microsoft.com/office/drawing/2014/main" xmlns="" id="{FB8D54B1-BB97-4B7B-B177-C2187E89CA95}"/>
              </a:ext>
            </a:extLst>
          </p:cNvPr>
          <p:cNvSpPr>
            <a:spLocks noGrp="1"/>
          </p:cNvSpPr>
          <p:nvPr>
            <p:custDataLst>
              <p:tags r:id="rId14"/>
            </p:custDataLst>
          </p:nvPr>
        </p:nvSpPr>
        <p:spPr bwMode="auto">
          <a:xfrm>
            <a:off x="879475" y="4765675"/>
            <a:ext cx="8048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r">
              <a:spcBef>
                <a:spcPct val="0"/>
              </a:spcBef>
              <a:spcAft>
                <a:spcPct val="0"/>
              </a:spcAft>
            </a:pPr>
            <a:fld id="{78840859-D3B8-410E-940C-D19E02974B44}" type="datetime'''W''''''''''''''u''p''''''''''pe''r''''''''''''''tal'">
              <a:rPr lang="de-DE" altLang="en-US" sz="1400" smtClean="0"/>
              <a:pPr lvl="1" algn="r">
                <a:spcBef>
                  <a:spcPct val="0"/>
                </a:spcBef>
                <a:spcAft>
                  <a:spcPct val="0"/>
                </a:spcAft>
              </a:pPr>
              <a:t>Wuppertal</a:t>
            </a:fld>
            <a:endParaRPr lang="de-DE" sz="1400" dirty="0">
              <a:latin typeface="+mn-lt"/>
              <a:sym typeface="+mn-lt"/>
            </a:endParaRPr>
          </a:p>
        </p:txBody>
      </p:sp>
      <p:sp>
        <p:nvSpPr>
          <p:cNvPr id="28" name="Textplatzhalter 2">
            <a:extLst>
              <a:ext uri="{FF2B5EF4-FFF2-40B4-BE49-F238E27FC236}">
                <a16:creationId xmlns:a16="http://schemas.microsoft.com/office/drawing/2014/main" xmlns="" id="{492EFD24-FF47-46C4-BD71-FA34A3333AAE}"/>
              </a:ext>
            </a:extLst>
          </p:cNvPr>
          <p:cNvSpPr>
            <a:spLocks noGrp="1"/>
          </p:cNvSpPr>
          <p:nvPr>
            <p:custDataLst>
              <p:tags r:id="rId15"/>
            </p:custDataLst>
          </p:nvPr>
        </p:nvSpPr>
        <p:spPr bwMode="auto">
          <a:xfrm>
            <a:off x="1893888" y="2120900"/>
            <a:ext cx="8763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ctr">
              <a:spcBef>
                <a:spcPct val="0"/>
              </a:spcBef>
              <a:spcAft>
                <a:spcPct val="0"/>
              </a:spcAft>
            </a:pPr>
            <a:r>
              <a:rPr lang="de-DE" sz="1400" dirty="0">
                <a:latin typeface="+mn-lt"/>
                <a:sym typeface="+mn-lt"/>
              </a:rPr>
              <a:t>Mio. € p. a.</a:t>
            </a:r>
          </a:p>
        </p:txBody>
      </p:sp>
      <p:sp>
        <p:nvSpPr>
          <p:cNvPr id="34" name="Textplatzhalter 2">
            <a:extLst>
              <a:ext uri="{FF2B5EF4-FFF2-40B4-BE49-F238E27FC236}">
                <a16:creationId xmlns:a16="http://schemas.microsoft.com/office/drawing/2014/main" xmlns="" id="{597C6259-F51F-4B0E-A8DB-ACD3EA025601}"/>
              </a:ext>
            </a:extLst>
          </p:cNvPr>
          <p:cNvSpPr>
            <a:spLocks noGrp="1"/>
          </p:cNvSpPr>
          <p:nvPr>
            <p:custDataLst>
              <p:tags r:id="rId16"/>
            </p:custDataLst>
          </p:nvPr>
        </p:nvSpPr>
        <p:spPr bwMode="gray">
          <a:xfrm>
            <a:off x="2887662" y="2476500"/>
            <a:ext cx="395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20099E29-0BDC-456E-A2FF-987B8447E216}" type="datetime'''9''''''''''''''''''''3'''''',''''''''''4'''''''''''''''''">
              <a:rPr lang="de-DE" altLang="en-US" sz="1400" smtClean="0">
                <a:cs typeface="Arial" panose="020B0604020202020204" pitchFamily="34" charset="0"/>
              </a:rPr>
              <a:pPr lvl="1">
                <a:spcBef>
                  <a:spcPct val="0"/>
                </a:spcBef>
                <a:spcAft>
                  <a:spcPct val="0"/>
                </a:spcAft>
              </a:pPr>
              <a:t>93,4</a:t>
            </a:fld>
            <a:endParaRPr lang="de-DE" sz="1400" dirty="0">
              <a:cs typeface="Arial" panose="020B0604020202020204" pitchFamily="34" charset="0"/>
              <a:sym typeface="+mn-lt"/>
            </a:endParaRPr>
          </a:p>
        </p:txBody>
      </p:sp>
      <p:sp>
        <p:nvSpPr>
          <p:cNvPr id="37" name="Textplatzhalter 2">
            <a:extLst>
              <a:ext uri="{FF2B5EF4-FFF2-40B4-BE49-F238E27FC236}">
                <a16:creationId xmlns:a16="http://schemas.microsoft.com/office/drawing/2014/main" xmlns="" id="{3DAEC60B-8B80-4E4B-A105-21F31384B58C}"/>
              </a:ext>
            </a:extLst>
          </p:cNvPr>
          <p:cNvSpPr>
            <a:spLocks noGrp="1"/>
          </p:cNvSpPr>
          <p:nvPr>
            <p:custDataLst>
              <p:tags r:id="rId17"/>
            </p:custDataLst>
          </p:nvPr>
        </p:nvSpPr>
        <p:spPr bwMode="gray">
          <a:xfrm>
            <a:off x="1863725" y="3240088"/>
            <a:ext cx="2968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6564B91-6397-4D5A-8B28-1C7D38BB7813}" type="datetime'''''''''''''''''''''''''3,''''''''''''''''''''''''2'''''''">
              <a:rPr lang="de-DE" altLang="en-US" sz="1400" smtClean="0">
                <a:cs typeface="Arial" panose="020B0604020202020204" pitchFamily="34" charset="0"/>
              </a:rPr>
              <a:pPr lvl="1">
                <a:spcBef>
                  <a:spcPct val="0"/>
                </a:spcBef>
                <a:spcAft>
                  <a:spcPct val="0"/>
                </a:spcAft>
              </a:pPr>
              <a:t>3,2</a:t>
            </a:fld>
            <a:endParaRPr lang="de-DE" sz="1400" dirty="0">
              <a:cs typeface="Arial" panose="020B0604020202020204" pitchFamily="34" charset="0"/>
              <a:sym typeface="+mn-lt"/>
            </a:endParaRPr>
          </a:p>
        </p:txBody>
      </p:sp>
      <p:sp>
        <p:nvSpPr>
          <p:cNvPr id="38" name="Textplatzhalter 2">
            <a:extLst>
              <a:ext uri="{FF2B5EF4-FFF2-40B4-BE49-F238E27FC236}">
                <a16:creationId xmlns:a16="http://schemas.microsoft.com/office/drawing/2014/main" xmlns="" id="{339FC98C-D393-4C42-9A0E-AE34A3098F2C}"/>
              </a:ext>
            </a:extLst>
          </p:cNvPr>
          <p:cNvSpPr>
            <a:spLocks noGrp="1"/>
          </p:cNvSpPr>
          <p:nvPr>
            <p:custDataLst>
              <p:tags r:id="rId18"/>
            </p:custDataLst>
          </p:nvPr>
        </p:nvSpPr>
        <p:spPr bwMode="gray">
          <a:xfrm>
            <a:off x="1882775" y="3621088"/>
            <a:ext cx="2968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D13576C7-1426-4A3E-A6C0-554F7A4C0563}" type="datetime'''''''''''''''''4'''''''''',''''''''''9'''''">
              <a:rPr lang="de-DE" altLang="en-US" sz="1400" smtClean="0">
                <a:cs typeface="Arial" panose="020B0604020202020204" pitchFamily="34" charset="0"/>
              </a:rPr>
              <a:pPr lvl="1">
                <a:spcBef>
                  <a:spcPct val="0"/>
                </a:spcBef>
                <a:spcAft>
                  <a:spcPct val="0"/>
                </a:spcAft>
              </a:pPr>
              <a:t>4,9</a:t>
            </a:fld>
            <a:endParaRPr lang="de-DE" sz="1400" dirty="0">
              <a:cs typeface="Arial" panose="020B0604020202020204" pitchFamily="34" charset="0"/>
              <a:sym typeface="+mn-lt"/>
            </a:endParaRPr>
          </a:p>
        </p:txBody>
      </p:sp>
      <p:sp>
        <p:nvSpPr>
          <p:cNvPr id="40" name="Textplatzhalter 2">
            <a:extLst>
              <a:ext uri="{FF2B5EF4-FFF2-40B4-BE49-F238E27FC236}">
                <a16:creationId xmlns:a16="http://schemas.microsoft.com/office/drawing/2014/main" xmlns="" id="{58B8025C-0DF6-4BA9-8790-1E39BE8D2C00}"/>
              </a:ext>
            </a:extLst>
          </p:cNvPr>
          <p:cNvSpPr>
            <a:spLocks noGrp="1"/>
          </p:cNvSpPr>
          <p:nvPr>
            <p:custDataLst>
              <p:tags r:id="rId19"/>
            </p:custDataLst>
          </p:nvPr>
        </p:nvSpPr>
        <p:spPr bwMode="gray">
          <a:xfrm>
            <a:off x="1857375" y="4003675"/>
            <a:ext cx="2968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837A8642-3D9E-40E8-8313-F69425857C91}" type="datetime'2'''''''''''''''''''''''''''''''''''''''',6'''''''">
              <a:rPr lang="de-DE" altLang="en-US" sz="1400" smtClean="0">
                <a:cs typeface="Arial" panose="020B0604020202020204" pitchFamily="34" charset="0"/>
              </a:rPr>
              <a:pPr lvl="1">
                <a:spcBef>
                  <a:spcPct val="0"/>
                </a:spcBef>
                <a:spcAft>
                  <a:spcPct val="0"/>
                </a:spcAft>
              </a:pPr>
              <a:t>2,6</a:t>
            </a:fld>
            <a:endParaRPr lang="de-DE" sz="1400" dirty="0">
              <a:cs typeface="Arial" panose="020B0604020202020204" pitchFamily="34" charset="0"/>
              <a:sym typeface="+mn-lt"/>
            </a:endParaRPr>
          </a:p>
        </p:txBody>
      </p:sp>
      <p:sp>
        <p:nvSpPr>
          <p:cNvPr id="42" name="Textplatzhalter 2">
            <a:extLst>
              <a:ext uri="{FF2B5EF4-FFF2-40B4-BE49-F238E27FC236}">
                <a16:creationId xmlns:a16="http://schemas.microsoft.com/office/drawing/2014/main" xmlns="" id="{F1FF9FF2-4BF5-49CA-A468-06678FDE9119}"/>
              </a:ext>
            </a:extLst>
          </p:cNvPr>
          <p:cNvSpPr>
            <a:spLocks noGrp="1"/>
          </p:cNvSpPr>
          <p:nvPr>
            <p:custDataLst>
              <p:tags r:id="rId20"/>
            </p:custDataLst>
          </p:nvPr>
        </p:nvSpPr>
        <p:spPr bwMode="gray">
          <a:xfrm>
            <a:off x="1849438" y="4384675"/>
            <a:ext cx="2968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3983074A-8F59-44DE-B6AC-6CB9FFFACCA2}" type="datetime'''''2'''''''',''''''''''''''''''''0'''''''">
              <a:rPr lang="de-DE" altLang="en-US" sz="1400" smtClean="0">
                <a:cs typeface="Arial" panose="020B0604020202020204" pitchFamily="34" charset="0"/>
              </a:rPr>
              <a:pPr lvl="1">
                <a:spcBef>
                  <a:spcPct val="0"/>
                </a:spcBef>
                <a:spcAft>
                  <a:spcPct val="0"/>
                </a:spcAft>
              </a:pPr>
              <a:t>2,0</a:t>
            </a:fld>
            <a:endParaRPr lang="de-DE" sz="1400" dirty="0">
              <a:cs typeface="Arial" panose="020B0604020202020204" pitchFamily="34" charset="0"/>
              <a:sym typeface="+mn-lt"/>
            </a:endParaRPr>
          </a:p>
        </p:txBody>
      </p:sp>
      <p:sp>
        <p:nvSpPr>
          <p:cNvPr id="46" name="Textplatzhalter 2">
            <a:extLst>
              <a:ext uri="{FF2B5EF4-FFF2-40B4-BE49-F238E27FC236}">
                <a16:creationId xmlns:a16="http://schemas.microsoft.com/office/drawing/2014/main" xmlns="" id="{AA89D745-742F-4A34-A42A-74C32CBD37E0}"/>
              </a:ext>
            </a:extLst>
          </p:cNvPr>
          <p:cNvSpPr>
            <a:spLocks noGrp="1"/>
          </p:cNvSpPr>
          <p:nvPr>
            <p:custDataLst>
              <p:tags r:id="rId21"/>
            </p:custDataLst>
          </p:nvPr>
        </p:nvSpPr>
        <p:spPr bwMode="gray">
          <a:xfrm>
            <a:off x="1839913" y="5148263"/>
            <a:ext cx="2968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09BB4F6C-2062-4E78-AB7D-92CA812DFD6B}" type="datetime'''1'''''''''''''''''''''''''''''''''''''''''',1'''''">
              <a:rPr lang="de-DE" altLang="en-US" sz="1400" smtClean="0">
                <a:cs typeface="Arial" panose="020B0604020202020204" pitchFamily="34" charset="0"/>
              </a:rPr>
              <a:pPr lvl="1">
                <a:spcBef>
                  <a:spcPct val="0"/>
                </a:spcBef>
                <a:spcAft>
                  <a:spcPct val="0"/>
                </a:spcAft>
              </a:pPr>
              <a:t>1,1</a:t>
            </a:fld>
            <a:endParaRPr lang="de-DE" sz="1400" dirty="0">
              <a:cs typeface="Arial" panose="020B0604020202020204" pitchFamily="34" charset="0"/>
              <a:sym typeface="+mn-lt"/>
            </a:endParaRPr>
          </a:p>
        </p:txBody>
      </p:sp>
      <p:graphicFrame>
        <p:nvGraphicFramePr>
          <p:cNvPr id="69" name="Chart 3">
            <a:extLst>
              <a:ext uri="{FF2B5EF4-FFF2-40B4-BE49-F238E27FC236}">
                <a16:creationId xmlns:a16="http://schemas.microsoft.com/office/drawing/2014/main" xmlns="" id="{BA4D74B8-0BDB-471A-9842-A1768341E367}"/>
              </a:ext>
            </a:extLst>
          </p:cNvPr>
          <p:cNvGraphicFramePr/>
          <p:nvPr>
            <p:custDataLst>
              <p:tags r:id="rId22"/>
            </p:custDataLst>
          </p:nvPr>
        </p:nvGraphicFramePr>
        <p:xfrm>
          <a:off x="3001963" y="2309813"/>
          <a:ext cx="1722437" cy="3217862"/>
        </p:xfrm>
        <a:graphic>
          <a:graphicData uri="http://schemas.openxmlformats.org/drawingml/2006/chart">
            <c:chart xmlns:c="http://schemas.openxmlformats.org/drawingml/2006/chart" xmlns:r="http://schemas.openxmlformats.org/officeDocument/2006/relationships" r:id="rId58"/>
          </a:graphicData>
        </a:graphic>
      </p:graphicFrame>
      <p:cxnSp>
        <p:nvCxnSpPr>
          <p:cNvPr id="7" name="Gerader Verbinder 6">
            <a:extLst>
              <a:ext uri="{FF2B5EF4-FFF2-40B4-BE49-F238E27FC236}">
                <a16:creationId xmlns:a16="http://schemas.microsoft.com/office/drawing/2014/main" xmlns="" id="{C35C41BB-0F19-4C8F-A3C3-EE05FC91F076}"/>
              </a:ext>
            </a:extLst>
          </p:cNvPr>
          <p:cNvCxnSpPr/>
          <p:nvPr>
            <p:custDataLst>
              <p:tags r:id="rId23"/>
            </p:custDataLst>
          </p:nvPr>
        </p:nvCxnSpPr>
        <p:spPr bwMode="gray">
          <a:xfrm>
            <a:off x="3586163" y="3452814"/>
            <a:ext cx="0" cy="168275"/>
          </a:xfrm>
          <a:prstGeom prst="line">
            <a:avLst/>
          </a:prstGeom>
          <a:ln w="9525" cap="flat"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xmlns="" id="{AF4FDC8C-4A5A-4E84-9BB9-6645D966DAAA}"/>
              </a:ext>
            </a:extLst>
          </p:cNvPr>
          <p:cNvCxnSpPr/>
          <p:nvPr>
            <p:custDataLst>
              <p:tags r:id="rId24"/>
            </p:custDataLst>
          </p:nvPr>
        </p:nvCxnSpPr>
        <p:spPr bwMode="gray">
          <a:xfrm>
            <a:off x="3586163" y="3833813"/>
            <a:ext cx="0" cy="169863"/>
          </a:xfrm>
          <a:prstGeom prst="line">
            <a:avLst/>
          </a:prstGeom>
          <a:ln w="9525" cap="flat"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xmlns="" id="{8EEA758E-EAE7-4CBB-B278-859404E17D7E}"/>
              </a:ext>
            </a:extLst>
          </p:cNvPr>
          <p:cNvCxnSpPr/>
          <p:nvPr>
            <p:custDataLst>
              <p:tags r:id="rId25"/>
            </p:custDataLst>
          </p:nvPr>
        </p:nvCxnSpPr>
        <p:spPr bwMode="gray">
          <a:xfrm>
            <a:off x="3586163" y="2392364"/>
            <a:ext cx="0" cy="847725"/>
          </a:xfrm>
          <a:prstGeom prst="line">
            <a:avLst/>
          </a:prstGeom>
          <a:ln w="9525" cap="flat"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xmlns="" id="{1BB4B5DA-17A1-4A1B-957F-80CFCD0A9165}"/>
              </a:ext>
            </a:extLst>
          </p:cNvPr>
          <p:cNvCxnSpPr/>
          <p:nvPr>
            <p:custDataLst>
              <p:tags r:id="rId26"/>
            </p:custDataLst>
          </p:nvPr>
        </p:nvCxnSpPr>
        <p:spPr bwMode="gray">
          <a:xfrm>
            <a:off x="3586163" y="4597401"/>
            <a:ext cx="0" cy="168275"/>
          </a:xfrm>
          <a:prstGeom prst="line">
            <a:avLst/>
          </a:prstGeom>
          <a:ln w="9525" cap="flat"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xmlns="" id="{1F5717E1-5D50-420F-911B-FAF39068B8C7}"/>
              </a:ext>
            </a:extLst>
          </p:cNvPr>
          <p:cNvCxnSpPr/>
          <p:nvPr>
            <p:custDataLst>
              <p:tags r:id="rId27"/>
            </p:custDataLst>
          </p:nvPr>
        </p:nvCxnSpPr>
        <p:spPr bwMode="gray">
          <a:xfrm>
            <a:off x="3586163" y="4216401"/>
            <a:ext cx="0" cy="168275"/>
          </a:xfrm>
          <a:prstGeom prst="line">
            <a:avLst/>
          </a:prstGeom>
          <a:ln w="9525" cap="flat"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xmlns="" id="{00029807-76EC-4F23-B76A-789EAB2AF1DF}"/>
              </a:ext>
            </a:extLst>
          </p:cNvPr>
          <p:cNvCxnSpPr/>
          <p:nvPr>
            <p:custDataLst>
              <p:tags r:id="rId28"/>
            </p:custDataLst>
          </p:nvPr>
        </p:nvCxnSpPr>
        <p:spPr bwMode="gray">
          <a:xfrm>
            <a:off x="3586163" y="4978400"/>
            <a:ext cx="0" cy="169863"/>
          </a:xfrm>
          <a:prstGeom prst="line">
            <a:avLst/>
          </a:prstGeom>
          <a:ln w="9525" cap="flat"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xmlns="" id="{961620C5-05C9-4AF2-AC87-C953F55CE381}"/>
              </a:ext>
            </a:extLst>
          </p:cNvPr>
          <p:cNvCxnSpPr/>
          <p:nvPr>
            <p:custDataLst>
              <p:tags r:id="rId29"/>
            </p:custDataLst>
          </p:nvPr>
        </p:nvCxnSpPr>
        <p:spPr bwMode="gray">
          <a:xfrm>
            <a:off x="3586163" y="5360988"/>
            <a:ext cx="0" cy="84138"/>
          </a:xfrm>
          <a:prstGeom prst="line">
            <a:avLst/>
          </a:prstGeom>
          <a:ln w="9525" cap="flat" cmpd="sng" algn="ctr">
            <a:solidFill>
              <a:schemeClr val="accent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Pfeil: nach rechts 4">
            <a:extLst>
              <a:ext uri="{FF2B5EF4-FFF2-40B4-BE49-F238E27FC236}">
                <a16:creationId xmlns:a16="http://schemas.microsoft.com/office/drawing/2014/main" xmlns="" id="{4AA71263-7DC8-4731-8FBC-61B3D790EDAF}"/>
              </a:ext>
            </a:extLst>
          </p:cNvPr>
          <p:cNvSpPr/>
          <p:nvPr>
            <p:custDataLst>
              <p:tags r:id="rId30"/>
            </p:custDataLst>
          </p:nvPr>
        </p:nvSpPr>
        <p:spPr bwMode="auto">
          <a:xfrm rot="16200000">
            <a:off x="3522663" y="5483225"/>
            <a:ext cx="128587" cy="152400"/>
          </a:xfrm>
          <a:prstGeom prst="rightArrow">
            <a:avLst>
              <a:gd name="adj1" fmla="val 100000"/>
              <a:gd name="adj2"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53" name="Textplatzhalter 2">
            <a:extLst>
              <a:ext uri="{FF2B5EF4-FFF2-40B4-BE49-F238E27FC236}">
                <a16:creationId xmlns:a16="http://schemas.microsoft.com/office/drawing/2014/main" xmlns="" id="{FD9151C7-D976-4126-A60A-851D2F0618A2}"/>
              </a:ext>
            </a:extLst>
          </p:cNvPr>
          <p:cNvSpPr>
            <a:spLocks noGrp="1"/>
          </p:cNvSpPr>
          <p:nvPr>
            <p:custDataLst>
              <p:tags r:id="rId31"/>
            </p:custDataLst>
          </p:nvPr>
        </p:nvSpPr>
        <p:spPr bwMode="auto">
          <a:xfrm>
            <a:off x="2919413" y="5675313"/>
            <a:ext cx="13319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r>
              <a:rPr lang="de-DE" altLang="en-US" sz="1400" dirty="0">
                <a:cs typeface="Arial" panose="020B0604020202020204" pitchFamily="34" charset="0"/>
                <a:sym typeface="+mn-lt"/>
              </a:rPr>
              <a:t>Ø 14,4 € D/A/CH</a:t>
            </a:r>
            <a:endParaRPr lang="de-DE" sz="1400" dirty="0">
              <a:cs typeface="Arial" panose="020B0604020202020204" pitchFamily="34" charset="0"/>
              <a:sym typeface="+mn-lt"/>
            </a:endParaRPr>
          </a:p>
        </p:txBody>
      </p:sp>
      <p:sp>
        <p:nvSpPr>
          <p:cNvPr id="104" name="Textplatzhalter 2">
            <a:extLst>
              <a:ext uri="{FF2B5EF4-FFF2-40B4-BE49-F238E27FC236}">
                <a16:creationId xmlns:a16="http://schemas.microsoft.com/office/drawing/2014/main" xmlns="" id="{E92B16F9-4F3A-4763-AB4A-07F03175E2E7}"/>
              </a:ext>
            </a:extLst>
          </p:cNvPr>
          <p:cNvSpPr>
            <a:spLocks noGrp="1"/>
          </p:cNvSpPr>
          <p:nvPr>
            <p:custDataLst>
              <p:tags r:id="rId32"/>
            </p:custDataLst>
          </p:nvPr>
        </p:nvSpPr>
        <p:spPr bwMode="auto">
          <a:xfrm>
            <a:off x="3444875" y="2120900"/>
            <a:ext cx="739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ctr">
              <a:spcBef>
                <a:spcPct val="0"/>
              </a:spcBef>
              <a:spcAft>
                <a:spcPct val="0"/>
              </a:spcAft>
            </a:pPr>
            <a:r>
              <a:rPr lang="de-DE" sz="1400" dirty="0">
                <a:latin typeface="+mn-lt"/>
                <a:sym typeface="+mn-lt"/>
              </a:rPr>
              <a:t>€ pro EW</a:t>
            </a:r>
          </a:p>
        </p:txBody>
      </p:sp>
      <p:graphicFrame>
        <p:nvGraphicFramePr>
          <p:cNvPr id="67" name="Chart 3">
            <a:extLst>
              <a:ext uri="{FF2B5EF4-FFF2-40B4-BE49-F238E27FC236}">
                <a16:creationId xmlns:a16="http://schemas.microsoft.com/office/drawing/2014/main" xmlns="" id="{CF6E63F6-4022-4C72-A989-EFEE39B1992D}"/>
              </a:ext>
            </a:extLst>
          </p:cNvPr>
          <p:cNvGraphicFramePr/>
          <p:nvPr>
            <p:custDataLst>
              <p:tags r:id="rId33"/>
            </p:custDataLst>
          </p:nvPr>
        </p:nvGraphicFramePr>
        <p:xfrm>
          <a:off x="4749800" y="2309813"/>
          <a:ext cx="1344613" cy="3217862"/>
        </p:xfrm>
        <a:graphic>
          <a:graphicData uri="http://schemas.openxmlformats.org/drawingml/2006/chart">
            <c:chart xmlns:c="http://schemas.openxmlformats.org/drawingml/2006/chart" xmlns:r="http://schemas.openxmlformats.org/officeDocument/2006/relationships" r:id="rId59"/>
          </a:graphicData>
        </a:graphic>
      </p:graphicFrame>
      <p:sp>
        <p:nvSpPr>
          <p:cNvPr id="60" name="Textplatzhalter 2">
            <a:extLst>
              <a:ext uri="{FF2B5EF4-FFF2-40B4-BE49-F238E27FC236}">
                <a16:creationId xmlns:a16="http://schemas.microsoft.com/office/drawing/2014/main" xmlns="" id="{CA968C48-81D6-4640-A5D4-9D19B540506B}"/>
              </a:ext>
            </a:extLst>
          </p:cNvPr>
          <p:cNvSpPr>
            <a:spLocks noGrp="1"/>
          </p:cNvSpPr>
          <p:nvPr>
            <p:custDataLst>
              <p:tags r:id="rId34"/>
            </p:custDataLst>
          </p:nvPr>
        </p:nvSpPr>
        <p:spPr bwMode="gray">
          <a:xfrm>
            <a:off x="5240338" y="2873375"/>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AAAD663-F8D9-4414-84C6-2C67EA1B27B9}" type="datetime'''''''''''''8,''''''''''''''''''''''''8'''''''''''''''">
              <a:rPr lang="de-DE" altLang="en-US" sz="1200" smtClean="0">
                <a:cs typeface="Arial" panose="020B0604020202020204" pitchFamily="34" charset="0"/>
              </a:rPr>
              <a:pPr lvl="1">
                <a:spcBef>
                  <a:spcPct val="0"/>
                </a:spcBef>
                <a:spcAft>
                  <a:spcPct val="0"/>
                </a:spcAft>
              </a:pPr>
              <a:t>8,8</a:t>
            </a:fld>
            <a:endParaRPr lang="de-DE" sz="1200" dirty="0">
              <a:cs typeface="Arial" panose="020B0604020202020204" pitchFamily="34" charset="0"/>
              <a:sym typeface="+mn-lt"/>
            </a:endParaRPr>
          </a:p>
        </p:txBody>
      </p:sp>
      <p:sp>
        <p:nvSpPr>
          <p:cNvPr id="65" name="Textplatzhalter 2">
            <a:extLst>
              <a:ext uri="{FF2B5EF4-FFF2-40B4-BE49-F238E27FC236}">
                <a16:creationId xmlns:a16="http://schemas.microsoft.com/office/drawing/2014/main" xmlns="" id="{706E2CB8-F722-4423-A505-8BDBBD181970}"/>
              </a:ext>
            </a:extLst>
          </p:cNvPr>
          <p:cNvSpPr>
            <a:spLocks noGrp="1"/>
          </p:cNvSpPr>
          <p:nvPr>
            <p:custDataLst>
              <p:tags r:id="rId35"/>
            </p:custDataLst>
          </p:nvPr>
        </p:nvSpPr>
        <p:spPr bwMode="gray">
          <a:xfrm>
            <a:off x="5078413" y="4781550"/>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F90C5EA6-0B04-41A9-85C4-82634879CE93}" type="datetime'''''''''''''''''''''''''''''''''''''''''''''5,1'''">
              <a:rPr lang="de-DE" altLang="en-US" sz="1200" smtClean="0">
                <a:cs typeface="Arial" panose="020B0604020202020204" pitchFamily="34" charset="0"/>
              </a:rPr>
              <a:pPr lvl="1">
                <a:spcBef>
                  <a:spcPct val="0"/>
                </a:spcBef>
                <a:spcAft>
                  <a:spcPct val="0"/>
                </a:spcAft>
              </a:pPr>
              <a:t>5,1</a:t>
            </a:fld>
            <a:endParaRPr lang="de-DE" sz="1200" dirty="0">
              <a:cs typeface="Arial" panose="020B0604020202020204" pitchFamily="34" charset="0"/>
              <a:sym typeface="+mn-lt"/>
            </a:endParaRPr>
          </a:p>
        </p:txBody>
      </p:sp>
      <p:sp>
        <p:nvSpPr>
          <p:cNvPr id="137" name="Textplatzhalter 2">
            <a:extLst>
              <a:ext uri="{FF2B5EF4-FFF2-40B4-BE49-F238E27FC236}">
                <a16:creationId xmlns:a16="http://schemas.microsoft.com/office/drawing/2014/main" xmlns="" id="{6AAEB0A6-9586-4755-B10A-F0BF07F09412}"/>
              </a:ext>
            </a:extLst>
          </p:cNvPr>
          <p:cNvSpPr>
            <a:spLocks noGrp="1"/>
          </p:cNvSpPr>
          <p:nvPr>
            <p:custDataLst>
              <p:tags r:id="rId36"/>
            </p:custDataLst>
          </p:nvPr>
        </p:nvSpPr>
        <p:spPr bwMode="auto">
          <a:xfrm>
            <a:off x="5154613" y="2171700"/>
            <a:ext cx="5334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ctr">
              <a:spcBef>
                <a:spcPct val="0"/>
              </a:spcBef>
              <a:spcAft>
                <a:spcPct val="0"/>
              </a:spcAft>
            </a:pPr>
            <a:r>
              <a:rPr lang="de-DE" sz="1200" dirty="0">
                <a:latin typeface="+mn-lt"/>
                <a:sym typeface="+mn-lt"/>
              </a:rPr>
              <a:t>Basis Ø</a:t>
            </a:r>
          </a:p>
        </p:txBody>
      </p:sp>
      <p:sp>
        <p:nvSpPr>
          <p:cNvPr id="61" name="Textplatzhalter 2">
            <a:extLst>
              <a:ext uri="{FF2B5EF4-FFF2-40B4-BE49-F238E27FC236}">
                <a16:creationId xmlns:a16="http://schemas.microsoft.com/office/drawing/2014/main" xmlns="" id="{A21495DB-ED39-4C26-9593-2CCA12C4D83A}"/>
              </a:ext>
            </a:extLst>
          </p:cNvPr>
          <p:cNvSpPr>
            <a:spLocks noGrp="1"/>
          </p:cNvSpPr>
          <p:nvPr>
            <p:custDataLst>
              <p:tags r:id="rId37"/>
            </p:custDataLst>
          </p:nvPr>
        </p:nvSpPr>
        <p:spPr bwMode="gray">
          <a:xfrm>
            <a:off x="5222875" y="3255963"/>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5EBA4ADD-632C-410B-BD76-CCBAB613D75F}" type="datetime'''''''''''''''''8'''''''''''''''''''''''''''''''''''''',''4'">
              <a:rPr lang="de-DE" altLang="en-US" sz="1200" smtClean="0">
                <a:cs typeface="Arial" panose="020B0604020202020204" pitchFamily="34" charset="0"/>
              </a:rPr>
              <a:pPr lvl="1">
                <a:spcBef>
                  <a:spcPct val="0"/>
                </a:spcBef>
                <a:spcAft>
                  <a:spcPct val="0"/>
                </a:spcAft>
              </a:pPr>
              <a:t>8,4</a:t>
            </a:fld>
            <a:endParaRPr lang="de-DE" sz="1200" dirty="0">
              <a:cs typeface="Arial" panose="020B0604020202020204" pitchFamily="34" charset="0"/>
              <a:sym typeface="+mn-lt"/>
            </a:endParaRPr>
          </a:p>
        </p:txBody>
      </p:sp>
      <p:sp>
        <p:nvSpPr>
          <p:cNvPr id="59" name="Textplatzhalter 2">
            <a:extLst>
              <a:ext uri="{FF2B5EF4-FFF2-40B4-BE49-F238E27FC236}">
                <a16:creationId xmlns:a16="http://schemas.microsoft.com/office/drawing/2014/main" xmlns="" id="{955AA71E-F4B9-4384-83F2-728057B9F668}"/>
              </a:ext>
            </a:extLst>
          </p:cNvPr>
          <p:cNvSpPr>
            <a:spLocks noGrp="1"/>
          </p:cNvSpPr>
          <p:nvPr>
            <p:custDataLst>
              <p:tags r:id="rId38"/>
            </p:custDataLst>
          </p:nvPr>
        </p:nvSpPr>
        <p:spPr bwMode="gray">
          <a:xfrm>
            <a:off x="6037263" y="2492375"/>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E3D6128C-98A8-49E5-808E-372BBF5C0F3E}" type="datetime'''''''''''''2''7'''''''''''''',''2'''''''''">
              <a:rPr lang="de-DE" altLang="en-US" sz="1200" smtClean="0">
                <a:cs typeface="Arial" panose="020B0604020202020204" pitchFamily="34" charset="0"/>
              </a:rPr>
              <a:pPr lvl="1">
                <a:spcBef>
                  <a:spcPct val="0"/>
                </a:spcBef>
                <a:spcAft>
                  <a:spcPct val="0"/>
                </a:spcAft>
              </a:pPr>
              <a:t>27,2</a:t>
            </a:fld>
            <a:endParaRPr lang="de-DE" sz="1200" dirty="0">
              <a:cs typeface="Arial" panose="020B0604020202020204" pitchFamily="34" charset="0"/>
              <a:sym typeface="+mn-lt"/>
            </a:endParaRPr>
          </a:p>
        </p:txBody>
      </p:sp>
      <p:sp>
        <p:nvSpPr>
          <p:cNvPr id="62" name="Textplatzhalter 2">
            <a:extLst>
              <a:ext uri="{FF2B5EF4-FFF2-40B4-BE49-F238E27FC236}">
                <a16:creationId xmlns:a16="http://schemas.microsoft.com/office/drawing/2014/main" xmlns="" id="{33D08C8C-056B-4DAC-9154-9150FE901557}"/>
              </a:ext>
            </a:extLst>
          </p:cNvPr>
          <p:cNvSpPr>
            <a:spLocks noGrp="1"/>
          </p:cNvSpPr>
          <p:nvPr>
            <p:custDataLst>
              <p:tags r:id="rId39"/>
            </p:custDataLst>
          </p:nvPr>
        </p:nvSpPr>
        <p:spPr bwMode="gray">
          <a:xfrm>
            <a:off x="5221288" y="3636963"/>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7090CA61-563E-4491-BA17-B112CB384C70}" type="datetime'8'''''',4'''''''''''''''''''''''''''''''''">
              <a:rPr lang="de-DE" altLang="en-US" sz="1200" smtClean="0">
                <a:cs typeface="Arial" panose="020B0604020202020204" pitchFamily="34" charset="0"/>
              </a:rPr>
              <a:pPr lvl="1">
                <a:spcBef>
                  <a:spcPct val="0"/>
                </a:spcBef>
                <a:spcAft>
                  <a:spcPct val="0"/>
                </a:spcAft>
              </a:pPr>
              <a:t>8,4</a:t>
            </a:fld>
            <a:endParaRPr lang="de-DE" sz="1200" dirty="0">
              <a:cs typeface="Arial" panose="020B0604020202020204" pitchFamily="34" charset="0"/>
              <a:sym typeface="+mn-lt"/>
            </a:endParaRPr>
          </a:p>
        </p:txBody>
      </p:sp>
      <p:sp>
        <p:nvSpPr>
          <p:cNvPr id="63" name="Textplatzhalter 2">
            <a:extLst>
              <a:ext uri="{FF2B5EF4-FFF2-40B4-BE49-F238E27FC236}">
                <a16:creationId xmlns:a16="http://schemas.microsoft.com/office/drawing/2014/main" xmlns="" id="{E2F43FD1-1C6B-4F62-86F2-3AA798B990A4}"/>
              </a:ext>
            </a:extLst>
          </p:cNvPr>
          <p:cNvSpPr>
            <a:spLocks noGrp="1"/>
          </p:cNvSpPr>
          <p:nvPr>
            <p:custDataLst>
              <p:tags r:id="rId40"/>
            </p:custDataLst>
          </p:nvPr>
        </p:nvSpPr>
        <p:spPr bwMode="gray">
          <a:xfrm>
            <a:off x="5170488" y="4019550"/>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E3F0C45A-FE28-4175-A1B1-9016B937859E}" type="datetime'''''''''''''''''''''''''''''''''''''''''''7'''''''',''''''''2'">
              <a:rPr lang="de-DE" altLang="en-US" sz="1200" smtClean="0">
                <a:cs typeface="Arial" panose="020B0604020202020204" pitchFamily="34" charset="0"/>
              </a:rPr>
              <a:pPr lvl="1">
                <a:spcBef>
                  <a:spcPct val="0"/>
                </a:spcBef>
                <a:spcAft>
                  <a:spcPct val="0"/>
                </a:spcAft>
              </a:pPr>
              <a:t>7,2</a:t>
            </a:fld>
            <a:endParaRPr lang="de-DE" sz="1200" dirty="0">
              <a:cs typeface="Arial" panose="020B0604020202020204" pitchFamily="34" charset="0"/>
              <a:sym typeface="+mn-lt"/>
            </a:endParaRPr>
          </a:p>
        </p:txBody>
      </p:sp>
      <p:sp>
        <p:nvSpPr>
          <p:cNvPr id="64" name="Textplatzhalter 2">
            <a:extLst>
              <a:ext uri="{FF2B5EF4-FFF2-40B4-BE49-F238E27FC236}">
                <a16:creationId xmlns:a16="http://schemas.microsoft.com/office/drawing/2014/main" xmlns="" id="{E4487BED-94E7-4BDA-90C1-0AE15BD28292}"/>
              </a:ext>
            </a:extLst>
          </p:cNvPr>
          <p:cNvSpPr>
            <a:spLocks noGrp="1"/>
          </p:cNvSpPr>
          <p:nvPr>
            <p:custDataLst>
              <p:tags r:id="rId41"/>
            </p:custDataLst>
          </p:nvPr>
        </p:nvSpPr>
        <p:spPr bwMode="gray">
          <a:xfrm>
            <a:off x="5084763" y="4400550"/>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3DD94005-E8F5-4269-8253-C568D35526AA}" type="datetime'''''''5'''''''''''''''''''''''''''''''''''''',''''''3'">
              <a:rPr lang="de-DE" altLang="en-US" sz="1200" smtClean="0">
                <a:cs typeface="Arial" panose="020B0604020202020204" pitchFamily="34" charset="0"/>
              </a:rPr>
              <a:pPr lvl="1">
                <a:spcBef>
                  <a:spcPct val="0"/>
                </a:spcBef>
                <a:spcAft>
                  <a:spcPct val="0"/>
                </a:spcAft>
              </a:pPr>
              <a:t>5,3</a:t>
            </a:fld>
            <a:endParaRPr lang="de-DE" sz="1200" dirty="0">
              <a:cs typeface="Arial" panose="020B0604020202020204" pitchFamily="34" charset="0"/>
              <a:sym typeface="+mn-lt"/>
            </a:endParaRPr>
          </a:p>
        </p:txBody>
      </p:sp>
      <p:sp>
        <p:nvSpPr>
          <p:cNvPr id="66" name="Textplatzhalter 2">
            <a:extLst>
              <a:ext uri="{FF2B5EF4-FFF2-40B4-BE49-F238E27FC236}">
                <a16:creationId xmlns:a16="http://schemas.microsoft.com/office/drawing/2014/main" xmlns="" id="{B745C436-597E-408E-B7C4-636A8248DF39}"/>
              </a:ext>
            </a:extLst>
          </p:cNvPr>
          <p:cNvSpPr>
            <a:spLocks noGrp="1"/>
          </p:cNvSpPr>
          <p:nvPr>
            <p:custDataLst>
              <p:tags r:id="rId42"/>
            </p:custDataLst>
          </p:nvPr>
        </p:nvSpPr>
        <p:spPr bwMode="gray">
          <a:xfrm>
            <a:off x="5021263" y="5164138"/>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392BF0A7-C867-47A6-9FED-B8BA416F0F31}" type="datetime'''3'''''''''''',''8'''''''''''''''''''''">
              <a:rPr lang="de-DE" altLang="en-US" sz="1200" smtClean="0">
                <a:cs typeface="Arial" panose="020B0604020202020204" pitchFamily="34" charset="0"/>
              </a:rPr>
              <a:pPr lvl="1">
                <a:spcBef>
                  <a:spcPct val="0"/>
                </a:spcBef>
                <a:spcAft>
                  <a:spcPct val="0"/>
                </a:spcAft>
              </a:pPr>
              <a:t>3,8</a:t>
            </a:fld>
            <a:endParaRPr lang="de-DE" sz="1200" dirty="0">
              <a:cs typeface="Arial" panose="020B0604020202020204" pitchFamily="34" charset="0"/>
              <a:sym typeface="+mn-lt"/>
            </a:endParaRPr>
          </a:p>
        </p:txBody>
      </p:sp>
      <p:graphicFrame>
        <p:nvGraphicFramePr>
          <p:cNvPr id="82" name="Chart 3">
            <a:extLst>
              <a:ext uri="{FF2B5EF4-FFF2-40B4-BE49-F238E27FC236}">
                <a16:creationId xmlns:a16="http://schemas.microsoft.com/office/drawing/2014/main" xmlns="" id="{8BD896C5-9D83-4CD3-8019-5A98D96FC9FF}"/>
              </a:ext>
            </a:extLst>
          </p:cNvPr>
          <p:cNvGraphicFramePr/>
          <p:nvPr>
            <p:custDataLst>
              <p:tags r:id="rId43"/>
            </p:custDataLst>
          </p:nvPr>
        </p:nvGraphicFramePr>
        <p:xfrm>
          <a:off x="6753225" y="2309813"/>
          <a:ext cx="1547813" cy="3217862"/>
        </p:xfrm>
        <a:graphic>
          <a:graphicData uri="http://schemas.openxmlformats.org/drawingml/2006/chart">
            <c:chart xmlns:c="http://schemas.openxmlformats.org/drawingml/2006/chart" xmlns:r="http://schemas.openxmlformats.org/officeDocument/2006/relationships" r:id="rId60"/>
          </a:graphicData>
        </a:graphic>
      </p:graphicFrame>
      <p:sp>
        <p:nvSpPr>
          <p:cNvPr id="153" name="Textplatzhalter 2">
            <a:extLst>
              <a:ext uri="{FF2B5EF4-FFF2-40B4-BE49-F238E27FC236}">
                <a16:creationId xmlns:a16="http://schemas.microsoft.com/office/drawing/2014/main" xmlns="" id="{87A57F84-4E00-4F67-98C6-4C63D1D22199}"/>
              </a:ext>
            </a:extLst>
          </p:cNvPr>
          <p:cNvSpPr>
            <a:spLocks noGrp="1"/>
          </p:cNvSpPr>
          <p:nvPr>
            <p:custDataLst>
              <p:tags r:id="rId44"/>
            </p:custDataLst>
          </p:nvPr>
        </p:nvSpPr>
        <p:spPr bwMode="auto">
          <a:xfrm>
            <a:off x="7081838" y="2120900"/>
            <a:ext cx="8890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Arial" panose="020B0604020202020204" pitchFamily="34" charset="0"/>
                <a:ea typeface="+mn-ea"/>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200"/>
              </a:spcBef>
              <a:buFontTx/>
              <a:buNone/>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a:lstStyle>
          <a:p>
            <a:pPr lvl="1" algn="ctr">
              <a:spcBef>
                <a:spcPct val="0"/>
              </a:spcBef>
              <a:spcAft>
                <a:spcPct val="0"/>
              </a:spcAft>
            </a:pPr>
            <a:r>
              <a:rPr lang="de-DE" sz="1400" dirty="0">
                <a:latin typeface="+mn-lt"/>
                <a:sym typeface="+mn-lt"/>
              </a:rPr>
              <a:t>Basis Wien</a:t>
            </a:r>
          </a:p>
        </p:txBody>
      </p:sp>
      <p:sp>
        <p:nvSpPr>
          <p:cNvPr id="72" name="Textplatzhalter 2">
            <a:extLst>
              <a:ext uri="{FF2B5EF4-FFF2-40B4-BE49-F238E27FC236}">
                <a16:creationId xmlns:a16="http://schemas.microsoft.com/office/drawing/2014/main" xmlns="" id="{8E940460-AE31-47EA-8429-FB50C510F6B3}"/>
              </a:ext>
            </a:extLst>
          </p:cNvPr>
          <p:cNvSpPr>
            <a:spLocks noGrp="1"/>
          </p:cNvSpPr>
          <p:nvPr>
            <p:custDataLst>
              <p:tags r:id="rId45"/>
            </p:custDataLst>
          </p:nvPr>
        </p:nvSpPr>
        <p:spPr bwMode="gray">
          <a:xfrm>
            <a:off x="8243888" y="2476500"/>
            <a:ext cx="395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56ACBE35-D467-4623-8B2C-378367F4310A}" type="datetime'''9''''''''''''3'''''''''''''''''''''''',''4'''''''">
              <a:rPr lang="de-DE" altLang="en-US" sz="1400" smtClean="0">
                <a:cs typeface="Arial" panose="020B0604020202020204" pitchFamily="34" charset="0"/>
              </a:rPr>
              <a:pPr lvl="1">
                <a:spcBef>
                  <a:spcPct val="0"/>
                </a:spcBef>
                <a:spcAft>
                  <a:spcPct val="0"/>
                </a:spcAft>
              </a:pPr>
              <a:t>93,4</a:t>
            </a:fld>
            <a:endParaRPr lang="de-DE" sz="1400" dirty="0">
              <a:cs typeface="Arial" panose="020B0604020202020204" pitchFamily="34" charset="0"/>
              <a:sym typeface="+mn-lt"/>
            </a:endParaRPr>
          </a:p>
        </p:txBody>
      </p:sp>
      <p:sp>
        <p:nvSpPr>
          <p:cNvPr id="77" name="Textplatzhalter 2">
            <a:extLst>
              <a:ext uri="{FF2B5EF4-FFF2-40B4-BE49-F238E27FC236}">
                <a16:creationId xmlns:a16="http://schemas.microsoft.com/office/drawing/2014/main" xmlns="" id="{B55B645F-50CF-458D-BB22-DD61D6D442D2}"/>
              </a:ext>
            </a:extLst>
          </p:cNvPr>
          <p:cNvSpPr>
            <a:spLocks noGrp="1"/>
          </p:cNvSpPr>
          <p:nvPr>
            <p:custDataLst>
              <p:tags r:id="rId46"/>
            </p:custDataLst>
          </p:nvPr>
        </p:nvSpPr>
        <p:spPr bwMode="gray">
          <a:xfrm>
            <a:off x="7129463" y="4384675"/>
            <a:ext cx="395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A13D477D-7EB1-4878-BA48-D65CF205A635}" type="datetime'''''''''''''''''1''''''8'''''',''''''''''''''''0'''''''''''''">
              <a:rPr lang="de-DE" altLang="en-US" sz="1400" smtClean="0">
                <a:cs typeface="Arial" panose="020B0604020202020204" pitchFamily="34" charset="0"/>
              </a:rPr>
              <a:pPr lvl="1">
                <a:spcBef>
                  <a:spcPct val="0"/>
                </a:spcBef>
                <a:spcAft>
                  <a:spcPct val="0"/>
                </a:spcAft>
              </a:pPr>
              <a:t>18,0</a:t>
            </a:fld>
            <a:endParaRPr lang="de-DE" sz="1400" dirty="0">
              <a:cs typeface="Arial" panose="020B0604020202020204" pitchFamily="34" charset="0"/>
              <a:sym typeface="+mn-lt"/>
            </a:endParaRPr>
          </a:p>
        </p:txBody>
      </p:sp>
      <p:sp>
        <p:nvSpPr>
          <p:cNvPr id="75" name="Textplatzhalter 2">
            <a:extLst>
              <a:ext uri="{FF2B5EF4-FFF2-40B4-BE49-F238E27FC236}">
                <a16:creationId xmlns:a16="http://schemas.microsoft.com/office/drawing/2014/main" xmlns="" id="{C0D93CEC-199E-4572-AD36-3994E872895B}"/>
              </a:ext>
            </a:extLst>
          </p:cNvPr>
          <p:cNvSpPr>
            <a:spLocks noGrp="1"/>
          </p:cNvSpPr>
          <p:nvPr>
            <p:custDataLst>
              <p:tags r:id="rId47"/>
            </p:custDataLst>
          </p:nvPr>
        </p:nvSpPr>
        <p:spPr bwMode="gray">
          <a:xfrm>
            <a:off x="7288213" y="3621088"/>
            <a:ext cx="395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11C51696-7936-4BFB-A5EA-9A3C588A9E4D}" type="datetime'''''''''''''''''''''''''''''2''''8,''''8'''''''''''''''''''''">
              <a:rPr lang="de-DE" altLang="en-US" sz="1400" smtClean="0">
                <a:cs typeface="Arial" panose="020B0604020202020204" pitchFamily="34" charset="0"/>
              </a:rPr>
              <a:pPr lvl="1">
                <a:spcBef>
                  <a:spcPct val="0"/>
                </a:spcBef>
                <a:spcAft>
                  <a:spcPct val="0"/>
                </a:spcAft>
              </a:pPr>
              <a:t>28,8</a:t>
            </a:fld>
            <a:endParaRPr lang="de-DE" sz="1400" dirty="0">
              <a:cs typeface="Arial" panose="020B0604020202020204" pitchFamily="34" charset="0"/>
              <a:sym typeface="+mn-lt"/>
            </a:endParaRPr>
          </a:p>
        </p:txBody>
      </p:sp>
      <p:sp>
        <p:nvSpPr>
          <p:cNvPr id="73" name="Textplatzhalter 2">
            <a:extLst>
              <a:ext uri="{FF2B5EF4-FFF2-40B4-BE49-F238E27FC236}">
                <a16:creationId xmlns:a16="http://schemas.microsoft.com/office/drawing/2014/main" xmlns="" id="{6C295BF7-B318-4F60-B535-71A2F07C9986}"/>
              </a:ext>
            </a:extLst>
          </p:cNvPr>
          <p:cNvSpPr>
            <a:spLocks noGrp="1"/>
          </p:cNvSpPr>
          <p:nvPr>
            <p:custDataLst>
              <p:tags r:id="rId48"/>
            </p:custDataLst>
          </p:nvPr>
        </p:nvSpPr>
        <p:spPr bwMode="gray">
          <a:xfrm>
            <a:off x="7310438" y="2857500"/>
            <a:ext cx="395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68D49305-DCEB-4756-AAF1-82EFE3078DEC}" type="datetime'''''''3''''''''0'',''''''3'''''''">
              <a:rPr lang="de-DE" altLang="en-US" sz="1400" smtClean="0">
                <a:cs typeface="Arial" panose="020B0604020202020204" pitchFamily="34" charset="0"/>
              </a:rPr>
              <a:pPr lvl="1">
                <a:spcBef>
                  <a:spcPct val="0"/>
                </a:spcBef>
                <a:spcAft>
                  <a:spcPct val="0"/>
                </a:spcAft>
              </a:pPr>
              <a:t>30,3</a:t>
            </a:fld>
            <a:endParaRPr lang="de-DE" sz="1400" dirty="0">
              <a:cs typeface="Arial" panose="020B0604020202020204" pitchFamily="34" charset="0"/>
              <a:sym typeface="+mn-lt"/>
            </a:endParaRPr>
          </a:p>
        </p:txBody>
      </p:sp>
      <p:sp>
        <p:nvSpPr>
          <p:cNvPr id="76" name="Textplatzhalter 2">
            <a:extLst>
              <a:ext uri="{FF2B5EF4-FFF2-40B4-BE49-F238E27FC236}">
                <a16:creationId xmlns:a16="http://schemas.microsoft.com/office/drawing/2014/main" xmlns="" id="{0E9DF52E-6194-420E-B5BE-F60693873281}"/>
              </a:ext>
            </a:extLst>
          </p:cNvPr>
          <p:cNvSpPr>
            <a:spLocks noGrp="1"/>
          </p:cNvSpPr>
          <p:nvPr>
            <p:custDataLst>
              <p:tags r:id="rId49"/>
            </p:custDataLst>
          </p:nvPr>
        </p:nvSpPr>
        <p:spPr bwMode="gray">
          <a:xfrm>
            <a:off x="7227888" y="4003675"/>
            <a:ext cx="395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0B9AF189-C989-4F3F-B10C-7F938AAA3BA6}" type="datetime'''''''''''''''2''''''''''''''4,''''''''''''''''''''7'''''''">
              <a:rPr lang="de-DE" altLang="en-US" sz="1400" smtClean="0">
                <a:cs typeface="Arial" panose="020B0604020202020204" pitchFamily="34" charset="0"/>
              </a:rPr>
              <a:pPr lvl="1">
                <a:spcBef>
                  <a:spcPct val="0"/>
                </a:spcBef>
                <a:spcAft>
                  <a:spcPct val="0"/>
                </a:spcAft>
              </a:pPr>
              <a:t>24,7</a:t>
            </a:fld>
            <a:endParaRPr lang="de-DE" sz="1400" dirty="0">
              <a:cs typeface="Arial" panose="020B0604020202020204" pitchFamily="34" charset="0"/>
              <a:sym typeface="+mn-lt"/>
            </a:endParaRPr>
          </a:p>
        </p:txBody>
      </p:sp>
      <p:sp>
        <p:nvSpPr>
          <p:cNvPr id="74" name="Textplatzhalter 2">
            <a:extLst>
              <a:ext uri="{FF2B5EF4-FFF2-40B4-BE49-F238E27FC236}">
                <a16:creationId xmlns:a16="http://schemas.microsoft.com/office/drawing/2014/main" xmlns="" id="{0B24EDD4-8371-42A4-A3E0-7D20B13C3A4F}"/>
              </a:ext>
            </a:extLst>
          </p:cNvPr>
          <p:cNvSpPr>
            <a:spLocks noGrp="1"/>
          </p:cNvSpPr>
          <p:nvPr>
            <p:custDataLst>
              <p:tags r:id="rId50"/>
            </p:custDataLst>
          </p:nvPr>
        </p:nvSpPr>
        <p:spPr bwMode="gray">
          <a:xfrm>
            <a:off x="7289800" y="3240088"/>
            <a:ext cx="395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49AD0205-BF4C-4D49-9D0B-E162EDFBE798}" type="datetime'''''''2''''''''''''''''''9,''''''''''''''''''''''''''0'">
              <a:rPr lang="de-DE" altLang="en-US" sz="1400" smtClean="0">
                <a:cs typeface="Arial" panose="020B0604020202020204" pitchFamily="34" charset="0"/>
              </a:rPr>
              <a:pPr lvl="1">
                <a:spcBef>
                  <a:spcPct val="0"/>
                </a:spcBef>
                <a:spcAft>
                  <a:spcPct val="0"/>
                </a:spcAft>
              </a:pPr>
              <a:t>29,0</a:t>
            </a:fld>
            <a:endParaRPr lang="de-DE" sz="1400" dirty="0">
              <a:cs typeface="Arial" panose="020B0604020202020204" pitchFamily="34" charset="0"/>
              <a:sym typeface="+mn-lt"/>
            </a:endParaRPr>
          </a:p>
        </p:txBody>
      </p:sp>
      <p:sp>
        <p:nvSpPr>
          <p:cNvPr id="78" name="Textplatzhalter 2">
            <a:extLst>
              <a:ext uri="{FF2B5EF4-FFF2-40B4-BE49-F238E27FC236}">
                <a16:creationId xmlns:a16="http://schemas.microsoft.com/office/drawing/2014/main" xmlns="" id="{9BCF14F8-24E7-4E55-A76C-E5168F68FFA2}"/>
              </a:ext>
            </a:extLst>
          </p:cNvPr>
          <p:cNvSpPr>
            <a:spLocks noGrp="1"/>
          </p:cNvSpPr>
          <p:nvPr>
            <p:custDataLst>
              <p:tags r:id="rId51"/>
            </p:custDataLst>
          </p:nvPr>
        </p:nvSpPr>
        <p:spPr bwMode="gray">
          <a:xfrm>
            <a:off x="7119938" y="4765675"/>
            <a:ext cx="395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099262B8-A7DE-4AF2-9014-ED5B1540C2E2}" type="datetime'''''''''''1''''''''''7'''''''''''''''',''''''4'''''''''''">
              <a:rPr lang="de-DE" altLang="en-US" sz="1400" smtClean="0">
                <a:cs typeface="Arial" panose="020B0604020202020204" pitchFamily="34" charset="0"/>
              </a:rPr>
              <a:pPr lvl="1">
                <a:spcBef>
                  <a:spcPct val="0"/>
                </a:spcBef>
                <a:spcAft>
                  <a:spcPct val="0"/>
                </a:spcAft>
              </a:pPr>
              <a:t>17,4</a:t>
            </a:fld>
            <a:endParaRPr lang="de-DE" sz="1400" dirty="0">
              <a:cs typeface="Arial" panose="020B0604020202020204" pitchFamily="34" charset="0"/>
              <a:sym typeface="+mn-lt"/>
            </a:endParaRPr>
          </a:p>
        </p:txBody>
      </p:sp>
      <p:sp>
        <p:nvSpPr>
          <p:cNvPr id="79" name="Textplatzhalter 2">
            <a:extLst>
              <a:ext uri="{FF2B5EF4-FFF2-40B4-BE49-F238E27FC236}">
                <a16:creationId xmlns:a16="http://schemas.microsoft.com/office/drawing/2014/main" xmlns="" id="{A055EB0A-1FAA-4B1F-B8E2-510E1D607E31}"/>
              </a:ext>
            </a:extLst>
          </p:cNvPr>
          <p:cNvSpPr>
            <a:spLocks noGrp="1"/>
          </p:cNvSpPr>
          <p:nvPr>
            <p:custDataLst>
              <p:tags r:id="rId52"/>
            </p:custDataLst>
          </p:nvPr>
        </p:nvSpPr>
        <p:spPr bwMode="gray">
          <a:xfrm>
            <a:off x="7053263" y="5148263"/>
            <a:ext cx="395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37658621-7671-4002-8301-1048D39EEF6A}" type="datetime'''''''1''3,''''''''''''''''''''''''''0'''">
              <a:rPr lang="de-DE" altLang="en-US" sz="1400" smtClean="0">
                <a:cs typeface="Arial" panose="020B0604020202020204" pitchFamily="34" charset="0"/>
              </a:rPr>
              <a:pPr lvl="1">
                <a:spcBef>
                  <a:spcPct val="0"/>
                </a:spcBef>
                <a:spcAft>
                  <a:spcPct val="0"/>
                </a:spcAft>
              </a:pPr>
              <a:t>13,0</a:t>
            </a:fld>
            <a:endParaRPr lang="de-DE" sz="1400" dirty="0">
              <a:cs typeface="Arial" panose="020B0604020202020204" pitchFamily="34" charset="0"/>
              <a:sym typeface="+mn-lt"/>
            </a:endParaRPr>
          </a:p>
        </p:txBody>
      </p:sp>
      <p:cxnSp>
        <p:nvCxnSpPr>
          <p:cNvPr id="161" name="Gerade Verbindung 87">
            <a:extLst>
              <a:ext uri="{FF2B5EF4-FFF2-40B4-BE49-F238E27FC236}">
                <a16:creationId xmlns:a16="http://schemas.microsoft.com/office/drawing/2014/main" xmlns="" id="{9834DC00-D6BA-4731-B4F8-EA8B4533E531}"/>
              </a:ext>
            </a:extLst>
          </p:cNvPr>
          <p:cNvCxnSpPr/>
          <p:nvPr/>
        </p:nvCxnSpPr>
        <p:spPr>
          <a:xfrm>
            <a:off x="4781550" y="1844675"/>
            <a:ext cx="38195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2" name="Textfeld 161">
            <a:extLst>
              <a:ext uri="{FF2B5EF4-FFF2-40B4-BE49-F238E27FC236}">
                <a16:creationId xmlns:a16="http://schemas.microsoft.com/office/drawing/2014/main" xmlns="" id="{4C025FF4-05D7-473B-946A-748BB5BC7BC5}"/>
              </a:ext>
            </a:extLst>
          </p:cNvPr>
          <p:cNvSpPr txBox="1"/>
          <p:nvPr/>
        </p:nvSpPr>
        <p:spPr>
          <a:xfrm>
            <a:off x="4681604" y="1574800"/>
            <a:ext cx="1577676" cy="600164"/>
          </a:xfrm>
          <a:prstGeom prst="rect">
            <a:avLst/>
          </a:prstGeom>
          <a:noFill/>
        </p:spPr>
        <p:txBody>
          <a:bodyPr wrap="none" rtlCol="0">
            <a:spAutoFit/>
          </a:bodyPr>
          <a:lstStyle/>
          <a:p>
            <a:pPr>
              <a:spcBef>
                <a:spcPts val="600"/>
              </a:spcBef>
            </a:pPr>
            <a:r>
              <a:rPr lang="de-DE" sz="1400" b="1" dirty="0"/>
              <a:t>Erlössimulation </a:t>
            </a:r>
          </a:p>
          <a:p>
            <a:pPr>
              <a:spcBef>
                <a:spcPts val="600"/>
              </a:spcBef>
            </a:pPr>
            <a:r>
              <a:rPr lang="de-DE" sz="1400" dirty="0"/>
              <a:t>in Mio. € p. a.</a:t>
            </a:r>
          </a:p>
        </p:txBody>
      </p:sp>
      <p:cxnSp>
        <p:nvCxnSpPr>
          <p:cNvPr id="163" name="Gerade Verbindung 93">
            <a:extLst>
              <a:ext uri="{FF2B5EF4-FFF2-40B4-BE49-F238E27FC236}">
                <a16:creationId xmlns:a16="http://schemas.microsoft.com/office/drawing/2014/main" xmlns="" id="{0EBA9FEA-3F49-495C-8B3E-4AEF096EBED2}"/>
              </a:ext>
            </a:extLst>
          </p:cNvPr>
          <p:cNvCxnSpPr/>
          <p:nvPr/>
        </p:nvCxnSpPr>
        <p:spPr>
          <a:xfrm>
            <a:off x="538161" y="1844675"/>
            <a:ext cx="380365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4" name="Textfeld 163">
            <a:extLst>
              <a:ext uri="{FF2B5EF4-FFF2-40B4-BE49-F238E27FC236}">
                <a16:creationId xmlns:a16="http://schemas.microsoft.com/office/drawing/2014/main" xmlns="" id="{CE69A33F-EDE6-4360-85BD-66C3A4C93DAF}"/>
              </a:ext>
            </a:extLst>
          </p:cNvPr>
          <p:cNvSpPr txBox="1"/>
          <p:nvPr/>
        </p:nvSpPr>
        <p:spPr>
          <a:xfrm>
            <a:off x="433636" y="1574800"/>
            <a:ext cx="2172390" cy="600164"/>
          </a:xfrm>
          <a:prstGeom prst="rect">
            <a:avLst/>
          </a:prstGeom>
          <a:noFill/>
        </p:spPr>
        <p:txBody>
          <a:bodyPr wrap="none" rtlCol="0">
            <a:spAutoFit/>
          </a:bodyPr>
          <a:lstStyle/>
          <a:p>
            <a:r>
              <a:rPr lang="de-DE" sz="1400" b="1" dirty="0"/>
              <a:t>Status quo Einnahmen </a:t>
            </a:r>
          </a:p>
          <a:p>
            <a:pPr>
              <a:spcBef>
                <a:spcPts val="600"/>
              </a:spcBef>
            </a:pPr>
            <a:r>
              <a:rPr lang="de-DE" sz="1400" dirty="0"/>
              <a:t>in €</a:t>
            </a:r>
          </a:p>
        </p:txBody>
      </p:sp>
      <p:sp>
        <p:nvSpPr>
          <p:cNvPr id="48" name="Textfeld 47">
            <a:extLst>
              <a:ext uri="{FF2B5EF4-FFF2-40B4-BE49-F238E27FC236}">
                <a16:creationId xmlns:a16="http://schemas.microsoft.com/office/drawing/2014/main" xmlns="" id="{C5D5BD34-C924-4C95-8FBC-666F9125DCCE}"/>
              </a:ext>
            </a:extLst>
          </p:cNvPr>
          <p:cNvSpPr txBox="1"/>
          <p:nvPr/>
        </p:nvSpPr>
        <p:spPr>
          <a:xfrm>
            <a:off x="446996" y="5857501"/>
            <a:ext cx="8164800" cy="246221"/>
          </a:xfrm>
          <a:prstGeom prst="rect">
            <a:avLst/>
          </a:prstGeom>
          <a:noFill/>
        </p:spPr>
        <p:txBody>
          <a:bodyPr wrap="square" rtlCol="0">
            <a:spAutoFit/>
          </a:bodyPr>
          <a:lstStyle/>
          <a:p>
            <a:pPr marL="0" lvl="1">
              <a:tabLst>
                <a:tab pos="180975" algn="l"/>
              </a:tabLst>
            </a:pPr>
            <a:r>
              <a:rPr lang="de-DE" sz="1000" dirty="0">
                <a:latin typeface="Arial" panose="020B0604020202020204" pitchFamily="34" charset="0"/>
                <a:cs typeface="Arial" panose="020B0604020202020204" pitchFamily="34" charset="0"/>
                <a:sym typeface="Arial" panose="020B0604020202020204" pitchFamily="34" charset="0"/>
              </a:rPr>
              <a:t>Quellen: eigene Erhebung; Destatis</a:t>
            </a:r>
          </a:p>
        </p:txBody>
      </p:sp>
      <p:cxnSp>
        <p:nvCxnSpPr>
          <p:cNvPr id="92" name="Gerade Verbindung 6">
            <a:extLst>
              <a:ext uri="{FF2B5EF4-FFF2-40B4-BE49-F238E27FC236}">
                <a16:creationId xmlns:a16="http://schemas.microsoft.com/office/drawing/2014/main" xmlns="" id="{D1066B51-3BB2-4AAF-B0C6-9D6715F431CE}"/>
              </a:ext>
            </a:extLst>
          </p:cNvPr>
          <p:cNvCxnSpPr/>
          <p:nvPr>
            <p:custDataLst>
              <p:tags r:id="rId53"/>
            </p:custDataLst>
          </p:nvPr>
        </p:nvCxnSpPr>
        <p:spPr>
          <a:xfrm>
            <a:off x="539552" y="5873169"/>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8216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6AFD5028-FC96-4704-9ABD-0D0CDF4DAB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2945" name="think-cell Folie" r:id="rId13" imgW="231" imgH="232" progId="TCLayout.ActiveDocument.1">
                  <p:embed/>
                </p:oleObj>
              </mc:Choice>
              <mc:Fallback>
                <p:oleObj name="think-cell Folie" r:id="rId13" imgW="231" imgH="232" progId="TCLayout.ActiveDocument.1">
                  <p:embed/>
                  <p:pic>
                    <p:nvPicPr>
                      <p:cNvPr id="7" name="Objekt 6" hidden="1">
                        <a:extLst>
                          <a:ext uri="{FF2B5EF4-FFF2-40B4-BE49-F238E27FC236}">
                            <a16:creationId xmlns:a16="http://schemas.microsoft.com/office/drawing/2014/main" xmlns="" id="{6AFD5028-FC96-4704-9ABD-0D0CDF4DAB9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xmlns="" id="{DFDA1F6F-7D99-498B-B8A6-6EA66C262007}"/>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xmlns="" id="{ADF57673-83C0-45C5-8554-AD18BC8D0716}"/>
              </a:ext>
            </a:extLst>
          </p:cNvPr>
          <p:cNvSpPr>
            <a:spLocks noGrp="1"/>
          </p:cNvSpPr>
          <p:nvPr>
            <p:ph type="title"/>
          </p:nvPr>
        </p:nvSpPr>
        <p:spPr/>
        <p:txBody>
          <a:bodyPr/>
          <a:lstStyle/>
          <a:p>
            <a:r>
              <a:rPr lang="de-DE" dirty="0"/>
              <a:t>Unser Leistungsangebot in der Beratung wird ergänzt durch Data Analytics und Change Management</a:t>
            </a:r>
          </a:p>
        </p:txBody>
      </p:sp>
      <p:sp>
        <p:nvSpPr>
          <p:cNvPr id="6" name="Inhaltsplatzhalter 5">
            <a:extLst>
              <a:ext uri="{FF2B5EF4-FFF2-40B4-BE49-F238E27FC236}">
                <a16:creationId xmlns:a16="http://schemas.microsoft.com/office/drawing/2014/main" xmlns="" id="{CA0EB5B9-7A5C-405C-96A4-50386EB6BE67}"/>
              </a:ext>
            </a:extLst>
          </p:cNvPr>
          <p:cNvSpPr>
            <a:spLocks noGrp="1"/>
          </p:cNvSpPr>
          <p:nvPr>
            <p:ph idx="1"/>
          </p:nvPr>
        </p:nvSpPr>
        <p:spPr/>
        <p:txBody>
          <a:bodyPr/>
          <a:lstStyle/>
          <a:p>
            <a:r>
              <a:rPr lang="de-DE" dirty="0"/>
              <a:t>Leistungsangebot</a:t>
            </a:r>
          </a:p>
          <a:p>
            <a:endParaRPr lang="de-DE" dirty="0"/>
          </a:p>
        </p:txBody>
      </p:sp>
      <p:sp>
        <p:nvSpPr>
          <p:cNvPr id="4" name="Foliennummernplatzhalter 3">
            <a:extLst>
              <a:ext uri="{FF2B5EF4-FFF2-40B4-BE49-F238E27FC236}">
                <a16:creationId xmlns:a16="http://schemas.microsoft.com/office/drawing/2014/main" xmlns="" id="{A61C850E-A483-407F-A9ED-F4438747E13A}"/>
              </a:ext>
            </a:extLst>
          </p:cNvPr>
          <p:cNvSpPr>
            <a:spLocks noGrp="1"/>
          </p:cNvSpPr>
          <p:nvPr>
            <p:ph type="sldNum" sz="quarter" idx="11"/>
          </p:nvPr>
        </p:nvSpPr>
        <p:spPr/>
        <p:txBody>
          <a:bodyPr/>
          <a:lstStyle/>
          <a:p>
            <a:fld id="{CD21EFEB-933F-4F46-A5AD-B6372944D9E5}" type="slidenum">
              <a:rPr lang="de-DE" smtClean="0"/>
              <a:pPr/>
              <a:t>4</a:t>
            </a:fld>
            <a:endParaRPr lang="de-DE" dirty="0"/>
          </a:p>
        </p:txBody>
      </p:sp>
      <p:grpSp>
        <p:nvGrpSpPr>
          <p:cNvPr id="22" name="Gruppieren 21">
            <a:extLst>
              <a:ext uri="{FF2B5EF4-FFF2-40B4-BE49-F238E27FC236}">
                <a16:creationId xmlns:a16="http://schemas.microsoft.com/office/drawing/2014/main" xmlns="" id="{5F45AAA5-A3FE-423D-8E83-9D6D90F78518}"/>
              </a:ext>
            </a:extLst>
          </p:cNvPr>
          <p:cNvGrpSpPr/>
          <p:nvPr/>
        </p:nvGrpSpPr>
        <p:grpSpPr>
          <a:xfrm>
            <a:off x="2805068" y="2362752"/>
            <a:ext cx="3567132" cy="3298496"/>
            <a:chOff x="1986986" y="1628800"/>
            <a:chExt cx="5177302" cy="4787406"/>
          </a:xfrm>
        </p:grpSpPr>
        <p:sp>
          <p:nvSpPr>
            <p:cNvPr id="23" name="Ellipse 22">
              <a:extLst>
                <a:ext uri="{FF2B5EF4-FFF2-40B4-BE49-F238E27FC236}">
                  <a16:creationId xmlns:a16="http://schemas.microsoft.com/office/drawing/2014/main" xmlns="" id="{D3DDEEE7-F9CE-4B13-A98B-E3479CB2BD2C}"/>
                </a:ext>
              </a:extLst>
            </p:cNvPr>
            <p:cNvSpPr/>
            <p:nvPr>
              <p:custDataLst>
                <p:tags r:id="rId4"/>
              </p:custDataLst>
            </p:nvPr>
          </p:nvSpPr>
          <p:spPr bwMode="auto">
            <a:xfrm>
              <a:off x="3048207" y="3361346"/>
              <a:ext cx="3054860" cy="3054860"/>
            </a:xfrm>
            <a:prstGeom prst="ellipse">
              <a:avLst/>
            </a:prstGeom>
            <a:solidFill>
              <a:schemeClr val="accent2"/>
            </a:solidFill>
            <a:ln w="9525" cap="flat" cmpd="sng" algn="ctr">
              <a:noFill/>
              <a:prstDash val="solid"/>
              <a:round/>
              <a:headEnd type="none" w="med" len="med"/>
              <a:tailEnd type="none" w="med" len="med"/>
            </a:ln>
            <a:effectLst/>
          </p:spPr>
          <p:txBody>
            <a:bodyPr vert="horz" wrap="square" lIns="72000" tIns="792000" rIns="72000" bIns="46800" numCol="1" rtlCol="0" anchor="ctr" anchorCtr="0" compatLnSpc="1">
              <a:prstTxWarp prst="textNoShape">
                <a:avLst/>
              </a:prstTxWarp>
            </a:bodyPr>
            <a:lstStyle/>
            <a:p>
              <a:pPr algn="ctr" fontAlgn="base">
                <a:lnSpc>
                  <a:spcPct val="90000"/>
                </a:lnSpc>
                <a:spcBef>
                  <a:spcPct val="0"/>
                </a:spcBef>
                <a:spcAft>
                  <a:spcPct val="0"/>
                </a:spcAft>
              </a:pPr>
              <a:r>
                <a:rPr lang="de-DE" sz="1400" b="1" dirty="0"/>
                <a:t>Change</a:t>
              </a:r>
              <a:br>
                <a:rPr lang="de-DE" sz="1400" b="1" dirty="0"/>
              </a:br>
              <a:r>
                <a:rPr lang="de-DE" sz="1400" b="1" dirty="0"/>
                <a:t>Management</a:t>
              </a:r>
            </a:p>
            <a:p>
              <a:pPr algn="ctr" fontAlgn="base">
                <a:lnSpc>
                  <a:spcPct val="90000"/>
                </a:lnSpc>
                <a:spcBef>
                  <a:spcPct val="0"/>
                </a:spcBef>
                <a:spcAft>
                  <a:spcPct val="0"/>
                </a:spcAft>
              </a:pPr>
              <a:endParaRPr lang="de-DE" sz="1400" b="1" dirty="0"/>
            </a:p>
          </p:txBody>
        </p:sp>
        <p:sp>
          <p:nvSpPr>
            <p:cNvPr id="24" name="Ellipse 23">
              <a:extLst>
                <a:ext uri="{FF2B5EF4-FFF2-40B4-BE49-F238E27FC236}">
                  <a16:creationId xmlns:a16="http://schemas.microsoft.com/office/drawing/2014/main" xmlns="" id="{CCF88C88-91B0-4B49-A874-CA2C881C4C0F}"/>
                </a:ext>
              </a:extLst>
            </p:cNvPr>
            <p:cNvSpPr/>
            <p:nvPr>
              <p:custDataLst>
                <p:tags r:id="rId5"/>
              </p:custDataLst>
            </p:nvPr>
          </p:nvSpPr>
          <p:spPr bwMode="auto">
            <a:xfrm>
              <a:off x="4109428" y="1648502"/>
              <a:ext cx="3054860" cy="3054860"/>
            </a:xfrm>
            <a:prstGeom prst="ellipse">
              <a:avLst/>
            </a:prstGeom>
            <a:solidFill>
              <a:schemeClr val="accent5"/>
            </a:solidFill>
            <a:ln w="9525" cap="flat" cmpd="sng" algn="ctr">
              <a:noFill/>
              <a:prstDash val="solid"/>
              <a:round/>
              <a:headEnd type="none" w="med" len="med"/>
              <a:tailEnd type="none" w="med" len="med"/>
            </a:ln>
            <a:effectLst/>
          </p:spPr>
          <p:txBody>
            <a:bodyPr vert="horz" wrap="square" lIns="432000" tIns="46800" rIns="0" bIns="360000" numCol="1" rtlCol="0" anchor="ctr" anchorCtr="0" compatLnSpc="1">
              <a:prstTxWarp prst="textNoShape">
                <a:avLst/>
              </a:prstTxWarp>
            </a:bodyPr>
            <a:lstStyle/>
            <a:p>
              <a:pPr algn="ctr" fontAlgn="base">
                <a:lnSpc>
                  <a:spcPct val="90000"/>
                </a:lnSpc>
                <a:spcBef>
                  <a:spcPct val="0"/>
                </a:spcBef>
                <a:spcAft>
                  <a:spcPct val="0"/>
                </a:spcAft>
              </a:pPr>
              <a:r>
                <a:rPr lang="de-DE" sz="1400" b="1" dirty="0"/>
                <a:t>Data</a:t>
              </a:r>
              <a:br>
                <a:rPr lang="de-DE" sz="1400" b="1" dirty="0"/>
              </a:br>
              <a:r>
                <a:rPr lang="de-DE" sz="1400" b="1" dirty="0"/>
                <a:t>Analytics</a:t>
              </a:r>
            </a:p>
          </p:txBody>
        </p:sp>
        <p:sp>
          <p:nvSpPr>
            <p:cNvPr id="25" name="Ellipse 24">
              <a:extLst>
                <a:ext uri="{FF2B5EF4-FFF2-40B4-BE49-F238E27FC236}">
                  <a16:creationId xmlns:a16="http://schemas.microsoft.com/office/drawing/2014/main" xmlns="" id="{85056334-13C1-4E8F-BEE2-FAD202DCF136}"/>
                </a:ext>
              </a:extLst>
            </p:cNvPr>
            <p:cNvSpPr/>
            <p:nvPr>
              <p:custDataLst>
                <p:tags r:id="rId6"/>
              </p:custDataLst>
            </p:nvPr>
          </p:nvSpPr>
          <p:spPr bwMode="auto">
            <a:xfrm>
              <a:off x="1986986" y="1628800"/>
              <a:ext cx="3054860" cy="305486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0" tIns="46800" rIns="432000" bIns="360000" numCol="1" rtlCol="0" anchor="ctr" anchorCtr="0" compatLnSpc="1">
              <a:prstTxWarp prst="textNoShape">
                <a:avLst/>
              </a:prstTxWarp>
            </a:bodyPr>
            <a:lstStyle/>
            <a:p>
              <a:pPr algn="ctr" fontAlgn="base">
                <a:lnSpc>
                  <a:spcPct val="90000"/>
                </a:lnSpc>
                <a:spcBef>
                  <a:spcPct val="0"/>
                </a:spcBef>
                <a:spcAft>
                  <a:spcPct val="0"/>
                </a:spcAft>
              </a:pPr>
              <a:r>
                <a:rPr lang="de-DE" sz="1400" b="1" dirty="0">
                  <a:solidFill>
                    <a:schemeClr val="bg1"/>
                  </a:solidFill>
                </a:rPr>
                <a:t>Beratung</a:t>
              </a:r>
            </a:p>
          </p:txBody>
        </p:sp>
        <p:sp>
          <p:nvSpPr>
            <p:cNvPr id="26" name="Ellipse 6">
              <a:extLst>
                <a:ext uri="{FF2B5EF4-FFF2-40B4-BE49-F238E27FC236}">
                  <a16:creationId xmlns:a16="http://schemas.microsoft.com/office/drawing/2014/main" xmlns="" id="{024D8FF9-49A8-48FB-A929-A334C7C52F29}"/>
                </a:ext>
              </a:extLst>
            </p:cNvPr>
            <p:cNvSpPr/>
            <p:nvPr>
              <p:custDataLst>
                <p:tags r:id="rId7"/>
              </p:custDataLst>
            </p:nvPr>
          </p:nvSpPr>
          <p:spPr bwMode="auto">
            <a:xfrm>
              <a:off x="4109428" y="2068908"/>
              <a:ext cx="932418" cy="2194349"/>
            </a:xfrm>
            <a:custGeom>
              <a:avLst/>
              <a:gdLst/>
              <a:ahLst/>
              <a:cxnLst/>
              <a:rect l="l" t="t" r="r" b="b"/>
              <a:pathLst>
                <a:path w="932418" h="2194349">
                  <a:moveTo>
                    <a:pt x="477048" y="0"/>
                  </a:moveTo>
                  <a:cubicBezTo>
                    <a:pt x="758292" y="276650"/>
                    <a:pt x="932418" y="661652"/>
                    <a:pt x="932418" y="1087323"/>
                  </a:cubicBezTo>
                  <a:cubicBezTo>
                    <a:pt x="932418" y="1523531"/>
                    <a:pt x="749565" y="1917032"/>
                    <a:pt x="455370" y="2194349"/>
                  </a:cubicBezTo>
                  <a:cubicBezTo>
                    <a:pt x="174126" y="1917698"/>
                    <a:pt x="0" y="1532696"/>
                    <a:pt x="0" y="1107025"/>
                  </a:cubicBezTo>
                  <a:cubicBezTo>
                    <a:pt x="0" y="670817"/>
                    <a:pt x="182853" y="277316"/>
                    <a:pt x="477048" y="0"/>
                  </a:cubicBezTo>
                  <a:close/>
                </a:path>
              </a:pathLst>
            </a:cu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72000" tIns="46800" rIns="72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tx1"/>
                </a:solidFill>
                <a:effectLst/>
                <a:latin typeface="+mn-lt"/>
              </a:endParaRPr>
            </a:p>
          </p:txBody>
        </p:sp>
        <p:sp>
          <p:nvSpPr>
            <p:cNvPr id="27" name="Ellipse 6">
              <a:extLst>
                <a:ext uri="{FF2B5EF4-FFF2-40B4-BE49-F238E27FC236}">
                  <a16:creationId xmlns:a16="http://schemas.microsoft.com/office/drawing/2014/main" xmlns="" id="{97D9F9DD-3D1E-4055-BAA9-2CEA22E4AE42}"/>
                </a:ext>
              </a:extLst>
            </p:cNvPr>
            <p:cNvSpPr/>
            <p:nvPr>
              <p:custDataLst>
                <p:tags r:id="rId8"/>
              </p:custDataLst>
            </p:nvPr>
          </p:nvSpPr>
          <p:spPr bwMode="auto">
            <a:xfrm>
              <a:off x="3073521" y="3361346"/>
              <a:ext cx="1943012" cy="1322314"/>
            </a:xfrm>
            <a:custGeom>
              <a:avLst/>
              <a:gdLst/>
              <a:ahLst/>
              <a:cxnLst/>
              <a:rect l="l" t="t" r="r" b="b"/>
              <a:pathLst>
                <a:path w="1943012" h="1322314">
                  <a:moveTo>
                    <a:pt x="1502116" y="0"/>
                  </a:moveTo>
                  <a:cubicBezTo>
                    <a:pt x="1655469" y="0"/>
                    <a:pt x="1803544" y="22600"/>
                    <a:pt x="1943012" y="65247"/>
                  </a:cubicBezTo>
                  <a:cubicBezTo>
                    <a:pt x="1816684" y="779991"/>
                    <a:pt x="1192123" y="1322314"/>
                    <a:pt x="440895" y="1322314"/>
                  </a:cubicBezTo>
                  <a:cubicBezTo>
                    <a:pt x="287542" y="1322314"/>
                    <a:pt x="139468" y="1299715"/>
                    <a:pt x="0" y="1257068"/>
                  </a:cubicBezTo>
                  <a:cubicBezTo>
                    <a:pt x="126327" y="542323"/>
                    <a:pt x="750889" y="0"/>
                    <a:pt x="1502116" y="0"/>
                  </a:cubicBezTo>
                  <a:close/>
                </a:path>
              </a:pathLst>
            </a:cu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72000" tIns="46800" rIns="36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tx1"/>
                </a:solidFill>
                <a:effectLst/>
                <a:latin typeface="+mn-lt"/>
              </a:endParaRPr>
            </a:p>
          </p:txBody>
        </p:sp>
        <p:sp>
          <p:nvSpPr>
            <p:cNvPr id="28" name="Ellipse 8">
              <a:extLst>
                <a:ext uri="{FF2B5EF4-FFF2-40B4-BE49-F238E27FC236}">
                  <a16:creationId xmlns:a16="http://schemas.microsoft.com/office/drawing/2014/main" xmlns="" id="{7EE265E1-EF0F-40B1-90C0-009CDB7326E8}"/>
                </a:ext>
              </a:extLst>
            </p:cNvPr>
            <p:cNvSpPr/>
            <p:nvPr>
              <p:custDataLst>
                <p:tags r:id="rId9"/>
              </p:custDataLst>
            </p:nvPr>
          </p:nvSpPr>
          <p:spPr bwMode="auto">
            <a:xfrm>
              <a:off x="4131849" y="3361346"/>
              <a:ext cx="1948799" cy="1342016"/>
            </a:xfrm>
            <a:custGeom>
              <a:avLst/>
              <a:gdLst/>
              <a:ahLst/>
              <a:cxnLst/>
              <a:rect l="l" t="t" r="r" b="b"/>
              <a:pathLst>
                <a:path w="1948799" h="1342016">
                  <a:moveTo>
                    <a:pt x="443789" y="0"/>
                  </a:moveTo>
                  <a:cubicBezTo>
                    <a:pt x="1201632" y="0"/>
                    <a:pt x="1830569" y="551917"/>
                    <a:pt x="1948799" y="1276026"/>
                  </a:cubicBezTo>
                  <a:cubicBezTo>
                    <a:pt x="1808459" y="1319107"/>
                    <a:pt x="1659410" y="1342016"/>
                    <a:pt x="1505010" y="1342016"/>
                  </a:cubicBezTo>
                  <a:cubicBezTo>
                    <a:pt x="747167" y="1342016"/>
                    <a:pt x="118231" y="790100"/>
                    <a:pt x="0" y="65991"/>
                  </a:cubicBezTo>
                  <a:cubicBezTo>
                    <a:pt x="140340" y="22909"/>
                    <a:pt x="289389" y="0"/>
                    <a:pt x="443789" y="0"/>
                  </a:cubicBezTo>
                  <a:close/>
                </a:path>
              </a:pathLst>
            </a:cu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360000" tIns="46800" rIns="72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sz="1400" b="0" i="0" u="none" strike="noStrike" cap="none" normalizeH="0" baseline="0" dirty="0">
                  <a:ln>
                    <a:noFill/>
                  </a:ln>
                  <a:solidFill>
                    <a:schemeClr val="tx1"/>
                  </a:solidFill>
                  <a:effectLst/>
                  <a:latin typeface="+mn-lt"/>
                </a:rPr>
                <a:t> </a:t>
              </a:r>
            </a:p>
          </p:txBody>
        </p:sp>
        <p:sp>
          <p:nvSpPr>
            <p:cNvPr id="29" name="Ellipse 4">
              <a:extLst>
                <a:ext uri="{FF2B5EF4-FFF2-40B4-BE49-F238E27FC236}">
                  <a16:creationId xmlns:a16="http://schemas.microsoft.com/office/drawing/2014/main" xmlns="" id="{51AE6C7E-588A-4BC9-95EB-2E20E0512729}"/>
                </a:ext>
              </a:extLst>
            </p:cNvPr>
            <p:cNvSpPr/>
            <p:nvPr>
              <p:custDataLst>
                <p:tags r:id="rId10"/>
              </p:custDataLst>
            </p:nvPr>
          </p:nvSpPr>
          <p:spPr bwMode="auto">
            <a:xfrm>
              <a:off x="4131848" y="3361346"/>
              <a:ext cx="884612" cy="901514"/>
            </a:xfrm>
            <a:custGeom>
              <a:avLst/>
              <a:gdLst/>
              <a:ahLst/>
              <a:cxnLst/>
              <a:rect l="l" t="t" r="r" b="b"/>
              <a:pathLst>
                <a:path w="884612" h="901514">
                  <a:moveTo>
                    <a:pt x="443789" y="0"/>
                  </a:moveTo>
                  <a:cubicBezTo>
                    <a:pt x="597171" y="0"/>
                    <a:pt x="745272" y="22608"/>
                    <a:pt x="884612" y="65721"/>
                  </a:cubicBezTo>
                  <a:cubicBezTo>
                    <a:pt x="827508" y="392623"/>
                    <a:pt x="665153" y="683264"/>
                    <a:pt x="433385" y="901514"/>
                  </a:cubicBezTo>
                  <a:cubicBezTo>
                    <a:pt x="208776" y="680867"/>
                    <a:pt x="53026" y="390747"/>
                    <a:pt x="0" y="65991"/>
                  </a:cubicBezTo>
                  <a:cubicBezTo>
                    <a:pt x="140340" y="22909"/>
                    <a:pt x="289389" y="0"/>
                    <a:pt x="443789" y="0"/>
                  </a:cubicBezTo>
                  <a:close/>
                </a:path>
              </a:pathLst>
            </a:custGeom>
            <a:solidFill>
              <a:schemeClr val="bg1"/>
            </a:solidFill>
            <a:ln w="9525" cap="flat" cmpd="sng" algn="ctr">
              <a:noFill/>
              <a:prstDash val="solid"/>
              <a:round/>
              <a:headEnd type="none" w="med" len="med"/>
              <a:tailEnd type="none" w="med" len="med"/>
            </a:ln>
            <a:effectLst/>
          </p:spPr>
          <p:txBody>
            <a:bodyPr vert="horz" wrap="square" lIns="72000" tIns="0" rIns="72000" bIns="1800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tx1"/>
                </a:solidFill>
                <a:effectLst/>
                <a:latin typeface="+mn-lt"/>
              </a:endParaRPr>
            </a:p>
          </p:txBody>
        </p:sp>
      </p:grpSp>
      <p:sp>
        <p:nvSpPr>
          <p:cNvPr id="18" name="Rectangle 10">
            <a:extLst>
              <a:ext uri="{FF2B5EF4-FFF2-40B4-BE49-F238E27FC236}">
                <a16:creationId xmlns:a16="http://schemas.microsoft.com/office/drawing/2014/main" xmlns="" id="{610D9525-5781-46E3-ADB1-008866E0EFAD}"/>
              </a:ext>
            </a:extLst>
          </p:cNvPr>
          <p:cNvSpPr>
            <a:spLocks noChangeArrowheads="1"/>
          </p:cNvSpPr>
          <p:nvPr/>
        </p:nvSpPr>
        <p:spPr bwMode="auto">
          <a:xfrm>
            <a:off x="463777" y="1628775"/>
            <a:ext cx="2903639" cy="1486561"/>
          </a:xfrm>
          <a:prstGeom prst="rect">
            <a:avLst/>
          </a:prstGeom>
          <a:noFill/>
          <a:ln>
            <a:noFill/>
          </a:ln>
          <a:effectLst/>
          <a:extLst>
            <a:ext uri="{909E8E84-426E-40dd-AFC4-6F175D3DCCD1}">
              <a14:hiddenFill xmlns:a14="http://schemas.microsoft.com/office/drawing/2010/main">
                <a:solidFill>
                  <a:srgbClr val="6C6C6C"/>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spAutoFit/>
          </a:bodyPr>
          <a:lstStyle/>
          <a:p>
            <a:pPr marL="180000" lvl="1" indent="-180000">
              <a:lnSpc>
                <a:spcPct val="90000"/>
              </a:lnSpc>
              <a:spcBef>
                <a:spcPts val="600"/>
              </a:spcBef>
              <a:buFont typeface="Arial" pitchFamily="34" charset="0"/>
              <a:buChar char="•"/>
            </a:pPr>
            <a:r>
              <a:rPr lang="de-DE" sz="1400" dirty="0"/>
              <a:t>Strategie, Steuerung &amp; Organisation</a:t>
            </a:r>
          </a:p>
          <a:p>
            <a:pPr marL="180000" lvl="1" indent="-180000">
              <a:lnSpc>
                <a:spcPct val="90000"/>
              </a:lnSpc>
              <a:spcBef>
                <a:spcPts val="600"/>
              </a:spcBef>
              <a:buFont typeface="Arial" pitchFamily="34" charset="0"/>
              <a:buChar char="•"/>
            </a:pPr>
            <a:r>
              <a:rPr lang="de-DE" sz="1400" dirty="0"/>
              <a:t>Finanzierung &amp; Controlling</a:t>
            </a:r>
          </a:p>
          <a:p>
            <a:pPr marL="180000" lvl="1" indent="-180000">
              <a:lnSpc>
                <a:spcPct val="90000"/>
              </a:lnSpc>
              <a:spcBef>
                <a:spcPts val="600"/>
              </a:spcBef>
              <a:buFont typeface="Arial" pitchFamily="34" charset="0"/>
              <a:buChar char="•"/>
            </a:pPr>
            <a:r>
              <a:rPr lang="de-DE" sz="1400" dirty="0"/>
              <a:t>Marketing &amp; Vertrieb, </a:t>
            </a:r>
            <a:br>
              <a:rPr lang="de-DE" sz="1400" dirty="0"/>
            </a:br>
            <a:r>
              <a:rPr lang="de-DE" sz="1400" dirty="0"/>
              <a:t>Tarife &amp; Gebühren</a:t>
            </a:r>
          </a:p>
          <a:p>
            <a:pPr marL="180000" lvl="1" indent="-180000">
              <a:lnSpc>
                <a:spcPct val="90000"/>
              </a:lnSpc>
              <a:spcBef>
                <a:spcPts val="600"/>
              </a:spcBef>
              <a:buFont typeface="Arial" pitchFamily="34" charset="0"/>
              <a:buChar char="•"/>
            </a:pPr>
            <a:r>
              <a:rPr lang="de-DE" sz="1400" dirty="0"/>
              <a:t>Infrastruktur &amp; Betrieb</a:t>
            </a:r>
          </a:p>
        </p:txBody>
      </p:sp>
      <p:sp>
        <p:nvSpPr>
          <p:cNvPr id="16" name="Rectangle 11">
            <a:extLst>
              <a:ext uri="{FF2B5EF4-FFF2-40B4-BE49-F238E27FC236}">
                <a16:creationId xmlns:a16="http://schemas.microsoft.com/office/drawing/2014/main" xmlns="" id="{3258CC06-0D60-47DB-ADA0-81959069FF78}"/>
              </a:ext>
            </a:extLst>
          </p:cNvPr>
          <p:cNvSpPr>
            <a:spLocks noChangeArrowheads="1"/>
          </p:cNvSpPr>
          <p:nvPr/>
        </p:nvSpPr>
        <p:spPr bwMode="auto">
          <a:xfrm>
            <a:off x="6228184" y="1628775"/>
            <a:ext cx="2664098" cy="1215717"/>
          </a:xfrm>
          <a:prstGeom prst="rect">
            <a:avLst/>
          </a:prstGeom>
          <a:noFill/>
          <a:ln>
            <a:noFill/>
          </a:ln>
          <a:effectLst/>
          <a:extLst>
            <a:ext uri="{909E8E84-426E-40dd-AFC4-6F175D3DCCD1}">
              <a14:hiddenFill xmlns:a14="http://schemas.microsoft.com/office/drawing/2010/main">
                <a:solidFill>
                  <a:srgbClr val="6C6C6C"/>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spAutoFit/>
          </a:bodyPr>
          <a:lstStyle/>
          <a:p>
            <a:pPr marL="180000" lvl="1" indent="-180000">
              <a:lnSpc>
                <a:spcPct val="90000"/>
              </a:lnSpc>
              <a:spcBef>
                <a:spcPts val="600"/>
              </a:spcBef>
              <a:buFont typeface="Arial" pitchFamily="34" charset="0"/>
              <a:buChar char="•"/>
            </a:pPr>
            <a:r>
              <a:rPr lang="de-DE" sz="1400" dirty="0"/>
              <a:t>Mit klassischen und innovativen Methoden</a:t>
            </a:r>
          </a:p>
          <a:p>
            <a:pPr marL="180000" lvl="1" indent="-180000">
              <a:lnSpc>
                <a:spcPct val="90000"/>
              </a:lnSpc>
              <a:spcBef>
                <a:spcPts val="600"/>
              </a:spcBef>
              <a:buFont typeface="Arial" pitchFamily="34" charset="0"/>
              <a:buChar char="•"/>
            </a:pPr>
            <a:r>
              <a:rPr lang="de-DE" sz="1400" dirty="0"/>
              <a:t>Quantitativ und qualitativ</a:t>
            </a:r>
          </a:p>
          <a:p>
            <a:pPr marL="180000" lvl="1" indent="-180000">
              <a:lnSpc>
                <a:spcPct val="90000"/>
              </a:lnSpc>
              <a:spcBef>
                <a:spcPts val="600"/>
              </a:spcBef>
              <a:buFont typeface="Arial" pitchFamily="34" charset="0"/>
              <a:buChar char="•"/>
            </a:pPr>
            <a:r>
              <a:rPr lang="de-DE" sz="1400" dirty="0"/>
              <a:t>Mit Fokus auf Kunden-bedürfnisse</a:t>
            </a:r>
          </a:p>
        </p:txBody>
      </p:sp>
      <p:sp>
        <p:nvSpPr>
          <p:cNvPr id="17" name="Rectangle 12">
            <a:extLst>
              <a:ext uri="{FF2B5EF4-FFF2-40B4-BE49-F238E27FC236}">
                <a16:creationId xmlns:a16="http://schemas.microsoft.com/office/drawing/2014/main" xmlns="" id="{C560BE46-FAF1-4251-AFCF-BC92CB211318}"/>
              </a:ext>
            </a:extLst>
          </p:cNvPr>
          <p:cNvSpPr>
            <a:spLocks noChangeArrowheads="1"/>
          </p:cNvSpPr>
          <p:nvPr/>
        </p:nvSpPr>
        <p:spPr bwMode="auto">
          <a:xfrm>
            <a:off x="5580113" y="4730198"/>
            <a:ext cx="3096344" cy="1138773"/>
          </a:xfrm>
          <a:prstGeom prst="rect">
            <a:avLst/>
          </a:prstGeom>
          <a:noFill/>
          <a:ln>
            <a:noFill/>
          </a:ln>
          <a:effectLst/>
          <a:extLst>
            <a:ext uri="{909E8E84-426E-40dd-AFC4-6F175D3DCCD1}">
              <a14:hiddenFill xmlns:a14="http://schemas.microsoft.com/office/drawing/2010/main">
                <a:solidFill>
                  <a:srgbClr val="6C6C6C"/>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spAutoFit/>
          </a:bodyPr>
          <a:lstStyle/>
          <a:p>
            <a:pPr marL="180000" lvl="1" indent="-180000">
              <a:lnSpc>
                <a:spcPct val="90000"/>
              </a:lnSpc>
              <a:spcBef>
                <a:spcPts val="600"/>
              </a:spcBef>
              <a:buFont typeface="Arial" pitchFamily="34" charset="0"/>
              <a:buChar char="•"/>
            </a:pPr>
            <a:r>
              <a:rPr lang="de-DE" sz="1400" dirty="0"/>
              <a:t>Kompetenzen in Organisations- und Teamentwicklung über Moderation und Coaching bis Kommunikation und Steuerung</a:t>
            </a:r>
          </a:p>
          <a:p>
            <a:pPr marL="180000" lvl="1" indent="-180000">
              <a:lnSpc>
                <a:spcPct val="90000"/>
              </a:lnSpc>
              <a:spcBef>
                <a:spcPts val="600"/>
              </a:spcBef>
              <a:buFont typeface="Arial" pitchFamily="34" charset="0"/>
              <a:buChar char="•"/>
            </a:pPr>
            <a:r>
              <a:rPr lang="de-DE" sz="1400" dirty="0"/>
              <a:t>Mit Wertschätzung und Respekt</a:t>
            </a:r>
          </a:p>
        </p:txBody>
      </p:sp>
      <p:cxnSp>
        <p:nvCxnSpPr>
          <p:cNvPr id="30" name="Gerader Verbinder 29">
            <a:extLst>
              <a:ext uri="{FF2B5EF4-FFF2-40B4-BE49-F238E27FC236}">
                <a16:creationId xmlns:a16="http://schemas.microsoft.com/office/drawing/2014/main" xmlns="" id="{E6905BC1-25A8-4681-B3B8-6617E5DD0421}"/>
              </a:ext>
            </a:extLst>
          </p:cNvPr>
          <p:cNvCxnSpPr>
            <a:cxnSpLocks/>
            <a:stCxn id="16" idx="2"/>
            <a:endCxn id="24" idx="6"/>
          </p:cNvCxnSpPr>
          <p:nvPr/>
        </p:nvCxnSpPr>
        <p:spPr>
          <a:xfrm flipH="1">
            <a:off x="6372200" y="2844492"/>
            <a:ext cx="1188033" cy="584226"/>
          </a:xfrm>
          <a:prstGeom prst="line">
            <a:avLst/>
          </a:prstGeom>
          <a:ln>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xmlns="" id="{EBC22C81-384F-4291-921D-046C351A0678}"/>
              </a:ext>
            </a:extLst>
          </p:cNvPr>
          <p:cNvCxnSpPr>
            <a:cxnSpLocks/>
            <a:stCxn id="18" idx="2"/>
            <a:endCxn id="25" idx="2"/>
          </p:cNvCxnSpPr>
          <p:nvPr/>
        </p:nvCxnSpPr>
        <p:spPr>
          <a:xfrm>
            <a:off x="1915597" y="3115336"/>
            <a:ext cx="889471" cy="299807"/>
          </a:xfrm>
          <a:prstGeom prst="line">
            <a:avLst/>
          </a:prstGeom>
          <a:ln>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xmlns="" id="{A03EE371-F0A6-497D-80AF-8A6931EA9B23}"/>
              </a:ext>
            </a:extLst>
          </p:cNvPr>
          <p:cNvCxnSpPr>
            <a:cxnSpLocks/>
            <a:stCxn id="23" idx="5"/>
            <a:endCxn id="17" idx="1"/>
          </p:cNvCxnSpPr>
          <p:nvPr/>
        </p:nvCxnSpPr>
        <p:spPr>
          <a:xfrm flipV="1">
            <a:off x="5332786" y="5299585"/>
            <a:ext cx="247327" cy="53425"/>
          </a:xfrm>
          <a:prstGeom prst="line">
            <a:avLst/>
          </a:prstGeom>
          <a:ln>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xmlns="" id="{5867D204-BE3D-4095-8D51-A9CF67AC8876}"/>
              </a:ext>
            </a:extLst>
          </p:cNvPr>
          <p:cNvSpPr txBox="1"/>
          <p:nvPr/>
        </p:nvSpPr>
        <p:spPr>
          <a:xfrm>
            <a:off x="-3276872" y="1628800"/>
            <a:ext cx="2376264" cy="3539430"/>
          </a:xfrm>
          <a:prstGeom prst="rect">
            <a:avLst/>
          </a:prstGeom>
          <a:solidFill>
            <a:srgbClr val="92D050"/>
          </a:solidFill>
        </p:spPr>
        <p:txBody>
          <a:bodyPr wrap="square" rtlCol="0">
            <a:spAutoFit/>
          </a:bodyPr>
          <a:lstStyle/>
          <a:p>
            <a:r>
              <a:rPr lang="de-DE" sz="1600" dirty="0"/>
              <a:t>Projekte sind strategisch aber konkret genug, um den Erfolg messen zu können. Wir bieten daher auch neben dem klassischen Portfolio einer Strategieberatung, Umsetzungsberatung, und neueste Techniken in der Datenanalyse an (Generierung, Visualisierung, Erzeugung)</a:t>
            </a:r>
          </a:p>
        </p:txBody>
      </p:sp>
    </p:spTree>
    <p:extLst>
      <p:ext uri="{BB962C8B-B14F-4D97-AF65-F5344CB8AC3E}">
        <p14:creationId xmlns:p14="http://schemas.microsoft.com/office/powerpoint/2010/main" val="3147291018"/>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9313" name="think-cell Folie" r:id="rId48" imgW="270" imgH="270" progId="TCLayout.ActiveDocument.1">
                  <p:embed/>
                </p:oleObj>
              </mc:Choice>
              <mc:Fallback>
                <p:oleObj name="think-cell Folie" r:id="rId48" imgW="270" imgH="270" progId="TCLayout.ActiveDocument.1">
                  <p:embed/>
                  <p:pic>
                    <p:nvPicPr>
                      <p:cNvPr id="6" name="Objekt 5"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1400" b="1" dirty="0">
              <a:solidFill>
                <a:schemeClr val="tx1"/>
              </a:solidFill>
              <a:latin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xmlns="" id="{FD18AB81-62FB-4C8D-8B5E-A4ED27A98461}"/>
              </a:ext>
            </a:extLst>
          </p:cNvPr>
          <p:cNvSpPr>
            <a:spLocks noGrp="1"/>
          </p:cNvSpPr>
          <p:nvPr>
            <p:ph type="title"/>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Im Zuge der Tarifreform in Wien im Jahr 2012 wurde die Parkraumbewirtschaftung deutlich intensiviert</a:t>
            </a:r>
          </a:p>
        </p:txBody>
      </p:sp>
      <p:sp>
        <p:nvSpPr>
          <p:cNvPr id="3" name="Inhaltsplatzhalter 2">
            <a:extLst>
              <a:ext uri="{FF2B5EF4-FFF2-40B4-BE49-F238E27FC236}">
                <a16:creationId xmlns:a16="http://schemas.microsoft.com/office/drawing/2014/main" xmlns="" id="{A9C37537-2B9C-45AD-B573-E53FF097A288}"/>
              </a:ext>
            </a:extLst>
          </p:cNvPr>
          <p:cNvSpPr>
            <a:spLocks noGrp="1"/>
          </p:cNvSpPr>
          <p:nvPr>
            <p:ph idx="1"/>
          </p:nvPr>
        </p:nvSpPr>
        <p:spPr>
          <a:xfrm>
            <a:off x="451758" y="1083558"/>
            <a:ext cx="6635010" cy="292316"/>
          </a:xfrm>
        </p:spPr>
        <p:txBody>
          <a:bodyPr/>
          <a:lstStyle/>
          <a:p>
            <a:r>
              <a:rPr lang="de-DE" dirty="0">
                <a:latin typeface="Arial" panose="020B0604020202020204" pitchFamily="34" charset="0"/>
                <a:cs typeface="Arial" panose="020B0604020202020204" pitchFamily="34" charset="0"/>
                <a:sym typeface="Arial" panose="020B0604020202020204" pitchFamily="34" charset="0"/>
              </a:rPr>
              <a:t>Projektbeispiel Wien: Parkraumbewirtschaftung</a:t>
            </a:r>
            <a:endParaRPr lang="de-DE" dirty="0"/>
          </a:p>
        </p:txBody>
      </p:sp>
      <p:sp>
        <p:nvSpPr>
          <p:cNvPr id="4" name="Foliennummernplatzhalter 3">
            <a:extLst>
              <a:ext uri="{FF2B5EF4-FFF2-40B4-BE49-F238E27FC236}">
                <a16:creationId xmlns:a16="http://schemas.microsoft.com/office/drawing/2014/main" xmlns="" id="{B7EF17C9-3399-4461-A2FC-C726A1BD7D85}"/>
              </a:ext>
            </a:extLst>
          </p:cNvPr>
          <p:cNvSpPr>
            <a:spLocks noGrp="1"/>
          </p:cNvSpPr>
          <p:nvPr>
            <p:ph type="sldNum" sz="quarter" idx="11"/>
          </p:nvPr>
        </p:nvSpPr>
        <p:spPr/>
        <p:txBody>
          <a:bodyPr/>
          <a:lstStyle/>
          <a:p>
            <a:fld id="{CD21EFEB-933F-4F46-A5AD-B6372944D9E5}" type="slidenum">
              <a:rPr lang="de-DE" smtClean="0"/>
              <a:pPr/>
              <a:t>40</a:t>
            </a:fld>
            <a:endParaRPr lang="de-DE" dirty="0"/>
          </a:p>
        </p:txBody>
      </p:sp>
      <p:sp>
        <p:nvSpPr>
          <p:cNvPr id="9" name="Rechteck 8">
            <a:extLst>
              <a:ext uri="{FF2B5EF4-FFF2-40B4-BE49-F238E27FC236}">
                <a16:creationId xmlns:a16="http://schemas.microsoft.com/office/drawing/2014/main" xmlns="" id="{5DEC85F3-3AD0-41A3-927F-ADF5B3361CD7}"/>
              </a:ext>
            </a:extLst>
          </p:cNvPr>
          <p:cNvSpPr/>
          <p:nvPr/>
        </p:nvSpPr>
        <p:spPr>
          <a:xfrm>
            <a:off x="444500" y="1738909"/>
            <a:ext cx="4847580"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de-DE" sz="1400" b="1" dirty="0">
                <a:solidFill>
                  <a:schemeClr val="tx1"/>
                </a:solidFill>
              </a:rPr>
              <a:t>Bewirtschaftete Stellplätze</a:t>
            </a:r>
            <a:endParaRPr lang="de-DE" sz="1400" dirty="0">
              <a:solidFill>
                <a:schemeClr val="tx1"/>
              </a:solidFill>
            </a:endParaRPr>
          </a:p>
        </p:txBody>
      </p:sp>
      <p:graphicFrame>
        <p:nvGraphicFramePr>
          <p:cNvPr id="71" name="Chart 3">
            <a:extLst>
              <a:ext uri="{FF2B5EF4-FFF2-40B4-BE49-F238E27FC236}">
                <a16:creationId xmlns:a16="http://schemas.microsoft.com/office/drawing/2014/main" xmlns="" id="{B446817F-8B7C-4F33-8AC0-97D3A2E6A8CA}"/>
              </a:ext>
            </a:extLst>
          </p:cNvPr>
          <p:cNvGraphicFramePr/>
          <p:nvPr>
            <p:custDataLst>
              <p:tags r:id="rId4"/>
            </p:custDataLst>
          </p:nvPr>
        </p:nvGraphicFramePr>
        <p:xfrm>
          <a:off x="1249363" y="2409825"/>
          <a:ext cx="7435850" cy="2617788"/>
        </p:xfrm>
        <a:graphic>
          <a:graphicData uri="http://schemas.openxmlformats.org/drawingml/2006/chart">
            <c:chart xmlns:c="http://schemas.openxmlformats.org/drawingml/2006/chart" xmlns:r="http://schemas.openxmlformats.org/officeDocument/2006/relationships" r:id="rId50"/>
          </a:graphicData>
        </a:graphic>
      </p:graphicFrame>
      <p:sp>
        <p:nvSpPr>
          <p:cNvPr id="103" name="Textplatzhalter 2">
            <a:extLst>
              <a:ext uri="{FF2B5EF4-FFF2-40B4-BE49-F238E27FC236}">
                <a16:creationId xmlns:a16="http://schemas.microsoft.com/office/drawing/2014/main" xmlns="" id="{1BA4EED9-319C-436A-9C97-FD5B7104F765}"/>
              </a:ext>
            </a:extLst>
          </p:cNvPr>
          <p:cNvSpPr>
            <a:spLocks noGrp="1"/>
          </p:cNvSpPr>
          <p:nvPr>
            <p:custDataLst>
              <p:tags r:id="rId5"/>
            </p:custDataLst>
          </p:nvPr>
        </p:nvSpPr>
        <p:spPr bwMode="gray">
          <a:xfrm>
            <a:off x="515938" y="2795589"/>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1EF92B1-0F46-42AD-BD29-316BDAE235EA}" type="datetime'''''''''''2''5''''''''''''''''''''''0,''0''0''0'''''''''''''''">
              <a:rPr lang="de-DE" altLang="en-US" sz="1400" smtClean="0">
                <a:sym typeface="+mn-lt"/>
              </a:rPr>
              <a:pPr lvl="1" algn="r">
                <a:spcBef>
                  <a:spcPct val="0"/>
                </a:spcBef>
                <a:spcAft>
                  <a:spcPct val="0"/>
                </a:spcAft>
              </a:pPr>
              <a:t>250,000</a:t>
            </a:fld>
            <a:endParaRPr lang="de-DE" sz="1400" dirty="0">
              <a:sym typeface="+mn-lt"/>
            </a:endParaRPr>
          </a:p>
        </p:txBody>
      </p:sp>
      <p:sp>
        <p:nvSpPr>
          <p:cNvPr id="100" name="Textplatzhalter 2">
            <a:extLst>
              <a:ext uri="{FF2B5EF4-FFF2-40B4-BE49-F238E27FC236}">
                <a16:creationId xmlns:a16="http://schemas.microsoft.com/office/drawing/2014/main" xmlns="" id="{5EAA2574-26C8-4C0C-80E2-F9D552A35664}"/>
              </a:ext>
            </a:extLst>
          </p:cNvPr>
          <p:cNvSpPr>
            <a:spLocks noGrp="1"/>
          </p:cNvSpPr>
          <p:nvPr>
            <p:custDataLst>
              <p:tags r:id="rId6"/>
            </p:custDataLst>
          </p:nvPr>
        </p:nvSpPr>
        <p:spPr bwMode="gray">
          <a:xfrm>
            <a:off x="515938" y="4021139"/>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BABFDC20-3A5E-4505-AA12-BDA7342B6332}" type="datetime'100,''''0''''''''''''''''''''''''0''''''''''''0'''''">
              <a:rPr lang="de-DE" altLang="en-US" sz="1400" smtClean="0">
                <a:sym typeface="+mn-lt"/>
              </a:rPr>
              <a:pPr lvl="1" algn="r">
                <a:spcBef>
                  <a:spcPct val="0"/>
                </a:spcBef>
                <a:spcAft>
                  <a:spcPct val="0"/>
                </a:spcAft>
              </a:pPr>
              <a:t>100,000</a:t>
            </a:fld>
            <a:endParaRPr lang="de-DE" sz="1400" dirty="0">
              <a:sym typeface="+mn-lt"/>
            </a:endParaRPr>
          </a:p>
        </p:txBody>
      </p:sp>
      <p:sp>
        <p:nvSpPr>
          <p:cNvPr id="99" name="Textplatzhalter 2">
            <a:extLst>
              <a:ext uri="{FF2B5EF4-FFF2-40B4-BE49-F238E27FC236}">
                <a16:creationId xmlns:a16="http://schemas.microsoft.com/office/drawing/2014/main" xmlns="" id="{497022D9-4F9E-490C-8C04-D1901F3386AD}"/>
              </a:ext>
            </a:extLst>
          </p:cNvPr>
          <p:cNvSpPr>
            <a:spLocks noGrp="1"/>
          </p:cNvSpPr>
          <p:nvPr>
            <p:custDataLst>
              <p:tags r:id="rId7"/>
            </p:custDataLst>
          </p:nvPr>
        </p:nvSpPr>
        <p:spPr bwMode="gray">
          <a:xfrm>
            <a:off x="614362" y="4430714"/>
            <a:ext cx="5413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E81E51D8-B5D2-458D-BA7E-79FD6F2BD1DD}" type="datetime'''''''''5''''''0'''''',''''''0''0''''''''0'''''''">
              <a:rPr lang="de-DE" altLang="en-US" sz="1400" smtClean="0">
                <a:sym typeface="+mn-lt"/>
              </a:rPr>
              <a:pPr lvl="1" algn="r">
                <a:spcBef>
                  <a:spcPct val="0"/>
                </a:spcBef>
                <a:spcAft>
                  <a:spcPct val="0"/>
                </a:spcAft>
              </a:pPr>
              <a:t>50,000</a:t>
            </a:fld>
            <a:endParaRPr lang="de-DE" sz="1400" dirty="0">
              <a:sym typeface="+mn-lt"/>
            </a:endParaRPr>
          </a:p>
        </p:txBody>
      </p:sp>
      <p:sp>
        <p:nvSpPr>
          <p:cNvPr id="101" name="Textplatzhalter 2">
            <a:extLst>
              <a:ext uri="{FF2B5EF4-FFF2-40B4-BE49-F238E27FC236}">
                <a16:creationId xmlns:a16="http://schemas.microsoft.com/office/drawing/2014/main" xmlns="" id="{FC1070CA-3973-4E6A-BE85-6FB6DE57B9C0}"/>
              </a:ext>
            </a:extLst>
          </p:cNvPr>
          <p:cNvSpPr>
            <a:spLocks noGrp="1"/>
          </p:cNvSpPr>
          <p:nvPr>
            <p:custDataLst>
              <p:tags r:id="rId8"/>
            </p:custDataLst>
          </p:nvPr>
        </p:nvSpPr>
        <p:spPr bwMode="gray">
          <a:xfrm>
            <a:off x="515938" y="3613151"/>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6743B55-D03E-4B5D-A5F4-E3A2D361080D}" type="datetime'''1''5''''''''''0'''''',0''''''0''0'''''''''">
              <a:rPr lang="de-DE" altLang="en-US" sz="1400" smtClean="0">
                <a:sym typeface="+mn-lt"/>
              </a:rPr>
              <a:pPr lvl="1" algn="r">
                <a:spcBef>
                  <a:spcPct val="0"/>
                </a:spcBef>
                <a:spcAft>
                  <a:spcPct val="0"/>
                </a:spcAft>
              </a:pPr>
              <a:t>150,000</a:t>
            </a:fld>
            <a:endParaRPr lang="de-DE" sz="1400" dirty="0">
              <a:sym typeface="+mn-lt"/>
            </a:endParaRPr>
          </a:p>
        </p:txBody>
      </p:sp>
      <p:sp>
        <p:nvSpPr>
          <p:cNvPr id="102" name="Textplatzhalter 2">
            <a:extLst>
              <a:ext uri="{FF2B5EF4-FFF2-40B4-BE49-F238E27FC236}">
                <a16:creationId xmlns:a16="http://schemas.microsoft.com/office/drawing/2014/main" xmlns="" id="{A3C122C5-2DEF-46AC-9938-10096DE94A8B}"/>
              </a:ext>
            </a:extLst>
          </p:cNvPr>
          <p:cNvSpPr>
            <a:spLocks noGrp="1"/>
          </p:cNvSpPr>
          <p:nvPr>
            <p:custDataLst>
              <p:tags r:id="rId9"/>
            </p:custDataLst>
          </p:nvPr>
        </p:nvSpPr>
        <p:spPr bwMode="gray">
          <a:xfrm>
            <a:off x="515938" y="3203576"/>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E113CA34-6EFA-4E1D-A9D7-926CEF5B545C}" type="datetime'''''''''''''''''''''''2''''00,''0''''0''0'''''''''">
              <a:rPr lang="de-DE" altLang="en-US" sz="1400" smtClean="0">
                <a:sym typeface="+mn-lt"/>
              </a:rPr>
              <a:pPr lvl="1" algn="r">
                <a:spcBef>
                  <a:spcPct val="0"/>
                </a:spcBef>
                <a:spcAft>
                  <a:spcPct val="0"/>
                </a:spcAft>
              </a:pPr>
              <a:t>200,000</a:t>
            </a:fld>
            <a:endParaRPr lang="de-DE" sz="1400" dirty="0">
              <a:sym typeface="+mn-lt"/>
            </a:endParaRPr>
          </a:p>
        </p:txBody>
      </p:sp>
      <p:sp>
        <p:nvSpPr>
          <p:cNvPr id="104" name="Textplatzhalter 2">
            <a:extLst>
              <a:ext uri="{FF2B5EF4-FFF2-40B4-BE49-F238E27FC236}">
                <a16:creationId xmlns:a16="http://schemas.microsoft.com/office/drawing/2014/main" xmlns="" id="{43DBB5F0-6D34-4AFC-9429-90A9AF127B8A}"/>
              </a:ext>
            </a:extLst>
          </p:cNvPr>
          <p:cNvSpPr>
            <a:spLocks noGrp="1"/>
          </p:cNvSpPr>
          <p:nvPr>
            <p:custDataLst>
              <p:tags r:id="rId10"/>
            </p:custDataLst>
          </p:nvPr>
        </p:nvSpPr>
        <p:spPr bwMode="gray">
          <a:xfrm>
            <a:off x="515938" y="2386014"/>
            <a:ext cx="639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F9D30FC-671D-4F1C-8013-3E0F1EB76F4A}" type="datetime'3''0''''0'''',''''''''0''''''''''0''''''''''0'''''''''''''''">
              <a:rPr lang="de-DE" altLang="en-US" sz="1400" smtClean="0">
                <a:sym typeface="+mn-lt"/>
              </a:rPr>
              <a:pPr lvl="1" algn="r">
                <a:spcBef>
                  <a:spcPct val="0"/>
                </a:spcBef>
                <a:spcAft>
                  <a:spcPct val="0"/>
                </a:spcAft>
              </a:pPr>
              <a:t>300,000</a:t>
            </a:fld>
            <a:endParaRPr lang="de-DE" sz="1400" dirty="0">
              <a:sym typeface="+mn-lt"/>
            </a:endParaRPr>
          </a:p>
        </p:txBody>
      </p:sp>
      <p:cxnSp>
        <p:nvCxnSpPr>
          <p:cNvPr id="17" name="Gerader Verbinder 16">
            <a:extLst>
              <a:ext uri="{FF2B5EF4-FFF2-40B4-BE49-F238E27FC236}">
                <a16:creationId xmlns:a16="http://schemas.microsoft.com/office/drawing/2014/main" xmlns="" id="{6A04A9AD-638D-4A8D-B7C8-E8DF9403E262}"/>
              </a:ext>
            </a:extLst>
          </p:cNvPr>
          <p:cNvCxnSpPr/>
          <p:nvPr>
            <p:custDataLst>
              <p:tags r:id="rId11"/>
            </p:custDataLst>
          </p:nvPr>
        </p:nvCxnSpPr>
        <p:spPr bwMode="gray">
          <a:xfrm>
            <a:off x="6478588" y="3733800"/>
            <a:ext cx="0" cy="188913"/>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xmlns="" id="{427501AB-EBB7-4507-8BF7-374EC88E43DA}"/>
              </a:ext>
            </a:extLst>
          </p:cNvPr>
          <p:cNvCxnSpPr/>
          <p:nvPr>
            <p:custDataLst>
              <p:tags r:id="rId12"/>
            </p:custDataLst>
          </p:nvPr>
        </p:nvCxnSpPr>
        <p:spPr bwMode="gray">
          <a:xfrm flipV="1">
            <a:off x="3148013" y="3733800"/>
            <a:ext cx="0" cy="24130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A140F957-4EA5-4D74-A167-A9F10BC551E3}"/>
              </a:ext>
            </a:extLst>
          </p:cNvPr>
          <p:cNvCxnSpPr/>
          <p:nvPr>
            <p:custDataLst>
              <p:tags r:id="rId13"/>
            </p:custDataLst>
          </p:nvPr>
        </p:nvCxnSpPr>
        <p:spPr bwMode="gray">
          <a:xfrm>
            <a:off x="3148013" y="3733800"/>
            <a:ext cx="3330575"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xmlns="" id="{A3C656C7-F685-4732-88F9-E6AB9C47374A}"/>
              </a:ext>
            </a:extLst>
          </p:cNvPr>
          <p:cNvCxnSpPr/>
          <p:nvPr>
            <p:custDataLst>
              <p:tags r:id="rId14"/>
            </p:custDataLst>
          </p:nvPr>
        </p:nvCxnSpPr>
        <p:spPr bwMode="gray">
          <a:xfrm>
            <a:off x="6529387" y="2303463"/>
            <a:ext cx="1931988"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xmlns="" id="{42DB0189-8FB1-495C-A7FB-5BBE03CCF0D2}"/>
              </a:ext>
            </a:extLst>
          </p:cNvPr>
          <p:cNvCxnSpPr>
            <a:cxnSpLocks/>
          </p:cNvCxnSpPr>
          <p:nvPr>
            <p:custDataLst>
              <p:tags r:id="rId15"/>
            </p:custDataLst>
          </p:nvPr>
        </p:nvCxnSpPr>
        <p:spPr bwMode="gray">
          <a:xfrm flipV="1">
            <a:off x="6529388" y="2303462"/>
            <a:ext cx="0" cy="161925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xmlns="" id="{72CB0291-6609-48CB-8A34-1B7799DD73D3}"/>
              </a:ext>
            </a:extLst>
          </p:cNvPr>
          <p:cNvCxnSpPr/>
          <p:nvPr>
            <p:custDataLst>
              <p:tags r:id="rId16"/>
            </p:custDataLst>
          </p:nvPr>
        </p:nvCxnSpPr>
        <p:spPr bwMode="gray">
          <a:xfrm>
            <a:off x="8461375" y="2303463"/>
            <a:ext cx="0" cy="152400"/>
          </a:xfrm>
          <a:prstGeom prst="line">
            <a:avLst/>
          </a:prstGeom>
          <a:ln w="12700" cap="flat"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Textplatzhalter 2">
            <a:extLst>
              <a:ext uri="{FF2B5EF4-FFF2-40B4-BE49-F238E27FC236}">
                <a16:creationId xmlns:a16="http://schemas.microsoft.com/office/drawing/2014/main" xmlns="" id="{90CBFEDB-DE1B-4ED7-BBB2-EA3D6D483F32}"/>
              </a:ext>
            </a:extLst>
          </p:cNvPr>
          <p:cNvSpPr>
            <a:spLocks noGrp="1"/>
          </p:cNvSpPr>
          <p:nvPr>
            <p:custDataLst>
              <p:tags r:id="rId17"/>
            </p:custDataLst>
          </p:nvPr>
        </p:nvSpPr>
        <p:spPr bwMode="auto">
          <a:xfrm>
            <a:off x="835501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92C0CA4-0115-4931-812B-1ECEAA53E223}" type="datetime'''''''2''''''''01''''''''''''''''8'''''''''''''''''''''''''''">
              <a:rPr lang="de-DE" altLang="en-US" sz="1400" smtClean="0">
                <a:sym typeface="+mn-lt"/>
              </a:rPr>
              <a:pPr lvl="1" algn="r">
                <a:spcBef>
                  <a:spcPct val="0"/>
                </a:spcBef>
                <a:spcAft>
                  <a:spcPct val="0"/>
                </a:spcAft>
              </a:pPr>
              <a:t>2018</a:t>
            </a:fld>
            <a:endParaRPr lang="de-DE" sz="1400" dirty="0">
              <a:sym typeface="+mn-lt"/>
            </a:endParaRPr>
          </a:p>
        </p:txBody>
      </p:sp>
      <p:sp>
        <p:nvSpPr>
          <p:cNvPr id="137" name="Textplatzhalter 2">
            <a:extLst>
              <a:ext uri="{FF2B5EF4-FFF2-40B4-BE49-F238E27FC236}">
                <a16:creationId xmlns:a16="http://schemas.microsoft.com/office/drawing/2014/main" xmlns="" id="{0E9D7B5B-B063-4542-ACE7-8C5A0401A6E9}"/>
              </a:ext>
            </a:extLst>
          </p:cNvPr>
          <p:cNvSpPr>
            <a:spLocks noGrp="1"/>
          </p:cNvSpPr>
          <p:nvPr>
            <p:custDataLst>
              <p:tags r:id="rId18"/>
            </p:custDataLst>
          </p:nvPr>
        </p:nvSpPr>
        <p:spPr bwMode="auto">
          <a:xfrm>
            <a:off x="667702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87A1CFD-0E32-42AC-90EF-47789AD43554}" type="datetime'''20''''''''''1''''''''''''2'">
              <a:rPr lang="de-DE" altLang="en-US" sz="1400" smtClean="0">
                <a:sym typeface="+mn-lt"/>
              </a:rPr>
              <a:pPr lvl="1" algn="r">
                <a:spcBef>
                  <a:spcPct val="0"/>
                </a:spcBef>
                <a:spcAft>
                  <a:spcPct val="0"/>
                </a:spcAft>
              </a:pPr>
              <a:t>2012</a:t>
            </a:fld>
            <a:endParaRPr lang="de-DE" sz="1400" dirty="0">
              <a:sym typeface="+mn-lt"/>
            </a:endParaRPr>
          </a:p>
        </p:txBody>
      </p:sp>
      <p:sp>
        <p:nvSpPr>
          <p:cNvPr id="118" name="Textplatzhalter 2">
            <a:extLst>
              <a:ext uri="{FF2B5EF4-FFF2-40B4-BE49-F238E27FC236}">
                <a16:creationId xmlns:a16="http://schemas.microsoft.com/office/drawing/2014/main" xmlns="" id="{23375C37-4BFA-45CA-889A-1698E7353DB7}"/>
              </a:ext>
            </a:extLst>
          </p:cNvPr>
          <p:cNvSpPr>
            <a:spLocks noGrp="1"/>
          </p:cNvSpPr>
          <p:nvPr>
            <p:custDataLst>
              <p:tags r:id="rId19"/>
            </p:custDataLst>
          </p:nvPr>
        </p:nvSpPr>
        <p:spPr bwMode="auto">
          <a:xfrm>
            <a:off x="136366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4DC14F3B-5F9D-45FB-B7CE-84EA33B3F068}" type="datetime'''''''''''''''''''1''''''9''''''''''''''''''9''3'''">
              <a:rPr lang="de-DE" altLang="en-US" sz="1400" smtClean="0">
                <a:sym typeface="+mn-lt"/>
              </a:rPr>
              <a:pPr lvl="1" algn="r">
                <a:spcBef>
                  <a:spcPct val="0"/>
                </a:spcBef>
                <a:spcAft>
                  <a:spcPct val="0"/>
                </a:spcAft>
              </a:pPr>
              <a:t>1993</a:t>
            </a:fld>
            <a:endParaRPr lang="de-DE" sz="1400" dirty="0">
              <a:sym typeface="+mn-lt"/>
            </a:endParaRPr>
          </a:p>
        </p:txBody>
      </p:sp>
      <p:sp>
        <p:nvSpPr>
          <p:cNvPr id="120" name="Textplatzhalter 2">
            <a:extLst>
              <a:ext uri="{FF2B5EF4-FFF2-40B4-BE49-F238E27FC236}">
                <a16:creationId xmlns:a16="http://schemas.microsoft.com/office/drawing/2014/main" xmlns="" id="{7558F3A3-DBBB-4F00-B383-3818BC53F704}"/>
              </a:ext>
            </a:extLst>
          </p:cNvPr>
          <p:cNvSpPr>
            <a:spLocks noGrp="1"/>
          </p:cNvSpPr>
          <p:nvPr>
            <p:custDataLst>
              <p:tags r:id="rId20"/>
            </p:custDataLst>
          </p:nvPr>
        </p:nvSpPr>
        <p:spPr bwMode="auto">
          <a:xfrm>
            <a:off x="192246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CE3ACD8-2E92-4F0B-A005-70FE0BF6DAFD}" type="datetime'''''''''''''''''''1''9''''''''''9''5'''''''''''''''''''''">
              <a:rPr lang="de-DE" altLang="en-US" sz="1400" smtClean="0">
                <a:sym typeface="+mn-lt"/>
              </a:rPr>
              <a:pPr lvl="1" algn="r">
                <a:spcBef>
                  <a:spcPct val="0"/>
                </a:spcBef>
                <a:spcAft>
                  <a:spcPct val="0"/>
                </a:spcAft>
              </a:pPr>
              <a:t>1995</a:t>
            </a:fld>
            <a:endParaRPr lang="de-DE" sz="1400" dirty="0">
              <a:sym typeface="+mn-lt"/>
            </a:endParaRPr>
          </a:p>
        </p:txBody>
      </p:sp>
      <p:sp>
        <p:nvSpPr>
          <p:cNvPr id="128" name="Textplatzhalter 2">
            <a:extLst>
              <a:ext uri="{FF2B5EF4-FFF2-40B4-BE49-F238E27FC236}">
                <a16:creationId xmlns:a16="http://schemas.microsoft.com/office/drawing/2014/main" xmlns="" id="{CC9B704E-D649-43B4-9B2C-1C44C40E8958}"/>
              </a:ext>
            </a:extLst>
          </p:cNvPr>
          <p:cNvSpPr>
            <a:spLocks noGrp="1"/>
          </p:cNvSpPr>
          <p:nvPr>
            <p:custDataLst>
              <p:tags r:id="rId21"/>
            </p:custDataLst>
          </p:nvPr>
        </p:nvSpPr>
        <p:spPr bwMode="auto">
          <a:xfrm>
            <a:off x="41608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31136A2-6DD9-487D-84DA-26BB68A8F120}" type="datetime'''''''''''''''2''''''0''''''''''''''''03'''''''">
              <a:rPr lang="de-DE" altLang="en-US" sz="1400" smtClean="0">
                <a:sym typeface="+mn-lt"/>
              </a:rPr>
              <a:pPr lvl="1" algn="r">
                <a:spcBef>
                  <a:spcPct val="0"/>
                </a:spcBef>
                <a:spcAft>
                  <a:spcPct val="0"/>
                </a:spcAft>
              </a:pPr>
              <a:t>2003</a:t>
            </a:fld>
            <a:endParaRPr lang="de-DE" sz="1400" dirty="0">
              <a:sym typeface="+mn-lt"/>
            </a:endParaRPr>
          </a:p>
        </p:txBody>
      </p:sp>
      <p:sp>
        <p:nvSpPr>
          <p:cNvPr id="126" name="Textplatzhalter 2">
            <a:extLst>
              <a:ext uri="{FF2B5EF4-FFF2-40B4-BE49-F238E27FC236}">
                <a16:creationId xmlns:a16="http://schemas.microsoft.com/office/drawing/2014/main" xmlns="" id="{186EAEEA-713E-4E40-8722-DC93A3A2C08E}"/>
              </a:ext>
            </a:extLst>
          </p:cNvPr>
          <p:cNvSpPr>
            <a:spLocks noGrp="1"/>
          </p:cNvSpPr>
          <p:nvPr>
            <p:custDataLst>
              <p:tags r:id="rId22"/>
            </p:custDataLst>
          </p:nvPr>
        </p:nvSpPr>
        <p:spPr bwMode="auto">
          <a:xfrm>
            <a:off x="36004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F9A7C4FA-3F6E-467E-BD34-AFDBFBDFD51A}" type="datetime'''''20''''''01'''''''''''''''''''''''''''''''''''''">
              <a:rPr lang="de-DE" altLang="en-US" sz="1400" smtClean="0">
                <a:sym typeface="+mn-lt"/>
              </a:rPr>
              <a:pPr lvl="1" algn="r">
                <a:spcBef>
                  <a:spcPct val="0"/>
                </a:spcBef>
                <a:spcAft>
                  <a:spcPct val="0"/>
                </a:spcAft>
              </a:pPr>
              <a:t>2001</a:t>
            </a:fld>
            <a:endParaRPr lang="de-DE" sz="1400" dirty="0">
              <a:sym typeface="+mn-lt"/>
            </a:endParaRPr>
          </a:p>
        </p:txBody>
      </p:sp>
      <p:sp>
        <p:nvSpPr>
          <p:cNvPr id="123" name="Textplatzhalter 2">
            <a:extLst>
              <a:ext uri="{FF2B5EF4-FFF2-40B4-BE49-F238E27FC236}">
                <a16:creationId xmlns:a16="http://schemas.microsoft.com/office/drawing/2014/main" xmlns="" id="{571DB246-301C-4CB8-82D8-B5C061BB05D1}"/>
              </a:ext>
            </a:extLst>
          </p:cNvPr>
          <p:cNvSpPr>
            <a:spLocks noGrp="1"/>
          </p:cNvSpPr>
          <p:nvPr>
            <p:custDataLst>
              <p:tags r:id="rId23"/>
            </p:custDataLst>
          </p:nvPr>
        </p:nvSpPr>
        <p:spPr bwMode="auto">
          <a:xfrm>
            <a:off x="27622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BDBBB9C9-F7C3-49FC-A32B-446FA5E50D12}" type="datetime'''''''19''''''9''''''''''''''''''''''8'''''">
              <a:rPr lang="de-DE" altLang="en-US" sz="1400" smtClean="0">
                <a:sym typeface="+mn-lt"/>
              </a:rPr>
              <a:pPr lvl="1" algn="r">
                <a:spcBef>
                  <a:spcPct val="0"/>
                </a:spcBef>
                <a:spcAft>
                  <a:spcPct val="0"/>
                </a:spcAft>
              </a:pPr>
              <a:t>1998</a:t>
            </a:fld>
            <a:endParaRPr lang="de-DE" sz="1400" dirty="0">
              <a:sym typeface="+mn-lt"/>
            </a:endParaRPr>
          </a:p>
        </p:txBody>
      </p:sp>
      <p:sp>
        <p:nvSpPr>
          <p:cNvPr id="119" name="Textplatzhalter 2">
            <a:extLst>
              <a:ext uri="{FF2B5EF4-FFF2-40B4-BE49-F238E27FC236}">
                <a16:creationId xmlns:a16="http://schemas.microsoft.com/office/drawing/2014/main" xmlns="" id="{5B489937-2208-4FBD-9351-0F49CC4C3699}"/>
              </a:ext>
            </a:extLst>
          </p:cNvPr>
          <p:cNvSpPr>
            <a:spLocks noGrp="1"/>
          </p:cNvSpPr>
          <p:nvPr>
            <p:custDataLst>
              <p:tags r:id="rId24"/>
            </p:custDataLst>
          </p:nvPr>
        </p:nvSpPr>
        <p:spPr bwMode="auto">
          <a:xfrm>
            <a:off x="164306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8E776254-7E6B-439A-AFE8-A6DE1F9F0D11}" type="datetime'''''''''''1''''''''99''''''''''4'''''''''''''">
              <a:rPr lang="de-DE" altLang="en-US" sz="1400" smtClean="0">
                <a:sym typeface="+mn-lt"/>
              </a:rPr>
              <a:pPr lvl="1" algn="r">
                <a:spcBef>
                  <a:spcPct val="0"/>
                </a:spcBef>
                <a:spcAft>
                  <a:spcPct val="0"/>
                </a:spcAft>
              </a:pPr>
              <a:t>1994</a:t>
            </a:fld>
            <a:endParaRPr lang="de-DE" sz="1400" dirty="0">
              <a:sym typeface="+mn-lt"/>
            </a:endParaRPr>
          </a:p>
        </p:txBody>
      </p:sp>
      <p:sp>
        <p:nvSpPr>
          <p:cNvPr id="124" name="Textplatzhalter 2">
            <a:extLst>
              <a:ext uri="{FF2B5EF4-FFF2-40B4-BE49-F238E27FC236}">
                <a16:creationId xmlns:a16="http://schemas.microsoft.com/office/drawing/2014/main" xmlns="" id="{DAAD2FF6-3338-4A03-90D5-2377B5C6722A}"/>
              </a:ext>
            </a:extLst>
          </p:cNvPr>
          <p:cNvSpPr>
            <a:spLocks noGrp="1"/>
          </p:cNvSpPr>
          <p:nvPr>
            <p:custDataLst>
              <p:tags r:id="rId25"/>
            </p:custDataLst>
          </p:nvPr>
        </p:nvSpPr>
        <p:spPr bwMode="auto">
          <a:xfrm>
            <a:off x="30416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52C81AE-1D2A-45FC-A8E0-5CA947BB8190}" type="datetime'1''''''9''''9''''''''''''''''''''''''''''''''''''''''''''''9'">
              <a:rPr lang="de-DE" altLang="en-US" sz="1400" smtClean="0">
                <a:sym typeface="+mn-lt"/>
              </a:rPr>
              <a:pPr lvl="1" algn="r">
                <a:spcBef>
                  <a:spcPct val="0"/>
                </a:spcBef>
                <a:spcAft>
                  <a:spcPct val="0"/>
                </a:spcAft>
              </a:pPr>
              <a:t>1999</a:t>
            </a:fld>
            <a:endParaRPr lang="de-DE" sz="1400" dirty="0">
              <a:sym typeface="+mn-lt"/>
            </a:endParaRPr>
          </a:p>
        </p:txBody>
      </p:sp>
      <p:sp>
        <p:nvSpPr>
          <p:cNvPr id="125" name="Textplatzhalter 2">
            <a:extLst>
              <a:ext uri="{FF2B5EF4-FFF2-40B4-BE49-F238E27FC236}">
                <a16:creationId xmlns:a16="http://schemas.microsoft.com/office/drawing/2014/main" xmlns="" id="{1D0118A1-9632-44FB-BC8A-732C01809F95}"/>
              </a:ext>
            </a:extLst>
          </p:cNvPr>
          <p:cNvSpPr>
            <a:spLocks noGrp="1"/>
          </p:cNvSpPr>
          <p:nvPr>
            <p:custDataLst>
              <p:tags r:id="rId26"/>
            </p:custDataLst>
          </p:nvPr>
        </p:nvSpPr>
        <p:spPr bwMode="auto">
          <a:xfrm>
            <a:off x="33210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5EDC81C-B40A-4AB3-ADBD-773F79763AC1}" type="datetime'''''''''2''''''''''''''''''''''''0''0''0'''''">
              <a:rPr lang="de-DE" altLang="en-US" sz="1400" smtClean="0">
                <a:sym typeface="+mn-lt"/>
              </a:rPr>
              <a:pPr lvl="1" algn="r">
                <a:spcBef>
                  <a:spcPct val="0"/>
                </a:spcBef>
                <a:spcAft>
                  <a:spcPct val="0"/>
                </a:spcAft>
              </a:pPr>
              <a:t>2000</a:t>
            </a:fld>
            <a:endParaRPr lang="de-DE" sz="1400" dirty="0">
              <a:sym typeface="+mn-lt"/>
            </a:endParaRPr>
          </a:p>
        </p:txBody>
      </p:sp>
      <p:sp>
        <p:nvSpPr>
          <p:cNvPr id="127" name="Textplatzhalter 2">
            <a:extLst>
              <a:ext uri="{FF2B5EF4-FFF2-40B4-BE49-F238E27FC236}">
                <a16:creationId xmlns:a16="http://schemas.microsoft.com/office/drawing/2014/main" xmlns="" id="{4EADFE9E-482E-45B7-9F7E-64B697BEBB03}"/>
              </a:ext>
            </a:extLst>
          </p:cNvPr>
          <p:cNvSpPr>
            <a:spLocks noGrp="1"/>
          </p:cNvSpPr>
          <p:nvPr>
            <p:custDataLst>
              <p:tags r:id="rId27"/>
            </p:custDataLst>
          </p:nvPr>
        </p:nvSpPr>
        <p:spPr bwMode="auto">
          <a:xfrm>
            <a:off x="38814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1302BD7-9853-4AF4-8BF1-AD6FF3DA5A91}" type="datetime'''''''''''''20''''''''''0''''2'''''''''''''''''">
              <a:rPr lang="de-DE" altLang="en-US" sz="1400" smtClean="0">
                <a:sym typeface="+mn-lt"/>
              </a:rPr>
              <a:pPr lvl="1" algn="r">
                <a:spcBef>
                  <a:spcPct val="0"/>
                </a:spcBef>
                <a:spcAft>
                  <a:spcPct val="0"/>
                </a:spcAft>
              </a:pPr>
              <a:t>2002</a:t>
            </a:fld>
            <a:endParaRPr lang="de-DE" sz="1400" dirty="0">
              <a:sym typeface="+mn-lt"/>
            </a:endParaRPr>
          </a:p>
        </p:txBody>
      </p:sp>
      <p:sp>
        <p:nvSpPr>
          <p:cNvPr id="134" name="Textplatzhalter 2">
            <a:extLst>
              <a:ext uri="{FF2B5EF4-FFF2-40B4-BE49-F238E27FC236}">
                <a16:creationId xmlns:a16="http://schemas.microsoft.com/office/drawing/2014/main" xmlns="" id="{3CAAE3A1-5544-4ADC-B0D1-117F84138306}"/>
              </a:ext>
            </a:extLst>
          </p:cNvPr>
          <p:cNvSpPr>
            <a:spLocks noGrp="1"/>
          </p:cNvSpPr>
          <p:nvPr>
            <p:custDataLst>
              <p:tags r:id="rId28"/>
            </p:custDataLst>
          </p:nvPr>
        </p:nvSpPr>
        <p:spPr bwMode="auto">
          <a:xfrm>
            <a:off x="583882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C777D2B-F4BD-4D62-843C-7A51E347E515}" type="datetime'''''''''''''''''''2''''''0''''0''''''''9'''">
              <a:rPr lang="de-DE" altLang="en-US" sz="1400" smtClean="0">
                <a:sym typeface="+mn-lt"/>
              </a:rPr>
              <a:pPr lvl="1" algn="r">
                <a:spcBef>
                  <a:spcPct val="0"/>
                </a:spcBef>
                <a:spcAft>
                  <a:spcPct val="0"/>
                </a:spcAft>
              </a:pPr>
              <a:t>2009</a:t>
            </a:fld>
            <a:endParaRPr lang="de-DE" sz="1400" dirty="0">
              <a:sym typeface="+mn-lt"/>
            </a:endParaRPr>
          </a:p>
        </p:txBody>
      </p:sp>
      <p:sp>
        <p:nvSpPr>
          <p:cNvPr id="129" name="Textplatzhalter 2">
            <a:extLst>
              <a:ext uri="{FF2B5EF4-FFF2-40B4-BE49-F238E27FC236}">
                <a16:creationId xmlns:a16="http://schemas.microsoft.com/office/drawing/2014/main" xmlns="" id="{AA3CC824-7DEB-4DF2-BDAF-3FD457398133}"/>
              </a:ext>
            </a:extLst>
          </p:cNvPr>
          <p:cNvSpPr>
            <a:spLocks noGrp="1"/>
          </p:cNvSpPr>
          <p:nvPr>
            <p:custDataLst>
              <p:tags r:id="rId29"/>
            </p:custDataLst>
          </p:nvPr>
        </p:nvSpPr>
        <p:spPr bwMode="auto">
          <a:xfrm>
            <a:off x="44402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0168429-D5C0-4CF4-9A11-11507CA16F3D}" type="datetime'''''''''20''''''''''''''''''''0''4'''''''''">
              <a:rPr lang="de-DE" altLang="en-US" sz="1400" smtClean="0">
                <a:sym typeface="+mn-lt"/>
              </a:rPr>
              <a:pPr lvl="1" algn="r">
                <a:spcBef>
                  <a:spcPct val="0"/>
                </a:spcBef>
                <a:spcAft>
                  <a:spcPct val="0"/>
                </a:spcAft>
              </a:pPr>
              <a:t>2004</a:t>
            </a:fld>
            <a:endParaRPr lang="de-DE" sz="1400" dirty="0">
              <a:sym typeface="+mn-lt"/>
            </a:endParaRPr>
          </a:p>
        </p:txBody>
      </p:sp>
      <p:sp>
        <p:nvSpPr>
          <p:cNvPr id="141" name="Textplatzhalter 2">
            <a:extLst>
              <a:ext uri="{FF2B5EF4-FFF2-40B4-BE49-F238E27FC236}">
                <a16:creationId xmlns:a16="http://schemas.microsoft.com/office/drawing/2014/main" xmlns="" id="{7F75DBA5-93BB-42CA-BDB3-40D1E6922120}"/>
              </a:ext>
            </a:extLst>
          </p:cNvPr>
          <p:cNvSpPr>
            <a:spLocks noGrp="1"/>
          </p:cNvSpPr>
          <p:nvPr>
            <p:custDataLst>
              <p:tags r:id="rId30"/>
            </p:custDataLst>
          </p:nvPr>
        </p:nvSpPr>
        <p:spPr bwMode="auto">
          <a:xfrm>
            <a:off x="779621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54F1261-D9E3-456A-A241-BCC48F171C8B}" type="datetime'2''''''''''''''''''''''0''''''''1''''6'''''''''''">
              <a:rPr lang="de-DE" altLang="en-US" sz="1400" smtClean="0">
                <a:sym typeface="+mn-lt"/>
              </a:rPr>
              <a:pPr lvl="1" algn="r">
                <a:spcBef>
                  <a:spcPct val="0"/>
                </a:spcBef>
                <a:spcAft>
                  <a:spcPct val="0"/>
                </a:spcAft>
              </a:pPr>
              <a:t>2016</a:t>
            </a:fld>
            <a:endParaRPr lang="de-DE" sz="1400" dirty="0">
              <a:sym typeface="+mn-lt"/>
            </a:endParaRPr>
          </a:p>
        </p:txBody>
      </p:sp>
      <p:sp>
        <p:nvSpPr>
          <p:cNvPr id="130" name="Textplatzhalter 2">
            <a:extLst>
              <a:ext uri="{FF2B5EF4-FFF2-40B4-BE49-F238E27FC236}">
                <a16:creationId xmlns:a16="http://schemas.microsoft.com/office/drawing/2014/main" xmlns="" id="{732A7062-A1EC-411E-A3E2-49AB82AC8332}"/>
              </a:ext>
            </a:extLst>
          </p:cNvPr>
          <p:cNvSpPr>
            <a:spLocks noGrp="1"/>
          </p:cNvSpPr>
          <p:nvPr>
            <p:custDataLst>
              <p:tags r:id="rId31"/>
            </p:custDataLst>
          </p:nvPr>
        </p:nvSpPr>
        <p:spPr bwMode="auto">
          <a:xfrm>
            <a:off x="47196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DF68866E-5381-4E83-BFF4-EC166979401B}" type="datetime'''20''''''''''''''''''05'''''''''">
              <a:rPr lang="de-DE" altLang="en-US" sz="1400" smtClean="0">
                <a:sym typeface="+mn-lt"/>
              </a:rPr>
              <a:pPr lvl="1" algn="r">
                <a:spcBef>
                  <a:spcPct val="0"/>
                </a:spcBef>
                <a:spcAft>
                  <a:spcPct val="0"/>
                </a:spcAft>
              </a:pPr>
              <a:t>2005</a:t>
            </a:fld>
            <a:endParaRPr lang="de-DE" sz="1400" dirty="0">
              <a:sym typeface="+mn-lt"/>
            </a:endParaRPr>
          </a:p>
        </p:txBody>
      </p:sp>
      <p:sp>
        <p:nvSpPr>
          <p:cNvPr id="131" name="Textplatzhalter 2">
            <a:extLst>
              <a:ext uri="{FF2B5EF4-FFF2-40B4-BE49-F238E27FC236}">
                <a16:creationId xmlns:a16="http://schemas.microsoft.com/office/drawing/2014/main" xmlns="" id="{912ADB93-0D0E-42F0-8A4E-73458AE74CEE}"/>
              </a:ext>
            </a:extLst>
          </p:cNvPr>
          <p:cNvSpPr>
            <a:spLocks noGrp="1"/>
          </p:cNvSpPr>
          <p:nvPr>
            <p:custDataLst>
              <p:tags r:id="rId32"/>
            </p:custDataLst>
          </p:nvPr>
        </p:nvSpPr>
        <p:spPr bwMode="auto">
          <a:xfrm>
            <a:off x="49990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F931E42-50AB-44AA-8550-447EC81DEC7D}" type="datetime'''20''0''''''''''''''''''''''''''''''''''6'''''''''''''">
              <a:rPr lang="de-DE" altLang="en-US" sz="1400" smtClean="0">
                <a:sym typeface="+mn-lt"/>
              </a:rPr>
              <a:pPr lvl="1" algn="r">
                <a:spcBef>
                  <a:spcPct val="0"/>
                </a:spcBef>
                <a:spcAft>
                  <a:spcPct val="0"/>
                </a:spcAft>
              </a:pPr>
              <a:t>2006</a:t>
            </a:fld>
            <a:endParaRPr lang="de-DE" sz="1400" dirty="0">
              <a:sym typeface="+mn-lt"/>
            </a:endParaRPr>
          </a:p>
        </p:txBody>
      </p:sp>
      <p:sp>
        <p:nvSpPr>
          <p:cNvPr id="132" name="Textplatzhalter 2">
            <a:extLst>
              <a:ext uri="{FF2B5EF4-FFF2-40B4-BE49-F238E27FC236}">
                <a16:creationId xmlns:a16="http://schemas.microsoft.com/office/drawing/2014/main" xmlns="" id="{261212FA-FA56-479A-AE30-0F899D86F952}"/>
              </a:ext>
            </a:extLst>
          </p:cNvPr>
          <p:cNvSpPr>
            <a:spLocks noGrp="1"/>
          </p:cNvSpPr>
          <p:nvPr>
            <p:custDataLst>
              <p:tags r:id="rId33"/>
            </p:custDataLst>
          </p:nvPr>
        </p:nvSpPr>
        <p:spPr bwMode="auto">
          <a:xfrm>
            <a:off x="52784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FA949FC-1A8A-47B7-A9E4-A00D0E4BBB6F}" type="datetime'''''''''''2''''''''''''''0''''''''''''''''0''''''''7'''''''">
              <a:rPr lang="de-DE" altLang="en-US" sz="1400" smtClean="0">
                <a:sym typeface="+mn-lt"/>
              </a:rPr>
              <a:pPr lvl="1" algn="r">
                <a:spcBef>
                  <a:spcPct val="0"/>
                </a:spcBef>
                <a:spcAft>
                  <a:spcPct val="0"/>
                </a:spcAft>
              </a:pPr>
              <a:t>2007</a:t>
            </a:fld>
            <a:endParaRPr lang="de-DE" sz="1400" dirty="0">
              <a:sym typeface="+mn-lt"/>
            </a:endParaRPr>
          </a:p>
        </p:txBody>
      </p:sp>
      <p:sp>
        <p:nvSpPr>
          <p:cNvPr id="133" name="Textplatzhalter 2">
            <a:extLst>
              <a:ext uri="{FF2B5EF4-FFF2-40B4-BE49-F238E27FC236}">
                <a16:creationId xmlns:a16="http://schemas.microsoft.com/office/drawing/2014/main" xmlns="" id="{B71688FB-716B-49D3-A867-1092DB389AA9}"/>
              </a:ext>
            </a:extLst>
          </p:cNvPr>
          <p:cNvSpPr>
            <a:spLocks noGrp="1"/>
          </p:cNvSpPr>
          <p:nvPr>
            <p:custDataLst>
              <p:tags r:id="rId34"/>
            </p:custDataLst>
          </p:nvPr>
        </p:nvSpPr>
        <p:spPr bwMode="auto">
          <a:xfrm>
            <a:off x="5557838"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642C1BA-E583-4065-9DDA-25A188DF45E2}" type="datetime'''''''''''2''''''0''''''''0''''''''''8'''''''">
              <a:rPr lang="de-DE" altLang="en-US" sz="1400" smtClean="0">
                <a:sym typeface="+mn-lt"/>
              </a:rPr>
              <a:pPr lvl="1" algn="r">
                <a:spcBef>
                  <a:spcPct val="0"/>
                </a:spcBef>
                <a:spcAft>
                  <a:spcPct val="0"/>
                </a:spcAft>
              </a:pPr>
              <a:t>2008</a:t>
            </a:fld>
            <a:endParaRPr lang="de-DE" sz="1400" dirty="0">
              <a:sym typeface="+mn-lt"/>
            </a:endParaRPr>
          </a:p>
        </p:txBody>
      </p:sp>
      <p:sp>
        <p:nvSpPr>
          <p:cNvPr id="136" name="Textplatzhalter 2">
            <a:extLst>
              <a:ext uri="{FF2B5EF4-FFF2-40B4-BE49-F238E27FC236}">
                <a16:creationId xmlns:a16="http://schemas.microsoft.com/office/drawing/2014/main" xmlns="" id="{C3F5FE44-4C84-4D7F-9030-8822D05B6EC6}"/>
              </a:ext>
            </a:extLst>
          </p:cNvPr>
          <p:cNvSpPr>
            <a:spLocks noGrp="1"/>
          </p:cNvSpPr>
          <p:nvPr>
            <p:custDataLst>
              <p:tags r:id="rId35"/>
            </p:custDataLst>
          </p:nvPr>
        </p:nvSpPr>
        <p:spPr bwMode="auto">
          <a:xfrm>
            <a:off x="6397625" y="5003800"/>
            <a:ext cx="212725"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FE0253E3-3B56-4114-93EE-D5B9D81C8760}" type="datetime'''2''''''''''''''''''0''''''''''''''1''''''''''''1'''''''''''">
              <a:rPr lang="de-DE" altLang="en-US" sz="1400" smtClean="0">
                <a:sym typeface="+mn-lt"/>
              </a:rPr>
              <a:pPr lvl="1" algn="r">
                <a:spcBef>
                  <a:spcPct val="0"/>
                </a:spcBef>
                <a:spcAft>
                  <a:spcPct val="0"/>
                </a:spcAft>
              </a:pPr>
              <a:t>2011</a:t>
            </a:fld>
            <a:endParaRPr lang="de-DE" sz="1400" dirty="0">
              <a:sym typeface="+mn-lt"/>
            </a:endParaRPr>
          </a:p>
        </p:txBody>
      </p:sp>
      <p:sp>
        <p:nvSpPr>
          <p:cNvPr id="138" name="Textplatzhalter 2">
            <a:extLst>
              <a:ext uri="{FF2B5EF4-FFF2-40B4-BE49-F238E27FC236}">
                <a16:creationId xmlns:a16="http://schemas.microsoft.com/office/drawing/2014/main" xmlns="" id="{84647AF1-4364-4FAC-B952-28B4581E046C}"/>
              </a:ext>
            </a:extLst>
          </p:cNvPr>
          <p:cNvSpPr>
            <a:spLocks noGrp="1"/>
          </p:cNvSpPr>
          <p:nvPr>
            <p:custDataLst>
              <p:tags r:id="rId36"/>
            </p:custDataLst>
          </p:nvPr>
        </p:nvSpPr>
        <p:spPr bwMode="auto">
          <a:xfrm>
            <a:off x="695642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A965E257-74A3-408D-80F9-744A799216BA}" type="datetime'''''''''''''''''2''''0''''13'''''''''''''''''''''''''''''''''">
              <a:rPr lang="de-DE" altLang="en-US" sz="1400" smtClean="0">
                <a:sym typeface="+mn-lt"/>
              </a:rPr>
              <a:pPr lvl="1" algn="r">
                <a:spcBef>
                  <a:spcPct val="0"/>
                </a:spcBef>
                <a:spcAft>
                  <a:spcPct val="0"/>
                </a:spcAft>
              </a:pPr>
              <a:t>2013</a:t>
            </a:fld>
            <a:endParaRPr lang="de-DE" sz="1400" dirty="0">
              <a:sym typeface="+mn-lt"/>
            </a:endParaRPr>
          </a:p>
        </p:txBody>
      </p:sp>
      <p:sp>
        <p:nvSpPr>
          <p:cNvPr id="139" name="Textplatzhalter 2">
            <a:extLst>
              <a:ext uri="{FF2B5EF4-FFF2-40B4-BE49-F238E27FC236}">
                <a16:creationId xmlns:a16="http://schemas.microsoft.com/office/drawing/2014/main" xmlns="" id="{EE93D85D-EA44-4ACE-9AFF-D0664C9CCFB3}"/>
              </a:ext>
            </a:extLst>
          </p:cNvPr>
          <p:cNvSpPr>
            <a:spLocks noGrp="1"/>
          </p:cNvSpPr>
          <p:nvPr>
            <p:custDataLst>
              <p:tags r:id="rId37"/>
            </p:custDataLst>
          </p:nvPr>
        </p:nvSpPr>
        <p:spPr bwMode="auto">
          <a:xfrm>
            <a:off x="723582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3EC146C-49A5-4A82-9C17-26AA1FBD5D47}" type="datetime'''''''20''''''''1''''''4'''''''''''''''''''''''''''''''''''''">
              <a:rPr lang="de-DE" altLang="en-US" sz="1400" smtClean="0">
                <a:sym typeface="+mn-lt"/>
              </a:rPr>
              <a:pPr lvl="1" algn="r">
                <a:spcBef>
                  <a:spcPct val="0"/>
                </a:spcBef>
                <a:spcAft>
                  <a:spcPct val="0"/>
                </a:spcAft>
              </a:pPr>
              <a:t>2014</a:t>
            </a:fld>
            <a:endParaRPr lang="de-DE" sz="1400" dirty="0">
              <a:sym typeface="+mn-lt"/>
            </a:endParaRPr>
          </a:p>
        </p:txBody>
      </p:sp>
      <p:sp>
        <p:nvSpPr>
          <p:cNvPr id="140" name="Textplatzhalter 2">
            <a:extLst>
              <a:ext uri="{FF2B5EF4-FFF2-40B4-BE49-F238E27FC236}">
                <a16:creationId xmlns:a16="http://schemas.microsoft.com/office/drawing/2014/main" xmlns="" id="{B9D3C93B-3E59-4FD1-BE09-FC61281054FA}"/>
              </a:ext>
            </a:extLst>
          </p:cNvPr>
          <p:cNvSpPr>
            <a:spLocks noGrp="1"/>
          </p:cNvSpPr>
          <p:nvPr>
            <p:custDataLst>
              <p:tags r:id="rId38"/>
            </p:custDataLst>
          </p:nvPr>
        </p:nvSpPr>
        <p:spPr bwMode="auto">
          <a:xfrm>
            <a:off x="751681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FEBC2F3-72CF-49B5-BC70-D272D12F09B9}" type="datetime'''''''''''''''''''''''''''''''20''''''''''''''''15'''''">
              <a:rPr lang="de-DE" altLang="en-US" sz="1400" smtClean="0">
                <a:sym typeface="+mn-lt"/>
              </a:rPr>
              <a:pPr lvl="1" algn="r">
                <a:spcBef>
                  <a:spcPct val="0"/>
                </a:spcBef>
                <a:spcAft>
                  <a:spcPct val="0"/>
                </a:spcAft>
              </a:pPr>
              <a:t>2015</a:t>
            </a:fld>
            <a:endParaRPr lang="de-DE" sz="1400" dirty="0">
              <a:sym typeface="+mn-lt"/>
            </a:endParaRPr>
          </a:p>
        </p:txBody>
      </p:sp>
      <p:sp>
        <p:nvSpPr>
          <p:cNvPr id="142" name="Textplatzhalter 2">
            <a:extLst>
              <a:ext uri="{FF2B5EF4-FFF2-40B4-BE49-F238E27FC236}">
                <a16:creationId xmlns:a16="http://schemas.microsoft.com/office/drawing/2014/main" xmlns="" id="{5371FB7B-0EA4-4EEF-AAD4-E420DB837F19}"/>
              </a:ext>
            </a:extLst>
          </p:cNvPr>
          <p:cNvSpPr>
            <a:spLocks noGrp="1"/>
          </p:cNvSpPr>
          <p:nvPr>
            <p:custDataLst>
              <p:tags r:id="rId39"/>
            </p:custDataLst>
          </p:nvPr>
        </p:nvSpPr>
        <p:spPr bwMode="auto">
          <a:xfrm>
            <a:off x="8075613"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7EF87E2-FAB9-431C-A72D-9358FF0163E9}" type="datetime'20''1''''''''''''''''''''''''''''''''''''''''7'''''''">
              <a:rPr lang="de-DE" altLang="en-US" sz="1400" smtClean="0">
                <a:sym typeface="+mn-lt"/>
              </a:rPr>
              <a:pPr lvl="1" algn="r">
                <a:spcBef>
                  <a:spcPct val="0"/>
                </a:spcBef>
                <a:spcAft>
                  <a:spcPct val="0"/>
                </a:spcAft>
              </a:pPr>
              <a:t>2017</a:t>
            </a:fld>
            <a:endParaRPr lang="de-DE" sz="1400" dirty="0">
              <a:sym typeface="+mn-lt"/>
            </a:endParaRPr>
          </a:p>
        </p:txBody>
      </p:sp>
      <p:sp>
        <p:nvSpPr>
          <p:cNvPr id="135" name="Textplatzhalter 2">
            <a:extLst>
              <a:ext uri="{FF2B5EF4-FFF2-40B4-BE49-F238E27FC236}">
                <a16:creationId xmlns:a16="http://schemas.microsoft.com/office/drawing/2014/main" xmlns="" id="{64C8E382-6270-429D-8EEA-A95A4EAED209}"/>
              </a:ext>
            </a:extLst>
          </p:cNvPr>
          <p:cNvSpPr>
            <a:spLocks noGrp="1"/>
          </p:cNvSpPr>
          <p:nvPr>
            <p:custDataLst>
              <p:tags r:id="rId40"/>
            </p:custDataLst>
          </p:nvPr>
        </p:nvSpPr>
        <p:spPr bwMode="auto">
          <a:xfrm>
            <a:off x="6118225"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8BF5920-44A2-4398-84CC-21EDDCEE3D5A}" type="datetime'''''''''''2''''''''''''''''''''''0''1''''''''''''''0'">
              <a:rPr lang="de-DE" altLang="en-US" sz="1400" smtClean="0">
                <a:sym typeface="+mn-lt"/>
              </a:rPr>
              <a:pPr lvl="1" algn="r">
                <a:spcBef>
                  <a:spcPct val="0"/>
                </a:spcBef>
                <a:spcAft>
                  <a:spcPct val="0"/>
                </a:spcAft>
              </a:pPr>
              <a:t>2010</a:t>
            </a:fld>
            <a:endParaRPr lang="de-DE" sz="1400" dirty="0">
              <a:sym typeface="+mn-lt"/>
            </a:endParaRPr>
          </a:p>
        </p:txBody>
      </p:sp>
      <p:sp>
        <p:nvSpPr>
          <p:cNvPr id="121" name="Textplatzhalter 2">
            <a:extLst>
              <a:ext uri="{FF2B5EF4-FFF2-40B4-BE49-F238E27FC236}">
                <a16:creationId xmlns:a16="http://schemas.microsoft.com/office/drawing/2014/main" xmlns="" id="{38EE77D8-2AD9-46D2-8746-824D769AF3A2}"/>
              </a:ext>
            </a:extLst>
          </p:cNvPr>
          <p:cNvSpPr>
            <a:spLocks noGrp="1"/>
          </p:cNvSpPr>
          <p:nvPr>
            <p:custDataLst>
              <p:tags r:id="rId41"/>
            </p:custDataLst>
          </p:nvPr>
        </p:nvSpPr>
        <p:spPr bwMode="auto">
          <a:xfrm>
            <a:off x="22034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2C373A17-26B5-4023-9702-AB5FB583D855}" type="datetime'''1''''''''''''''''''''''9''''96'''''''''">
              <a:rPr lang="de-DE" altLang="en-US" sz="1400" smtClean="0">
                <a:sym typeface="+mn-lt"/>
              </a:rPr>
              <a:pPr lvl="1" algn="r">
                <a:spcBef>
                  <a:spcPct val="0"/>
                </a:spcBef>
                <a:spcAft>
                  <a:spcPct val="0"/>
                </a:spcAft>
              </a:pPr>
              <a:t>1996</a:t>
            </a:fld>
            <a:endParaRPr lang="de-DE" sz="1400" dirty="0">
              <a:sym typeface="+mn-lt"/>
            </a:endParaRPr>
          </a:p>
        </p:txBody>
      </p:sp>
      <p:sp>
        <p:nvSpPr>
          <p:cNvPr id="122" name="Textplatzhalter 2">
            <a:extLst>
              <a:ext uri="{FF2B5EF4-FFF2-40B4-BE49-F238E27FC236}">
                <a16:creationId xmlns:a16="http://schemas.microsoft.com/office/drawing/2014/main" xmlns="" id="{15A32B38-14BD-4CD0-A679-0AC4F7A518B2}"/>
              </a:ext>
            </a:extLst>
          </p:cNvPr>
          <p:cNvSpPr>
            <a:spLocks noGrp="1"/>
          </p:cNvSpPr>
          <p:nvPr>
            <p:custDataLst>
              <p:tags r:id="rId42"/>
            </p:custDataLst>
          </p:nvPr>
        </p:nvSpPr>
        <p:spPr bwMode="auto">
          <a:xfrm>
            <a:off x="2482850" y="5003800"/>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97EAAA99-C324-47E6-80B6-AB9BEF00550F}" type="datetime'''''''''''1''''''9''''''''''''''''''''9''''''''''7'''">
              <a:rPr lang="de-DE" altLang="en-US" sz="1400" smtClean="0">
                <a:sym typeface="+mn-lt"/>
              </a:rPr>
              <a:pPr lvl="1" algn="r">
                <a:spcBef>
                  <a:spcPct val="0"/>
                </a:spcBef>
                <a:spcAft>
                  <a:spcPct val="0"/>
                </a:spcAft>
              </a:pPr>
              <a:t>1997</a:t>
            </a:fld>
            <a:endParaRPr lang="de-DE" sz="1400" dirty="0">
              <a:sym typeface="+mn-lt"/>
            </a:endParaRPr>
          </a:p>
        </p:txBody>
      </p:sp>
      <p:sp>
        <p:nvSpPr>
          <p:cNvPr id="147" name="Textplatzhalter 2">
            <a:extLst>
              <a:ext uri="{FF2B5EF4-FFF2-40B4-BE49-F238E27FC236}">
                <a16:creationId xmlns:a16="http://schemas.microsoft.com/office/drawing/2014/main" xmlns="" id="{9C037FB8-E3C3-4EC8-9983-30EA5C2FC875}"/>
              </a:ext>
            </a:extLst>
          </p:cNvPr>
          <p:cNvSpPr>
            <a:spLocks noGrp="1"/>
          </p:cNvSpPr>
          <p:nvPr>
            <p:custDataLst>
              <p:tags r:id="rId43"/>
            </p:custDataLst>
          </p:nvPr>
        </p:nvSpPr>
        <p:spPr bwMode="auto">
          <a:xfrm>
            <a:off x="4524375" y="3582988"/>
            <a:ext cx="579438" cy="301625"/>
          </a:xfrm>
          <a:prstGeom prst="ellipse">
            <a:avLst/>
          </a:prstGeom>
          <a:solidFill>
            <a:schemeClr val="bg1"/>
          </a:solidFill>
          <a:ln w="9525" algn="ctr">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105FCFE7-769B-4996-9A40-31F5A1E4B573}" type="datetime'''''+''''''''''''''''''''''''''''''''''''6 %'''''''">
              <a:rPr lang="de-DE" altLang="en-US" sz="1400" b="1" smtClean="0"/>
              <a:pPr lvl="1" algn="ctr">
                <a:spcBef>
                  <a:spcPct val="0"/>
                </a:spcBef>
                <a:spcAft>
                  <a:spcPct val="0"/>
                </a:spcAft>
              </a:pPr>
              <a:t>+6 %</a:t>
            </a:fld>
            <a:endParaRPr lang="de-DE" sz="1400" b="1" dirty="0">
              <a:sym typeface="+mn-lt"/>
            </a:endParaRPr>
          </a:p>
        </p:txBody>
      </p:sp>
      <p:sp>
        <p:nvSpPr>
          <p:cNvPr id="58" name="Textplatzhalter 2">
            <a:extLst>
              <a:ext uri="{FF2B5EF4-FFF2-40B4-BE49-F238E27FC236}">
                <a16:creationId xmlns:a16="http://schemas.microsoft.com/office/drawing/2014/main" xmlns="" id="{5ECFF3C7-FEB3-4010-9713-ABB6D6FA4A45}"/>
              </a:ext>
            </a:extLst>
          </p:cNvPr>
          <p:cNvSpPr>
            <a:spLocks noGrp="1"/>
          </p:cNvSpPr>
          <p:nvPr>
            <p:custDataLst>
              <p:tags r:id="rId44"/>
            </p:custDataLst>
          </p:nvPr>
        </p:nvSpPr>
        <p:spPr bwMode="auto">
          <a:xfrm>
            <a:off x="7065963" y="2152650"/>
            <a:ext cx="858838" cy="301625"/>
          </a:xfrm>
          <a:prstGeom prst="ellipse">
            <a:avLst/>
          </a:prstGeom>
          <a:solidFill>
            <a:schemeClr val="bg1"/>
          </a:solidFill>
          <a:ln w="9525">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spcBef>
                <a:spcPct val="0"/>
              </a:spcBef>
              <a:spcAft>
                <a:spcPct val="0"/>
              </a:spcAft>
            </a:pPr>
            <a:fld id="{9A9E291F-D12C-425C-8A6B-6E65BF696DC1}" type="datetime'''+''''''''''1''''''4''''''''''''9'''''''' ''%'''''''''''">
              <a:rPr lang="de-DE" altLang="en-US" sz="1400" b="1" smtClean="0"/>
              <a:pPr lvl="1" algn="ctr">
                <a:spcBef>
                  <a:spcPct val="0"/>
                </a:spcBef>
                <a:spcAft>
                  <a:spcPct val="0"/>
                </a:spcAft>
              </a:pPr>
              <a:t>+149 %</a:t>
            </a:fld>
            <a:endParaRPr lang="de-DE" sz="1400" b="1" dirty="0">
              <a:sym typeface="+mn-lt"/>
            </a:endParaRPr>
          </a:p>
        </p:txBody>
      </p:sp>
      <p:cxnSp>
        <p:nvCxnSpPr>
          <p:cNvPr id="40" name="Gerader Verbinder 49">
            <a:extLst>
              <a:ext uri="{FF2B5EF4-FFF2-40B4-BE49-F238E27FC236}">
                <a16:creationId xmlns:a16="http://schemas.microsoft.com/office/drawing/2014/main" xmlns="" id="{27B19CDD-A174-42DF-AE27-1B9AE07D998F}"/>
              </a:ext>
            </a:extLst>
          </p:cNvPr>
          <p:cNvCxnSpPr>
            <a:cxnSpLocks/>
          </p:cNvCxnSpPr>
          <p:nvPr/>
        </p:nvCxnSpPr>
        <p:spPr>
          <a:xfrm>
            <a:off x="6781935" y="2492375"/>
            <a:ext cx="0" cy="2449513"/>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xmlns="" id="{D0E28AD6-CC4B-4965-8C9F-438E173A4B82}"/>
              </a:ext>
            </a:extLst>
          </p:cNvPr>
          <p:cNvSpPr txBox="1"/>
          <p:nvPr/>
        </p:nvSpPr>
        <p:spPr>
          <a:xfrm>
            <a:off x="451758" y="5847075"/>
            <a:ext cx="8164800" cy="246221"/>
          </a:xfrm>
          <a:prstGeom prst="rect">
            <a:avLst/>
          </a:prstGeom>
          <a:noFill/>
        </p:spPr>
        <p:txBody>
          <a:bodyPr wrap="square" rtlCol="0">
            <a:spAutoFit/>
          </a:bodyPr>
          <a:lstStyle/>
          <a:p>
            <a:pPr marL="0" lvl="1">
              <a:tabLst>
                <a:tab pos="180975" algn="l"/>
              </a:tabLst>
            </a:pPr>
            <a:r>
              <a:rPr lang="de-DE" sz="1000" dirty="0"/>
              <a:t>Quelle: Vortrag Winkler Agora Tagung</a:t>
            </a:r>
          </a:p>
        </p:txBody>
      </p:sp>
      <p:cxnSp>
        <p:nvCxnSpPr>
          <p:cNvPr id="63" name="Gerade Verbindung 6">
            <a:extLst>
              <a:ext uri="{FF2B5EF4-FFF2-40B4-BE49-F238E27FC236}">
                <a16:creationId xmlns:a16="http://schemas.microsoft.com/office/drawing/2014/main" xmlns="" id="{562092E3-F294-4EA1-AE6F-B88DFE35F838}"/>
              </a:ext>
            </a:extLst>
          </p:cNvPr>
          <p:cNvCxnSpPr/>
          <p:nvPr>
            <p:custDataLst>
              <p:tags r:id="rId45"/>
            </p:custDataLst>
          </p:nvPr>
        </p:nvCxnSpPr>
        <p:spPr>
          <a:xfrm>
            <a:off x="539552" y="5661248"/>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Gerader Verbinder 49">
            <a:extLst>
              <a:ext uri="{FF2B5EF4-FFF2-40B4-BE49-F238E27FC236}">
                <a16:creationId xmlns:a16="http://schemas.microsoft.com/office/drawing/2014/main" xmlns="" id="{F8596D8C-1F15-42DE-97F0-3EA276AA6291}"/>
              </a:ext>
            </a:extLst>
          </p:cNvPr>
          <p:cNvCxnSpPr>
            <a:cxnSpLocks/>
          </p:cNvCxnSpPr>
          <p:nvPr/>
        </p:nvCxnSpPr>
        <p:spPr>
          <a:xfrm flipH="1">
            <a:off x="547218" y="5784279"/>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65" name="Rechteck 64">
            <a:extLst>
              <a:ext uri="{FF2B5EF4-FFF2-40B4-BE49-F238E27FC236}">
                <a16:creationId xmlns:a16="http://schemas.microsoft.com/office/drawing/2014/main" xmlns="" id="{6130780A-EC0B-4820-8691-57D3DFB6F300}"/>
              </a:ext>
            </a:extLst>
          </p:cNvPr>
          <p:cNvSpPr/>
          <p:nvPr/>
        </p:nvSpPr>
        <p:spPr>
          <a:xfrm>
            <a:off x="887781" y="5661248"/>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Jahreskarte Juni 2012</a:t>
            </a:r>
          </a:p>
        </p:txBody>
      </p:sp>
      <p:sp>
        <p:nvSpPr>
          <p:cNvPr id="72" name="Textfeld 71">
            <a:extLst>
              <a:ext uri="{FF2B5EF4-FFF2-40B4-BE49-F238E27FC236}">
                <a16:creationId xmlns:a16="http://schemas.microsoft.com/office/drawing/2014/main" xmlns="" id="{558DD5C0-5312-442D-9271-BB7289D675F2}"/>
              </a:ext>
            </a:extLst>
          </p:cNvPr>
          <p:cNvSpPr txBox="1"/>
          <p:nvPr/>
        </p:nvSpPr>
        <p:spPr>
          <a:xfrm>
            <a:off x="1331640" y="4756502"/>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cxnSp>
        <p:nvCxnSpPr>
          <p:cNvPr id="77" name="Gerade Verbindung 6">
            <a:extLst>
              <a:ext uri="{FF2B5EF4-FFF2-40B4-BE49-F238E27FC236}">
                <a16:creationId xmlns:a16="http://schemas.microsoft.com/office/drawing/2014/main" xmlns="" id="{AC196C2E-9FB3-48C9-8E11-E2FFC22BD63C}"/>
              </a:ext>
            </a:extLst>
          </p:cNvPr>
          <p:cNvCxnSpPr>
            <a:cxnSpLocks/>
          </p:cNvCxnSpPr>
          <p:nvPr/>
        </p:nvCxnSpPr>
        <p:spPr>
          <a:xfrm>
            <a:off x="539751" y="2061023"/>
            <a:ext cx="807052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8" name="Gruppieren 77">
            <a:extLst>
              <a:ext uri="{FF2B5EF4-FFF2-40B4-BE49-F238E27FC236}">
                <a16:creationId xmlns:a16="http://schemas.microsoft.com/office/drawing/2014/main" xmlns="" id="{95B5E2BB-A883-4A31-8BF6-A5CADD9B4D55}"/>
              </a:ext>
            </a:extLst>
          </p:cNvPr>
          <p:cNvGrpSpPr/>
          <p:nvPr/>
        </p:nvGrpSpPr>
        <p:grpSpPr>
          <a:xfrm>
            <a:off x="8156091" y="1628800"/>
            <a:ext cx="390500" cy="390500"/>
            <a:chOff x="5508104" y="1628800"/>
            <a:chExt cx="360040" cy="360040"/>
          </a:xfrm>
        </p:grpSpPr>
        <p:sp>
          <p:nvSpPr>
            <p:cNvPr id="79" name="Ellipse 78">
              <a:extLst>
                <a:ext uri="{FF2B5EF4-FFF2-40B4-BE49-F238E27FC236}">
                  <a16:creationId xmlns:a16="http://schemas.microsoft.com/office/drawing/2014/main" xmlns="" id="{774B6077-40C4-437E-ACA4-075851B492CD}"/>
                </a:ext>
              </a:extLst>
            </p:cNvPr>
            <p:cNvSpPr/>
            <p:nvPr/>
          </p:nvSpPr>
          <p:spPr>
            <a:xfrm>
              <a:off x="5508104" y="1628800"/>
              <a:ext cx="360040" cy="3600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4EAB2EFE-8831-44DB-98D6-16E16AFE8ACB}"/>
                </a:ext>
              </a:extLst>
            </p:cNvPr>
            <p:cNvPicPr>
              <a:picLocks noChangeAspect="1"/>
            </p:cNvPicPr>
            <p:nvPr/>
          </p:nvPicPr>
          <p:blipFill>
            <a:blip r:embed="rId51" cstate="hqprint">
              <a:duotone>
                <a:schemeClr val="accent5">
                  <a:shade val="45000"/>
                  <a:satMod val="135000"/>
                </a:schemeClr>
                <a:prstClr val="white"/>
              </a:duotone>
              <a:extLst>
                <a:ext uri="{BEBA8EAE-BF5A-486C-A8C5-ECC9F3942E4B}">
                  <a14:imgProps xmlns:a14="http://schemas.microsoft.com/office/drawing/2010/main">
                    <a14:imgLayer r:embed="rId52">
                      <a14:imgEffect>
                        <a14:brightnessContrast contrast="-70000"/>
                      </a14:imgEffect>
                    </a14:imgLayer>
                  </a14:imgProps>
                </a:ext>
                <a:ext uri="{28A0092B-C50C-407E-A947-70E740481C1C}">
                  <a14:useLocalDpi xmlns:a14="http://schemas.microsoft.com/office/drawing/2010/main"/>
                </a:ext>
              </a:extLst>
            </a:blip>
            <a:stretch>
              <a:fillRect/>
            </a:stretch>
          </p:blipFill>
          <p:spPr>
            <a:xfrm>
              <a:off x="5582380" y="1689364"/>
              <a:ext cx="230527" cy="230527"/>
            </a:xfrm>
            <a:prstGeom prst="rect">
              <a:avLst/>
            </a:prstGeom>
          </p:spPr>
        </p:pic>
      </p:grpSp>
    </p:spTree>
    <p:extLst>
      <p:ext uri="{BB962C8B-B14F-4D97-AF65-F5344CB8AC3E}">
        <p14:creationId xmlns:p14="http://schemas.microsoft.com/office/powerpoint/2010/main" val="42172979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32F475D7-4CAE-4A55-A516-03FB8E3147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8293" name="think-cell Folie" r:id="rId8" imgW="395" imgH="396" progId="TCLayout.ActiveDocument.1">
                  <p:embed/>
                </p:oleObj>
              </mc:Choice>
              <mc:Fallback>
                <p:oleObj name="think-cell Folie" r:id="rId8" imgW="395" imgH="396" progId="TCLayout.ActiveDocument.1">
                  <p:embed/>
                  <p:pic>
                    <p:nvPicPr>
                      <p:cNvPr id="5" name="Objekt 4" hidden="1">
                        <a:extLst>
                          <a:ext uri="{FF2B5EF4-FFF2-40B4-BE49-F238E27FC236}">
                            <a16:creationId xmlns:a16="http://schemas.microsoft.com/office/drawing/2014/main" xmlns="" id="{32F475D7-4CAE-4A55-A516-03FB8E31470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1790C445-5614-47C3-AEDD-3CE9FC415B1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grpSp>
        <p:nvGrpSpPr>
          <p:cNvPr id="11" name="Gruppieren 10">
            <a:extLst>
              <a:ext uri="{FF2B5EF4-FFF2-40B4-BE49-F238E27FC236}">
                <a16:creationId xmlns:a16="http://schemas.microsoft.com/office/drawing/2014/main" xmlns="" id="{BCD63699-4B14-48A8-8687-9C77E388C359}"/>
              </a:ext>
            </a:extLst>
          </p:cNvPr>
          <p:cNvGrpSpPr/>
          <p:nvPr/>
        </p:nvGrpSpPr>
        <p:grpSpPr bwMode="gray">
          <a:xfrm>
            <a:off x="1733097" y="1535256"/>
            <a:ext cx="3501317" cy="4392613"/>
            <a:chOff x="1733097" y="1628775"/>
            <a:chExt cx="3501317" cy="4392613"/>
          </a:xfrm>
        </p:grpSpPr>
        <p:grpSp>
          <p:nvGrpSpPr>
            <p:cNvPr id="9" name="Gruppieren 8">
              <a:extLst>
                <a:ext uri="{FF2B5EF4-FFF2-40B4-BE49-F238E27FC236}">
                  <a16:creationId xmlns:a16="http://schemas.microsoft.com/office/drawing/2014/main" xmlns="" id="{76944A1B-91CD-48EC-947C-D1DBDA17F76B}"/>
                </a:ext>
              </a:extLst>
            </p:cNvPr>
            <p:cNvGrpSpPr/>
            <p:nvPr/>
          </p:nvGrpSpPr>
          <p:grpSpPr bwMode="gray">
            <a:xfrm>
              <a:off x="1733097" y="1660059"/>
              <a:ext cx="3358719" cy="4152747"/>
              <a:chOff x="2028877" y="1660059"/>
              <a:chExt cx="3358719" cy="4152747"/>
            </a:xfrm>
          </p:grpSpPr>
          <p:grpSp>
            <p:nvGrpSpPr>
              <p:cNvPr id="45" name="Gruppieren 44">
                <a:extLst>
                  <a:ext uri="{FF2B5EF4-FFF2-40B4-BE49-F238E27FC236}">
                    <a16:creationId xmlns:a16="http://schemas.microsoft.com/office/drawing/2014/main" xmlns="" id="{AE217313-6592-4E4B-8DCE-39A146FEA457}"/>
                  </a:ext>
                </a:extLst>
              </p:cNvPr>
              <p:cNvGrpSpPr/>
              <p:nvPr/>
            </p:nvGrpSpPr>
            <p:grpSpPr bwMode="gray">
              <a:xfrm>
                <a:off x="2028877" y="1660059"/>
                <a:ext cx="3358719" cy="4152747"/>
                <a:chOff x="521458" y="2321774"/>
                <a:chExt cx="3161346" cy="3908714"/>
              </a:xfrm>
            </p:grpSpPr>
            <p:sp>
              <p:nvSpPr>
                <p:cNvPr id="190" name="Freeform 6">
                  <a:extLst>
                    <a:ext uri="{FF2B5EF4-FFF2-40B4-BE49-F238E27FC236}">
                      <a16:creationId xmlns:a16="http://schemas.microsoft.com/office/drawing/2014/main" xmlns="" id="{DC79085C-7E4E-4644-903D-8257B91C594D}"/>
                    </a:ext>
                  </a:extLst>
                </p:cNvPr>
                <p:cNvSpPr>
                  <a:spLocks/>
                </p:cNvSpPr>
                <p:nvPr/>
              </p:nvSpPr>
              <p:spPr bwMode="gray">
                <a:xfrm>
                  <a:off x="521458" y="5146997"/>
                  <a:ext cx="390872" cy="555114"/>
                </a:xfrm>
                <a:custGeom>
                  <a:avLst/>
                  <a:gdLst>
                    <a:gd name="T0" fmla="*/ 177 w 307"/>
                    <a:gd name="T1" fmla="*/ 0 h 436"/>
                    <a:gd name="T2" fmla="*/ 194 w 307"/>
                    <a:gd name="T3" fmla="*/ 37 h 436"/>
                    <a:gd name="T4" fmla="*/ 211 w 307"/>
                    <a:gd name="T5" fmla="*/ 38 h 436"/>
                    <a:gd name="T6" fmla="*/ 256 w 307"/>
                    <a:gd name="T7" fmla="*/ 45 h 436"/>
                    <a:gd name="T8" fmla="*/ 279 w 307"/>
                    <a:gd name="T9" fmla="*/ 56 h 436"/>
                    <a:gd name="T10" fmla="*/ 299 w 307"/>
                    <a:gd name="T11" fmla="*/ 89 h 436"/>
                    <a:gd name="T12" fmla="*/ 304 w 307"/>
                    <a:gd name="T13" fmla="*/ 103 h 436"/>
                    <a:gd name="T14" fmla="*/ 248 w 307"/>
                    <a:gd name="T15" fmla="*/ 126 h 436"/>
                    <a:gd name="T16" fmla="*/ 232 w 307"/>
                    <a:gd name="T17" fmla="*/ 167 h 436"/>
                    <a:gd name="T18" fmla="*/ 216 w 307"/>
                    <a:gd name="T19" fmla="*/ 205 h 436"/>
                    <a:gd name="T20" fmla="*/ 205 w 307"/>
                    <a:gd name="T21" fmla="*/ 234 h 436"/>
                    <a:gd name="T22" fmla="*/ 180 w 307"/>
                    <a:gd name="T23" fmla="*/ 227 h 436"/>
                    <a:gd name="T24" fmla="*/ 175 w 307"/>
                    <a:gd name="T25" fmla="*/ 257 h 436"/>
                    <a:gd name="T26" fmla="*/ 178 w 307"/>
                    <a:gd name="T27" fmla="*/ 287 h 436"/>
                    <a:gd name="T28" fmla="*/ 155 w 307"/>
                    <a:gd name="T29" fmla="*/ 314 h 436"/>
                    <a:gd name="T30" fmla="*/ 152 w 307"/>
                    <a:gd name="T31" fmla="*/ 354 h 436"/>
                    <a:gd name="T32" fmla="*/ 156 w 307"/>
                    <a:gd name="T33" fmla="*/ 378 h 436"/>
                    <a:gd name="T34" fmla="*/ 116 w 307"/>
                    <a:gd name="T35" fmla="*/ 398 h 436"/>
                    <a:gd name="T36" fmla="*/ 115 w 307"/>
                    <a:gd name="T37" fmla="*/ 432 h 436"/>
                    <a:gd name="T38" fmla="*/ 59 w 307"/>
                    <a:gd name="T39" fmla="*/ 436 h 436"/>
                    <a:gd name="T40" fmla="*/ 19 w 307"/>
                    <a:gd name="T41" fmla="*/ 406 h 436"/>
                    <a:gd name="T42" fmla="*/ 0 w 307"/>
                    <a:gd name="T43" fmla="*/ 395 h 436"/>
                    <a:gd name="T44" fmla="*/ 22 w 307"/>
                    <a:gd name="T45" fmla="*/ 362 h 436"/>
                    <a:gd name="T46" fmla="*/ 48 w 307"/>
                    <a:gd name="T47" fmla="*/ 314 h 436"/>
                    <a:gd name="T48" fmla="*/ 44 w 307"/>
                    <a:gd name="T49" fmla="*/ 288 h 436"/>
                    <a:gd name="T50" fmla="*/ 30 w 307"/>
                    <a:gd name="T51" fmla="*/ 272 h 436"/>
                    <a:gd name="T52" fmla="*/ 52 w 307"/>
                    <a:gd name="T53" fmla="*/ 252 h 436"/>
                    <a:gd name="T54" fmla="*/ 22 w 307"/>
                    <a:gd name="T55" fmla="*/ 256 h 436"/>
                    <a:gd name="T56" fmla="*/ 30 w 307"/>
                    <a:gd name="T57" fmla="*/ 226 h 436"/>
                    <a:gd name="T58" fmla="*/ 41 w 307"/>
                    <a:gd name="T59" fmla="*/ 200 h 436"/>
                    <a:gd name="T60" fmla="*/ 52 w 307"/>
                    <a:gd name="T61" fmla="*/ 186 h 436"/>
                    <a:gd name="T62" fmla="*/ 82 w 307"/>
                    <a:gd name="T63" fmla="*/ 167 h 436"/>
                    <a:gd name="T64" fmla="*/ 122 w 307"/>
                    <a:gd name="T65" fmla="*/ 115 h 436"/>
                    <a:gd name="T66" fmla="*/ 137 w 307"/>
                    <a:gd name="T67" fmla="*/ 78 h 436"/>
                    <a:gd name="T68" fmla="*/ 148 w 307"/>
                    <a:gd name="T69" fmla="*/ 3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 h="436">
                      <a:moveTo>
                        <a:pt x="155" y="4"/>
                      </a:moveTo>
                      <a:lnTo>
                        <a:pt x="177" y="0"/>
                      </a:lnTo>
                      <a:lnTo>
                        <a:pt x="192" y="17"/>
                      </a:lnTo>
                      <a:lnTo>
                        <a:pt x="194" y="37"/>
                      </a:lnTo>
                      <a:lnTo>
                        <a:pt x="200" y="41"/>
                      </a:lnTo>
                      <a:lnTo>
                        <a:pt x="211" y="38"/>
                      </a:lnTo>
                      <a:lnTo>
                        <a:pt x="246" y="52"/>
                      </a:lnTo>
                      <a:lnTo>
                        <a:pt x="256" y="45"/>
                      </a:lnTo>
                      <a:lnTo>
                        <a:pt x="270" y="44"/>
                      </a:lnTo>
                      <a:lnTo>
                        <a:pt x="279" y="56"/>
                      </a:lnTo>
                      <a:lnTo>
                        <a:pt x="287" y="76"/>
                      </a:lnTo>
                      <a:lnTo>
                        <a:pt x="299" y="89"/>
                      </a:lnTo>
                      <a:lnTo>
                        <a:pt x="307" y="96"/>
                      </a:lnTo>
                      <a:lnTo>
                        <a:pt x="304" y="103"/>
                      </a:lnTo>
                      <a:lnTo>
                        <a:pt x="277" y="110"/>
                      </a:lnTo>
                      <a:lnTo>
                        <a:pt x="248" y="126"/>
                      </a:lnTo>
                      <a:lnTo>
                        <a:pt x="249" y="153"/>
                      </a:lnTo>
                      <a:lnTo>
                        <a:pt x="232" y="167"/>
                      </a:lnTo>
                      <a:lnTo>
                        <a:pt x="218" y="179"/>
                      </a:lnTo>
                      <a:lnTo>
                        <a:pt x="216" y="205"/>
                      </a:lnTo>
                      <a:lnTo>
                        <a:pt x="216" y="222"/>
                      </a:lnTo>
                      <a:lnTo>
                        <a:pt x="205" y="234"/>
                      </a:lnTo>
                      <a:lnTo>
                        <a:pt x="196" y="222"/>
                      </a:lnTo>
                      <a:lnTo>
                        <a:pt x="180" y="227"/>
                      </a:lnTo>
                      <a:lnTo>
                        <a:pt x="178" y="235"/>
                      </a:lnTo>
                      <a:lnTo>
                        <a:pt x="175" y="257"/>
                      </a:lnTo>
                      <a:lnTo>
                        <a:pt x="181" y="265"/>
                      </a:lnTo>
                      <a:lnTo>
                        <a:pt x="178" y="287"/>
                      </a:lnTo>
                      <a:lnTo>
                        <a:pt x="168" y="297"/>
                      </a:lnTo>
                      <a:lnTo>
                        <a:pt x="155" y="314"/>
                      </a:lnTo>
                      <a:lnTo>
                        <a:pt x="149" y="328"/>
                      </a:lnTo>
                      <a:lnTo>
                        <a:pt x="152" y="354"/>
                      </a:lnTo>
                      <a:lnTo>
                        <a:pt x="163" y="369"/>
                      </a:lnTo>
                      <a:lnTo>
                        <a:pt x="156" y="378"/>
                      </a:lnTo>
                      <a:lnTo>
                        <a:pt x="127" y="387"/>
                      </a:lnTo>
                      <a:lnTo>
                        <a:pt x="116" y="398"/>
                      </a:lnTo>
                      <a:lnTo>
                        <a:pt x="115" y="410"/>
                      </a:lnTo>
                      <a:lnTo>
                        <a:pt x="115" y="432"/>
                      </a:lnTo>
                      <a:lnTo>
                        <a:pt x="82" y="432"/>
                      </a:lnTo>
                      <a:lnTo>
                        <a:pt x="59" y="436"/>
                      </a:lnTo>
                      <a:lnTo>
                        <a:pt x="33" y="406"/>
                      </a:lnTo>
                      <a:lnTo>
                        <a:pt x="19" y="406"/>
                      </a:lnTo>
                      <a:lnTo>
                        <a:pt x="7" y="406"/>
                      </a:lnTo>
                      <a:lnTo>
                        <a:pt x="0" y="395"/>
                      </a:lnTo>
                      <a:lnTo>
                        <a:pt x="7" y="384"/>
                      </a:lnTo>
                      <a:lnTo>
                        <a:pt x="22" y="362"/>
                      </a:lnTo>
                      <a:lnTo>
                        <a:pt x="30" y="340"/>
                      </a:lnTo>
                      <a:lnTo>
                        <a:pt x="48" y="314"/>
                      </a:lnTo>
                      <a:lnTo>
                        <a:pt x="52" y="299"/>
                      </a:lnTo>
                      <a:lnTo>
                        <a:pt x="44" y="288"/>
                      </a:lnTo>
                      <a:lnTo>
                        <a:pt x="33" y="278"/>
                      </a:lnTo>
                      <a:lnTo>
                        <a:pt x="30" y="272"/>
                      </a:lnTo>
                      <a:lnTo>
                        <a:pt x="44" y="267"/>
                      </a:lnTo>
                      <a:lnTo>
                        <a:pt x="52" y="252"/>
                      </a:lnTo>
                      <a:lnTo>
                        <a:pt x="37" y="248"/>
                      </a:lnTo>
                      <a:lnTo>
                        <a:pt x="22" y="256"/>
                      </a:lnTo>
                      <a:lnTo>
                        <a:pt x="22" y="237"/>
                      </a:lnTo>
                      <a:lnTo>
                        <a:pt x="30" y="226"/>
                      </a:lnTo>
                      <a:lnTo>
                        <a:pt x="37" y="215"/>
                      </a:lnTo>
                      <a:lnTo>
                        <a:pt x="41" y="200"/>
                      </a:lnTo>
                      <a:lnTo>
                        <a:pt x="44" y="189"/>
                      </a:lnTo>
                      <a:lnTo>
                        <a:pt x="52" y="186"/>
                      </a:lnTo>
                      <a:lnTo>
                        <a:pt x="63" y="193"/>
                      </a:lnTo>
                      <a:lnTo>
                        <a:pt x="82" y="167"/>
                      </a:lnTo>
                      <a:lnTo>
                        <a:pt x="93" y="149"/>
                      </a:lnTo>
                      <a:lnTo>
                        <a:pt x="122" y="115"/>
                      </a:lnTo>
                      <a:lnTo>
                        <a:pt x="122" y="101"/>
                      </a:lnTo>
                      <a:lnTo>
                        <a:pt x="137" y="78"/>
                      </a:lnTo>
                      <a:lnTo>
                        <a:pt x="141" y="52"/>
                      </a:lnTo>
                      <a:lnTo>
                        <a:pt x="148" y="38"/>
                      </a:lnTo>
                      <a:lnTo>
                        <a:pt x="155" y="4"/>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nvGrpSpPr>
                <p:cNvPr id="191" name="Group 11">
                  <a:extLst>
                    <a:ext uri="{FF2B5EF4-FFF2-40B4-BE49-F238E27FC236}">
                      <a16:creationId xmlns:a16="http://schemas.microsoft.com/office/drawing/2014/main" xmlns="" id="{D771C92F-1838-4657-A81D-35BCF2FC126E}"/>
                    </a:ext>
                  </a:extLst>
                </p:cNvPr>
                <p:cNvGrpSpPr>
                  <a:grpSpLocks/>
                </p:cNvGrpSpPr>
                <p:nvPr/>
              </p:nvGrpSpPr>
              <p:grpSpPr bwMode="gray">
                <a:xfrm>
                  <a:off x="667876" y="4972568"/>
                  <a:ext cx="1072031" cy="914155"/>
                  <a:chOff x="679" y="2614"/>
                  <a:chExt cx="842" cy="718"/>
                </a:xfrm>
                <a:solidFill>
                  <a:schemeClr val="accent3"/>
                </a:solidFill>
              </p:grpSpPr>
              <p:sp>
                <p:nvSpPr>
                  <p:cNvPr id="192" name="Freeform 7">
                    <a:extLst>
                      <a:ext uri="{FF2B5EF4-FFF2-40B4-BE49-F238E27FC236}">
                        <a16:creationId xmlns:a16="http://schemas.microsoft.com/office/drawing/2014/main" xmlns="" id="{1874965D-5A61-45D7-9826-B03AC05200E1}"/>
                      </a:ext>
                    </a:extLst>
                  </p:cNvPr>
                  <p:cNvSpPr>
                    <a:spLocks/>
                  </p:cNvSpPr>
                  <p:nvPr/>
                </p:nvSpPr>
                <p:spPr bwMode="gray">
                  <a:xfrm>
                    <a:off x="679" y="2614"/>
                    <a:ext cx="811" cy="718"/>
                  </a:xfrm>
                  <a:custGeom>
                    <a:avLst/>
                    <a:gdLst>
                      <a:gd name="T0" fmla="*/ 37 w 811"/>
                      <a:gd name="T1" fmla="*/ 130 h 718"/>
                      <a:gd name="T2" fmla="*/ 63 w 811"/>
                      <a:gd name="T3" fmla="*/ 78 h 718"/>
                      <a:gd name="T4" fmla="*/ 56 w 811"/>
                      <a:gd name="T5" fmla="*/ 59 h 718"/>
                      <a:gd name="T6" fmla="*/ 44 w 811"/>
                      <a:gd name="T7" fmla="*/ 41 h 718"/>
                      <a:gd name="T8" fmla="*/ 89 w 811"/>
                      <a:gd name="T9" fmla="*/ 19 h 718"/>
                      <a:gd name="T10" fmla="*/ 122 w 811"/>
                      <a:gd name="T11" fmla="*/ 11 h 718"/>
                      <a:gd name="T12" fmla="*/ 156 w 811"/>
                      <a:gd name="T13" fmla="*/ 4 h 718"/>
                      <a:gd name="T14" fmla="*/ 223 w 811"/>
                      <a:gd name="T15" fmla="*/ 56 h 718"/>
                      <a:gd name="T16" fmla="*/ 270 w 811"/>
                      <a:gd name="T17" fmla="*/ 59 h 718"/>
                      <a:gd name="T18" fmla="*/ 399 w 811"/>
                      <a:gd name="T19" fmla="*/ 119 h 718"/>
                      <a:gd name="T20" fmla="*/ 454 w 811"/>
                      <a:gd name="T21" fmla="*/ 133 h 718"/>
                      <a:gd name="T22" fmla="*/ 492 w 811"/>
                      <a:gd name="T23" fmla="*/ 163 h 718"/>
                      <a:gd name="T24" fmla="*/ 529 w 811"/>
                      <a:gd name="T25" fmla="*/ 167 h 718"/>
                      <a:gd name="T26" fmla="*/ 529 w 811"/>
                      <a:gd name="T27" fmla="*/ 185 h 718"/>
                      <a:gd name="T28" fmla="*/ 588 w 811"/>
                      <a:gd name="T29" fmla="*/ 241 h 718"/>
                      <a:gd name="T30" fmla="*/ 636 w 811"/>
                      <a:gd name="T31" fmla="*/ 263 h 718"/>
                      <a:gd name="T32" fmla="*/ 710 w 811"/>
                      <a:gd name="T33" fmla="*/ 285 h 718"/>
                      <a:gd name="T34" fmla="*/ 725 w 811"/>
                      <a:gd name="T35" fmla="*/ 311 h 718"/>
                      <a:gd name="T36" fmla="*/ 755 w 811"/>
                      <a:gd name="T37" fmla="*/ 322 h 718"/>
                      <a:gd name="T38" fmla="*/ 785 w 811"/>
                      <a:gd name="T39" fmla="*/ 322 h 718"/>
                      <a:gd name="T40" fmla="*/ 804 w 811"/>
                      <a:gd name="T41" fmla="*/ 322 h 718"/>
                      <a:gd name="T42" fmla="*/ 811 w 811"/>
                      <a:gd name="T43" fmla="*/ 356 h 718"/>
                      <a:gd name="T44" fmla="*/ 740 w 811"/>
                      <a:gd name="T45" fmla="*/ 411 h 718"/>
                      <a:gd name="T46" fmla="*/ 640 w 811"/>
                      <a:gd name="T47" fmla="*/ 429 h 718"/>
                      <a:gd name="T48" fmla="*/ 614 w 811"/>
                      <a:gd name="T49" fmla="*/ 455 h 718"/>
                      <a:gd name="T50" fmla="*/ 584 w 811"/>
                      <a:gd name="T51" fmla="*/ 466 h 718"/>
                      <a:gd name="T52" fmla="*/ 554 w 811"/>
                      <a:gd name="T53" fmla="*/ 499 h 718"/>
                      <a:gd name="T54" fmla="*/ 521 w 811"/>
                      <a:gd name="T55" fmla="*/ 522 h 718"/>
                      <a:gd name="T56" fmla="*/ 532 w 811"/>
                      <a:gd name="T57" fmla="*/ 562 h 718"/>
                      <a:gd name="T58" fmla="*/ 536 w 811"/>
                      <a:gd name="T59" fmla="*/ 592 h 718"/>
                      <a:gd name="T60" fmla="*/ 517 w 811"/>
                      <a:gd name="T61" fmla="*/ 603 h 718"/>
                      <a:gd name="T62" fmla="*/ 466 w 811"/>
                      <a:gd name="T63" fmla="*/ 648 h 718"/>
                      <a:gd name="T64" fmla="*/ 447 w 811"/>
                      <a:gd name="T65" fmla="*/ 666 h 718"/>
                      <a:gd name="T66" fmla="*/ 414 w 811"/>
                      <a:gd name="T67" fmla="*/ 677 h 718"/>
                      <a:gd name="T68" fmla="*/ 380 w 811"/>
                      <a:gd name="T69" fmla="*/ 685 h 718"/>
                      <a:gd name="T70" fmla="*/ 362 w 811"/>
                      <a:gd name="T71" fmla="*/ 707 h 718"/>
                      <a:gd name="T72" fmla="*/ 332 w 811"/>
                      <a:gd name="T73" fmla="*/ 714 h 718"/>
                      <a:gd name="T74" fmla="*/ 273 w 811"/>
                      <a:gd name="T75" fmla="*/ 707 h 718"/>
                      <a:gd name="T76" fmla="*/ 182 w 811"/>
                      <a:gd name="T77" fmla="*/ 677 h 718"/>
                      <a:gd name="T78" fmla="*/ 137 w 811"/>
                      <a:gd name="T79" fmla="*/ 696 h 718"/>
                      <a:gd name="T80" fmla="*/ 96 w 811"/>
                      <a:gd name="T81" fmla="*/ 711 h 718"/>
                      <a:gd name="T82" fmla="*/ 44 w 811"/>
                      <a:gd name="T83" fmla="*/ 674 h 718"/>
                      <a:gd name="T84" fmla="*/ 26 w 811"/>
                      <a:gd name="T85" fmla="*/ 588 h 718"/>
                      <a:gd name="T86" fmla="*/ 0 w 811"/>
                      <a:gd name="T87" fmla="*/ 559 h 718"/>
                      <a:gd name="T88" fmla="*/ 11 w 811"/>
                      <a:gd name="T89" fmla="*/ 525 h 718"/>
                      <a:gd name="T90" fmla="*/ 48 w 811"/>
                      <a:gd name="T91" fmla="*/ 507 h 718"/>
                      <a:gd name="T92" fmla="*/ 33 w 811"/>
                      <a:gd name="T93" fmla="*/ 466 h 718"/>
                      <a:gd name="T94" fmla="*/ 67 w 811"/>
                      <a:gd name="T95" fmla="*/ 422 h 718"/>
                      <a:gd name="T96" fmla="*/ 59 w 811"/>
                      <a:gd name="T97" fmla="*/ 389 h 718"/>
                      <a:gd name="T98" fmla="*/ 70 w 811"/>
                      <a:gd name="T99" fmla="*/ 360 h 718"/>
                      <a:gd name="T100" fmla="*/ 89 w 811"/>
                      <a:gd name="T101" fmla="*/ 371 h 718"/>
                      <a:gd name="T102" fmla="*/ 104 w 811"/>
                      <a:gd name="T103" fmla="*/ 315 h 718"/>
                      <a:gd name="T104" fmla="*/ 133 w 811"/>
                      <a:gd name="T105" fmla="*/ 274 h 718"/>
                      <a:gd name="T106" fmla="*/ 163 w 811"/>
                      <a:gd name="T107" fmla="*/ 245 h 718"/>
                      <a:gd name="T108" fmla="*/ 194 w 811"/>
                      <a:gd name="T109" fmla="*/ 233 h 718"/>
                      <a:gd name="T110" fmla="*/ 159 w 811"/>
                      <a:gd name="T111" fmla="*/ 185 h 718"/>
                      <a:gd name="T112" fmla="*/ 130 w 811"/>
                      <a:gd name="T113" fmla="*/ 189 h 718"/>
                      <a:gd name="T114" fmla="*/ 93 w 811"/>
                      <a:gd name="T115" fmla="*/ 174 h 718"/>
                      <a:gd name="T116" fmla="*/ 78 w 811"/>
                      <a:gd name="T117" fmla="*/ 170 h 718"/>
                      <a:gd name="T118" fmla="*/ 67 w 811"/>
                      <a:gd name="T119" fmla="*/ 141 h 718"/>
                      <a:gd name="T120" fmla="*/ 41 w 811"/>
                      <a:gd name="T121" fmla="*/ 14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1" h="718">
                        <a:moveTo>
                          <a:pt x="41" y="141"/>
                        </a:moveTo>
                        <a:lnTo>
                          <a:pt x="37" y="130"/>
                        </a:lnTo>
                        <a:lnTo>
                          <a:pt x="41" y="115"/>
                        </a:lnTo>
                        <a:lnTo>
                          <a:pt x="63" y="78"/>
                        </a:lnTo>
                        <a:lnTo>
                          <a:pt x="52" y="70"/>
                        </a:lnTo>
                        <a:lnTo>
                          <a:pt x="56" y="59"/>
                        </a:lnTo>
                        <a:lnTo>
                          <a:pt x="44" y="56"/>
                        </a:lnTo>
                        <a:lnTo>
                          <a:pt x="44" y="41"/>
                        </a:lnTo>
                        <a:lnTo>
                          <a:pt x="52" y="30"/>
                        </a:lnTo>
                        <a:lnTo>
                          <a:pt x="89" y="19"/>
                        </a:lnTo>
                        <a:lnTo>
                          <a:pt x="119" y="22"/>
                        </a:lnTo>
                        <a:lnTo>
                          <a:pt x="122" y="11"/>
                        </a:lnTo>
                        <a:lnTo>
                          <a:pt x="144" y="0"/>
                        </a:lnTo>
                        <a:lnTo>
                          <a:pt x="156" y="4"/>
                        </a:lnTo>
                        <a:lnTo>
                          <a:pt x="182" y="37"/>
                        </a:lnTo>
                        <a:lnTo>
                          <a:pt x="223" y="56"/>
                        </a:lnTo>
                        <a:lnTo>
                          <a:pt x="260" y="56"/>
                        </a:lnTo>
                        <a:lnTo>
                          <a:pt x="270" y="59"/>
                        </a:lnTo>
                        <a:lnTo>
                          <a:pt x="369" y="115"/>
                        </a:lnTo>
                        <a:lnTo>
                          <a:pt x="399" y="119"/>
                        </a:lnTo>
                        <a:lnTo>
                          <a:pt x="421" y="141"/>
                        </a:lnTo>
                        <a:lnTo>
                          <a:pt x="454" y="133"/>
                        </a:lnTo>
                        <a:lnTo>
                          <a:pt x="473" y="145"/>
                        </a:lnTo>
                        <a:lnTo>
                          <a:pt x="492" y="163"/>
                        </a:lnTo>
                        <a:lnTo>
                          <a:pt x="514" y="163"/>
                        </a:lnTo>
                        <a:lnTo>
                          <a:pt x="529" y="167"/>
                        </a:lnTo>
                        <a:lnTo>
                          <a:pt x="536" y="174"/>
                        </a:lnTo>
                        <a:lnTo>
                          <a:pt x="529" y="185"/>
                        </a:lnTo>
                        <a:lnTo>
                          <a:pt x="529" y="200"/>
                        </a:lnTo>
                        <a:lnTo>
                          <a:pt x="588" y="241"/>
                        </a:lnTo>
                        <a:lnTo>
                          <a:pt x="621" y="267"/>
                        </a:lnTo>
                        <a:lnTo>
                          <a:pt x="636" y="263"/>
                        </a:lnTo>
                        <a:lnTo>
                          <a:pt x="654" y="259"/>
                        </a:lnTo>
                        <a:lnTo>
                          <a:pt x="710" y="285"/>
                        </a:lnTo>
                        <a:lnTo>
                          <a:pt x="717" y="304"/>
                        </a:lnTo>
                        <a:lnTo>
                          <a:pt x="725" y="311"/>
                        </a:lnTo>
                        <a:lnTo>
                          <a:pt x="743" y="315"/>
                        </a:lnTo>
                        <a:lnTo>
                          <a:pt x="755" y="322"/>
                        </a:lnTo>
                        <a:lnTo>
                          <a:pt x="770" y="322"/>
                        </a:lnTo>
                        <a:lnTo>
                          <a:pt x="785" y="322"/>
                        </a:lnTo>
                        <a:lnTo>
                          <a:pt x="800" y="326"/>
                        </a:lnTo>
                        <a:lnTo>
                          <a:pt x="804" y="322"/>
                        </a:lnTo>
                        <a:lnTo>
                          <a:pt x="811" y="337"/>
                        </a:lnTo>
                        <a:lnTo>
                          <a:pt x="811" y="356"/>
                        </a:lnTo>
                        <a:lnTo>
                          <a:pt x="800" y="367"/>
                        </a:lnTo>
                        <a:lnTo>
                          <a:pt x="740" y="411"/>
                        </a:lnTo>
                        <a:lnTo>
                          <a:pt x="714" y="411"/>
                        </a:lnTo>
                        <a:lnTo>
                          <a:pt x="640" y="429"/>
                        </a:lnTo>
                        <a:lnTo>
                          <a:pt x="614" y="433"/>
                        </a:lnTo>
                        <a:lnTo>
                          <a:pt x="614" y="455"/>
                        </a:lnTo>
                        <a:lnTo>
                          <a:pt x="599" y="455"/>
                        </a:lnTo>
                        <a:lnTo>
                          <a:pt x="584" y="466"/>
                        </a:lnTo>
                        <a:lnTo>
                          <a:pt x="569" y="485"/>
                        </a:lnTo>
                        <a:lnTo>
                          <a:pt x="554" y="499"/>
                        </a:lnTo>
                        <a:lnTo>
                          <a:pt x="536" y="503"/>
                        </a:lnTo>
                        <a:lnTo>
                          <a:pt x="521" y="522"/>
                        </a:lnTo>
                        <a:lnTo>
                          <a:pt x="521" y="548"/>
                        </a:lnTo>
                        <a:lnTo>
                          <a:pt x="532" y="562"/>
                        </a:lnTo>
                        <a:lnTo>
                          <a:pt x="536" y="573"/>
                        </a:lnTo>
                        <a:lnTo>
                          <a:pt x="536" y="592"/>
                        </a:lnTo>
                        <a:lnTo>
                          <a:pt x="532" y="599"/>
                        </a:lnTo>
                        <a:lnTo>
                          <a:pt x="517" y="603"/>
                        </a:lnTo>
                        <a:lnTo>
                          <a:pt x="495" y="622"/>
                        </a:lnTo>
                        <a:lnTo>
                          <a:pt x="466" y="648"/>
                        </a:lnTo>
                        <a:lnTo>
                          <a:pt x="454" y="659"/>
                        </a:lnTo>
                        <a:lnTo>
                          <a:pt x="447" y="666"/>
                        </a:lnTo>
                        <a:lnTo>
                          <a:pt x="447" y="677"/>
                        </a:lnTo>
                        <a:lnTo>
                          <a:pt x="414" y="677"/>
                        </a:lnTo>
                        <a:lnTo>
                          <a:pt x="395" y="681"/>
                        </a:lnTo>
                        <a:lnTo>
                          <a:pt x="380" y="685"/>
                        </a:lnTo>
                        <a:lnTo>
                          <a:pt x="373" y="692"/>
                        </a:lnTo>
                        <a:lnTo>
                          <a:pt x="362" y="707"/>
                        </a:lnTo>
                        <a:lnTo>
                          <a:pt x="343" y="714"/>
                        </a:lnTo>
                        <a:lnTo>
                          <a:pt x="332" y="714"/>
                        </a:lnTo>
                        <a:lnTo>
                          <a:pt x="310" y="711"/>
                        </a:lnTo>
                        <a:lnTo>
                          <a:pt x="273" y="707"/>
                        </a:lnTo>
                        <a:lnTo>
                          <a:pt x="208" y="681"/>
                        </a:lnTo>
                        <a:lnTo>
                          <a:pt x="182" y="677"/>
                        </a:lnTo>
                        <a:lnTo>
                          <a:pt x="156" y="685"/>
                        </a:lnTo>
                        <a:lnTo>
                          <a:pt x="137" y="696"/>
                        </a:lnTo>
                        <a:lnTo>
                          <a:pt x="115" y="699"/>
                        </a:lnTo>
                        <a:lnTo>
                          <a:pt x="96" y="711"/>
                        </a:lnTo>
                        <a:lnTo>
                          <a:pt x="85" y="718"/>
                        </a:lnTo>
                        <a:lnTo>
                          <a:pt x="44" y="674"/>
                        </a:lnTo>
                        <a:lnTo>
                          <a:pt x="44" y="611"/>
                        </a:lnTo>
                        <a:lnTo>
                          <a:pt x="26" y="588"/>
                        </a:lnTo>
                        <a:lnTo>
                          <a:pt x="4" y="570"/>
                        </a:lnTo>
                        <a:lnTo>
                          <a:pt x="0" y="559"/>
                        </a:lnTo>
                        <a:lnTo>
                          <a:pt x="0" y="536"/>
                        </a:lnTo>
                        <a:lnTo>
                          <a:pt x="11" y="525"/>
                        </a:lnTo>
                        <a:lnTo>
                          <a:pt x="41" y="514"/>
                        </a:lnTo>
                        <a:lnTo>
                          <a:pt x="48" y="507"/>
                        </a:lnTo>
                        <a:lnTo>
                          <a:pt x="37" y="492"/>
                        </a:lnTo>
                        <a:lnTo>
                          <a:pt x="33" y="466"/>
                        </a:lnTo>
                        <a:lnTo>
                          <a:pt x="44" y="444"/>
                        </a:lnTo>
                        <a:lnTo>
                          <a:pt x="67" y="422"/>
                        </a:lnTo>
                        <a:lnTo>
                          <a:pt x="67" y="404"/>
                        </a:lnTo>
                        <a:lnTo>
                          <a:pt x="59" y="389"/>
                        </a:lnTo>
                        <a:lnTo>
                          <a:pt x="67" y="363"/>
                        </a:lnTo>
                        <a:lnTo>
                          <a:pt x="70" y="360"/>
                        </a:lnTo>
                        <a:lnTo>
                          <a:pt x="81" y="360"/>
                        </a:lnTo>
                        <a:lnTo>
                          <a:pt x="89" y="371"/>
                        </a:lnTo>
                        <a:lnTo>
                          <a:pt x="100" y="356"/>
                        </a:lnTo>
                        <a:lnTo>
                          <a:pt x="104" y="315"/>
                        </a:lnTo>
                        <a:lnTo>
                          <a:pt x="133" y="289"/>
                        </a:lnTo>
                        <a:lnTo>
                          <a:pt x="133" y="274"/>
                        </a:lnTo>
                        <a:lnTo>
                          <a:pt x="133" y="263"/>
                        </a:lnTo>
                        <a:lnTo>
                          <a:pt x="163" y="245"/>
                        </a:lnTo>
                        <a:lnTo>
                          <a:pt x="186" y="241"/>
                        </a:lnTo>
                        <a:lnTo>
                          <a:pt x="194" y="233"/>
                        </a:lnTo>
                        <a:lnTo>
                          <a:pt x="175" y="215"/>
                        </a:lnTo>
                        <a:lnTo>
                          <a:pt x="159" y="185"/>
                        </a:lnTo>
                        <a:lnTo>
                          <a:pt x="152" y="178"/>
                        </a:lnTo>
                        <a:lnTo>
                          <a:pt x="130" y="189"/>
                        </a:lnTo>
                        <a:lnTo>
                          <a:pt x="115" y="182"/>
                        </a:lnTo>
                        <a:lnTo>
                          <a:pt x="93" y="174"/>
                        </a:lnTo>
                        <a:lnTo>
                          <a:pt x="85" y="178"/>
                        </a:lnTo>
                        <a:lnTo>
                          <a:pt x="78" y="170"/>
                        </a:lnTo>
                        <a:lnTo>
                          <a:pt x="78" y="156"/>
                        </a:lnTo>
                        <a:lnTo>
                          <a:pt x="67" y="141"/>
                        </a:lnTo>
                        <a:lnTo>
                          <a:pt x="59" y="137"/>
                        </a:lnTo>
                        <a:lnTo>
                          <a:pt x="41" y="141"/>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193" name="Freeform 8">
                    <a:extLst>
                      <a:ext uri="{FF2B5EF4-FFF2-40B4-BE49-F238E27FC236}">
                        <a16:creationId xmlns:a16="http://schemas.microsoft.com/office/drawing/2014/main" xmlns="" id="{DD5DAAA8-EED2-4B4F-90C7-EED676B2CE50}"/>
                      </a:ext>
                    </a:extLst>
                  </p:cNvPr>
                  <p:cNvSpPr>
                    <a:spLocks/>
                  </p:cNvSpPr>
                  <p:nvPr/>
                </p:nvSpPr>
                <p:spPr bwMode="gray">
                  <a:xfrm>
                    <a:off x="1296" y="3210"/>
                    <a:ext cx="31" cy="22"/>
                  </a:xfrm>
                  <a:custGeom>
                    <a:avLst/>
                    <a:gdLst>
                      <a:gd name="T0" fmla="*/ 31 w 31"/>
                      <a:gd name="T1" fmla="*/ 0 h 22"/>
                      <a:gd name="T2" fmla="*/ 16 w 31"/>
                      <a:gd name="T3" fmla="*/ 0 h 22"/>
                      <a:gd name="T4" fmla="*/ 0 w 31"/>
                      <a:gd name="T5" fmla="*/ 15 h 22"/>
                      <a:gd name="T6" fmla="*/ 8 w 31"/>
                      <a:gd name="T7" fmla="*/ 22 h 22"/>
                      <a:gd name="T8" fmla="*/ 23 w 31"/>
                      <a:gd name="T9" fmla="*/ 22 h 22"/>
                      <a:gd name="T10" fmla="*/ 31 w 31"/>
                      <a:gd name="T11" fmla="*/ 0 h 22"/>
                    </a:gdLst>
                    <a:ahLst/>
                    <a:cxnLst>
                      <a:cxn ang="0">
                        <a:pos x="T0" y="T1"/>
                      </a:cxn>
                      <a:cxn ang="0">
                        <a:pos x="T2" y="T3"/>
                      </a:cxn>
                      <a:cxn ang="0">
                        <a:pos x="T4" y="T5"/>
                      </a:cxn>
                      <a:cxn ang="0">
                        <a:pos x="T6" y="T7"/>
                      </a:cxn>
                      <a:cxn ang="0">
                        <a:pos x="T8" y="T9"/>
                      </a:cxn>
                      <a:cxn ang="0">
                        <a:pos x="T10" y="T11"/>
                      </a:cxn>
                    </a:cxnLst>
                    <a:rect l="0" t="0" r="r" b="b"/>
                    <a:pathLst>
                      <a:path w="31" h="22">
                        <a:moveTo>
                          <a:pt x="31" y="0"/>
                        </a:moveTo>
                        <a:lnTo>
                          <a:pt x="16" y="0"/>
                        </a:lnTo>
                        <a:lnTo>
                          <a:pt x="0" y="15"/>
                        </a:lnTo>
                        <a:lnTo>
                          <a:pt x="8" y="22"/>
                        </a:lnTo>
                        <a:lnTo>
                          <a:pt x="23" y="22"/>
                        </a:lnTo>
                        <a:lnTo>
                          <a:pt x="31"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194" name="Freeform 9">
                    <a:extLst>
                      <a:ext uri="{FF2B5EF4-FFF2-40B4-BE49-F238E27FC236}">
                        <a16:creationId xmlns:a16="http://schemas.microsoft.com/office/drawing/2014/main" xmlns="" id="{80F24A8F-2EC3-4180-88A7-7C7623E8EF9F}"/>
                      </a:ext>
                    </a:extLst>
                  </p:cNvPr>
                  <p:cNvSpPr>
                    <a:spLocks/>
                  </p:cNvSpPr>
                  <p:nvPr/>
                </p:nvSpPr>
                <p:spPr bwMode="gray">
                  <a:xfrm>
                    <a:off x="1386" y="3154"/>
                    <a:ext cx="72" cy="56"/>
                  </a:xfrm>
                  <a:custGeom>
                    <a:avLst/>
                    <a:gdLst>
                      <a:gd name="T0" fmla="*/ 53 w 72"/>
                      <a:gd name="T1" fmla="*/ 0 h 56"/>
                      <a:gd name="T2" fmla="*/ 45 w 72"/>
                      <a:gd name="T3" fmla="*/ 7 h 56"/>
                      <a:gd name="T4" fmla="*/ 15 w 72"/>
                      <a:gd name="T5" fmla="*/ 11 h 56"/>
                      <a:gd name="T6" fmla="*/ 0 w 72"/>
                      <a:gd name="T7" fmla="*/ 30 h 56"/>
                      <a:gd name="T8" fmla="*/ 22 w 72"/>
                      <a:gd name="T9" fmla="*/ 45 h 56"/>
                      <a:gd name="T10" fmla="*/ 34 w 72"/>
                      <a:gd name="T11" fmla="*/ 56 h 56"/>
                      <a:gd name="T12" fmla="*/ 57 w 72"/>
                      <a:gd name="T13" fmla="*/ 52 h 56"/>
                      <a:gd name="T14" fmla="*/ 72 w 72"/>
                      <a:gd name="T15" fmla="*/ 45 h 56"/>
                      <a:gd name="T16" fmla="*/ 68 w 72"/>
                      <a:gd name="T17" fmla="*/ 30 h 56"/>
                      <a:gd name="T18" fmla="*/ 57 w 72"/>
                      <a:gd name="T19" fmla="*/ 19 h 56"/>
                      <a:gd name="T20" fmla="*/ 53 w 72"/>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6">
                        <a:moveTo>
                          <a:pt x="53" y="0"/>
                        </a:moveTo>
                        <a:lnTo>
                          <a:pt x="45" y="7"/>
                        </a:lnTo>
                        <a:lnTo>
                          <a:pt x="15" y="11"/>
                        </a:lnTo>
                        <a:lnTo>
                          <a:pt x="0" y="30"/>
                        </a:lnTo>
                        <a:lnTo>
                          <a:pt x="22" y="45"/>
                        </a:lnTo>
                        <a:lnTo>
                          <a:pt x="34" y="56"/>
                        </a:lnTo>
                        <a:lnTo>
                          <a:pt x="57" y="52"/>
                        </a:lnTo>
                        <a:lnTo>
                          <a:pt x="72" y="45"/>
                        </a:lnTo>
                        <a:lnTo>
                          <a:pt x="68" y="30"/>
                        </a:lnTo>
                        <a:lnTo>
                          <a:pt x="57" y="19"/>
                        </a:lnTo>
                        <a:lnTo>
                          <a:pt x="53"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195" name="Freeform 10">
                    <a:extLst>
                      <a:ext uri="{FF2B5EF4-FFF2-40B4-BE49-F238E27FC236}">
                        <a16:creationId xmlns:a16="http://schemas.microsoft.com/office/drawing/2014/main" xmlns="" id="{15E14043-489B-4A49-A309-F09B9B1324D3}"/>
                      </a:ext>
                    </a:extLst>
                  </p:cNvPr>
                  <p:cNvSpPr>
                    <a:spLocks/>
                  </p:cNvSpPr>
                  <p:nvPr/>
                </p:nvSpPr>
                <p:spPr bwMode="gray">
                  <a:xfrm>
                    <a:off x="1498" y="3158"/>
                    <a:ext cx="23" cy="29"/>
                  </a:xfrm>
                  <a:custGeom>
                    <a:avLst/>
                    <a:gdLst>
                      <a:gd name="T0" fmla="*/ 15 w 23"/>
                      <a:gd name="T1" fmla="*/ 0 h 29"/>
                      <a:gd name="T2" fmla="*/ 0 w 23"/>
                      <a:gd name="T3" fmla="*/ 7 h 29"/>
                      <a:gd name="T4" fmla="*/ 12 w 23"/>
                      <a:gd name="T5" fmla="*/ 18 h 29"/>
                      <a:gd name="T6" fmla="*/ 23 w 23"/>
                      <a:gd name="T7" fmla="*/ 29 h 29"/>
                      <a:gd name="T8" fmla="*/ 15 w 23"/>
                      <a:gd name="T9" fmla="*/ 0 h 29"/>
                    </a:gdLst>
                    <a:ahLst/>
                    <a:cxnLst>
                      <a:cxn ang="0">
                        <a:pos x="T0" y="T1"/>
                      </a:cxn>
                      <a:cxn ang="0">
                        <a:pos x="T2" y="T3"/>
                      </a:cxn>
                      <a:cxn ang="0">
                        <a:pos x="T4" y="T5"/>
                      </a:cxn>
                      <a:cxn ang="0">
                        <a:pos x="T6" y="T7"/>
                      </a:cxn>
                      <a:cxn ang="0">
                        <a:pos x="T8" y="T9"/>
                      </a:cxn>
                    </a:cxnLst>
                    <a:rect l="0" t="0" r="r" b="b"/>
                    <a:pathLst>
                      <a:path w="23" h="29">
                        <a:moveTo>
                          <a:pt x="15" y="0"/>
                        </a:moveTo>
                        <a:lnTo>
                          <a:pt x="0" y="7"/>
                        </a:lnTo>
                        <a:lnTo>
                          <a:pt x="12" y="18"/>
                        </a:lnTo>
                        <a:lnTo>
                          <a:pt x="23" y="29"/>
                        </a:lnTo>
                        <a:lnTo>
                          <a:pt x="15"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grpSp>
              <p:nvGrpSpPr>
                <p:cNvPr id="196" name="Group 15">
                  <a:extLst>
                    <a:ext uri="{FF2B5EF4-FFF2-40B4-BE49-F238E27FC236}">
                      <a16:creationId xmlns:a16="http://schemas.microsoft.com/office/drawing/2014/main" xmlns="" id="{A4E00C11-57CD-4455-A385-207250F60896}"/>
                    </a:ext>
                  </a:extLst>
                </p:cNvPr>
                <p:cNvGrpSpPr>
                  <a:grpSpLocks/>
                </p:cNvGrpSpPr>
                <p:nvPr/>
              </p:nvGrpSpPr>
              <p:grpSpPr bwMode="gray">
                <a:xfrm>
                  <a:off x="2050567" y="5000579"/>
                  <a:ext cx="937072" cy="1182800"/>
                  <a:chOff x="1765" y="2636"/>
                  <a:chExt cx="736" cy="929"/>
                </a:xfrm>
                <a:solidFill>
                  <a:schemeClr val="accent3"/>
                </a:solidFill>
              </p:grpSpPr>
              <p:sp>
                <p:nvSpPr>
                  <p:cNvPr id="197" name="Freeform 12">
                    <a:extLst>
                      <a:ext uri="{FF2B5EF4-FFF2-40B4-BE49-F238E27FC236}">
                        <a16:creationId xmlns:a16="http://schemas.microsoft.com/office/drawing/2014/main" xmlns="" id="{6C715825-B52F-4BCA-91DE-8273C1C40F29}"/>
                      </a:ext>
                    </a:extLst>
                  </p:cNvPr>
                  <p:cNvSpPr>
                    <a:spLocks/>
                  </p:cNvSpPr>
                  <p:nvPr/>
                </p:nvSpPr>
                <p:spPr bwMode="gray">
                  <a:xfrm>
                    <a:off x="1791" y="3128"/>
                    <a:ext cx="118" cy="193"/>
                  </a:xfrm>
                  <a:custGeom>
                    <a:avLst/>
                    <a:gdLst>
                      <a:gd name="T0" fmla="*/ 70 w 118"/>
                      <a:gd name="T1" fmla="*/ 0 h 193"/>
                      <a:gd name="T2" fmla="*/ 52 w 118"/>
                      <a:gd name="T3" fmla="*/ 11 h 193"/>
                      <a:gd name="T4" fmla="*/ 37 w 118"/>
                      <a:gd name="T5" fmla="*/ 22 h 193"/>
                      <a:gd name="T6" fmla="*/ 22 w 118"/>
                      <a:gd name="T7" fmla="*/ 26 h 193"/>
                      <a:gd name="T8" fmla="*/ 0 w 118"/>
                      <a:gd name="T9" fmla="*/ 22 h 193"/>
                      <a:gd name="T10" fmla="*/ 4 w 118"/>
                      <a:gd name="T11" fmla="*/ 45 h 193"/>
                      <a:gd name="T12" fmla="*/ 15 w 118"/>
                      <a:gd name="T13" fmla="*/ 59 h 193"/>
                      <a:gd name="T14" fmla="*/ 11 w 118"/>
                      <a:gd name="T15" fmla="*/ 97 h 193"/>
                      <a:gd name="T16" fmla="*/ 11 w 118"/>
                      <a:gd name="T17" fmla="*/ 115 h 193"/>
                      <a:gd name="T18" fmla="*/ 15 w 118"/>
                      <a:gd name="T19" fmla="*/ 130 h 193"/>
                      <a:gd name="T20" fmla="*/ 4 w 118"/>
                      <a:gd name="T21" fmla="*/ 160 h 193"/>
                      <a:gd name="T22" fmla="*/ 7 w 118"/>
                      <a:gd name="T23" fmla="*/ 182 h 193"/>
                      <a:gd name="T24" fmla="*/ 22 w 118"/>
                      <a:gd name="T25" fmla="*/ 193 h 193"/>
                      <a:gd name="T26" fmla="*/ 44 w 118"/>
                      <a:gd name="T27" fmla="*/ 178 h 193"/>
                      <a:gd name="T28" fmla="*/ 52 w 118"/>
                      <a:gd name="T29" fmla="*/ 174 h 193"/>
                      <a:gd name="T30" fmla="*/ 74 w 118"/>
                      <a:gd name="T31" fmla="*/ 178 h 193"/>
                      <a:gd name="T32" fmla="*/ 89 w 118"/>
                      <a:gd name="T33" fmla="*/ 163 h 193"/>
                      <a:gd name="T34" fmla="*/ 89 w 118"/>
                      <a:gd name="T35" fmla="*/ 148 h 193"/>
                      <a:gd name="T36" fmla="*/ 107 w 118"/>
                      <a:gd name="T37" fmla="*/ 119 h 193"/>
                      <a:gd name="T38" fmla="*/ 114 w 118"/>
                      <a:gd name="T39" fmla="*/ 100 h 193"/>
                      <a:gd name="T40" fmla="*/ 107 w 118"/>
                      <a:gd name="T41" fmla="*/ 82 h 193"/>
                      <a:gd name="T42" fmla="*/ 118 w 118"/>
                      <a:gd name="T43" fmla="*/ 59 h 193"/>
                      <a:gd name="T44" fmla="*/ 111 w 118"/>
                      <a:gd name="T45" fmla="*/ 26 h 193"/>
                      <a:gd name="T46" fmla="*/ 107 w 118"/>
                      <a:gd name="T47" fmla="*/ 7 h 193"/>
                      <a:gd name="T48" fmla="*/ 70 w 118"/>
                      <a:gd name="T4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8" h="193">
                        <a:moveTo>
                          <a:pt x="70" y="0"/>
                        </a:moveTo>
                        <a:lnTo>
                          <a:pt x="52" y="11"/>
                        </a:lnTo>
                        <a:lnTo>
                          <a:pt x="37" y="22"/>
                        </a:lnTo>
                        <a:lnTo>
                          <a:pt x="22" y="26"/>
                        </a:lnTo>
                        <a:lnTo>
                          <a:pt x="0" y="22"/>
                        </a:lnTo>
                        <a:lnTo>
                          <a:pt x="4" y="45"/>
                        </a:lnTo>
                        <a:lnTo>
                          <a:pt x="15" y="59"/>
                        </a:lnTo>
                        <a:lnTo>
                          <a:pt x="11" y="97"/>
                        </a:lnTo>
                        <a:lnTo>
                          <a:pt x="11" y="115"/>
                        </a:lnTo>
                        <a:lnTo>
                          <a:pt x="15" y="130"/>
                        </a:lnTo>
                        <a:lnTo>
                          <a:pt x="4" y="160"/>
                        </a:lnTo>
                        <a:lnTo>
                          <a:pt x="7" y="182"/>
                        </a:lnTo>
                        <a:lnTo>
                          <a:pt x="22" y="193"/>
                        </a:lnTo>
                        <a:lnTo>
                          <a:pt x="44" y="178"/>
                        </a:lnTo>
                        <a:lnTo>
                          <a:pt x="52" y="174"/>
                        </a:lnTo>
                        <a:lnTo>
                          <a:pt x="74" y="178"/>
                        </a:lnTo>
                        <a:lnTo>
                          <a:pt x="89" y="163"/>
                        </a:lnTo>
                        <a:lnTo>
                          <a:pt x="89" y="148"/>
                        </a:lnTo>
                        <a:lnTo>
                          <a:pt x="107" y="119"/>
                        </a:lnTo>
                        <a:lnTo>
                          <a:pt x="114" y="100"/>
                        </a:lnTo>
                        <a:lnTo>
                          <a:pt x="107" y="82"/>
                        </a:lnTo>
                        <a:lnTo>
                          <a:pt x="118" y="59"/>
                        </a:lnTo>
                        <a:lnTo>
                          <a:pt x="111" y="26"/>
                        </a:lnTo>
                        <a:lnTo>
                          <a:pt x="107" y="7"/>
                        </a:lnTo>
                        <a:lnTo>
                          <a:pt x="70"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198" name="Freeform 13">
                    <a:extLst>
                      <a:ext uri="{FF2B5EF4-FFF2-40B4-BE49-F238E27FC236}">
                        <a16:creationId xmlns:a16="http://schemas.microsoft.com/office/drawing/2014/main" xmlns="" id="{56E60D7B-77A3-4F15-97E4-7C37D4A2B17D}"/>
                      </a:ext>
                    </a:extLst>
                  </p:cNvPr>
                  <p:cNvSpPr>
                    <a:spLocks/>
                  </p:cNvSpPr>
                  <p:nvPr/>
                </p:nvSpPr>
                <p:spPr bwMode="gray">
                  <a:xfrm>
                    <a:off x="2066" y="3429"/>
                    <a:ext cx="216" cy="136"/>
                  </a:xfrm>
                  <a:custGeom>
                    <a:avLst/>
                    <a:gdLst>
                      <a:gd name="T0" fmla="*/ 205 w 216"/>
                      <a:gd name="T1" fmla="*/ 0 h 136"/>
                      <a:gd name="T2" fmla="*/ 216 w 216"/>
                      <a:gd name="T3" fmla="*/ 11 h 136"/>
                      <a:gd name="T4" fmla="*/ 209 w 216"/>
                      <a:gd name="T5" fmla="*/ 22 h 136"/>
                      <a:gd name="T6" fmla="*/ 201 w 216"/>
                      <a:gd name="T7" fmla="*/ 40 h 136"/>
                      <a:gd name="T8" fmla="*/ 190 w 216"/>
                      <a:gd name="T9" fmla="*/ 51 h 136"/>
                      <a:gd name="T10" fmla="*/ 194 w 216"/>
                      <a:gd name="T11" fmla="*/ 85 h 136"/>
                      <a:gd name="T12" fmla="*/ 201 w 216"/>
                      <a:gd name="T13" fmla="*/ 110 h 136"/>
                      <a:gd name="T14" fmla="*/ 182 w 216"/>
                      <a:gd name="T15" fmla="*/ 121 h 136"/>
                      <a:gd name="T16" fmla="*/ 179 w 216"/>
                      <a:gd name="T17" fmla="*/ 132 h 136"/>
                      <a:gd name="T18" fmla="*/ 164 w 216"/>
                      <a:gd name="T19" fmla="*/ 136 h 136"/>
                      <a:gd name="T20" fmla="*/ 142 w 216"/>
                      <a:gd name="T21" fmla="*/ 114 h 136"/>
                      <a:gd name="T22" fmla="*/ 127 w 216"/>
                      <a:gd name="T23" fmla="*/ 114 h 136"/>
                      <a:gd name="T24" fmla="*/ 115 w 216"/>
                      <a:gd name="T25" fmla="*/ 96 h 136"/>
                      <a:gd name="T26" fmla="*/ 93 w 216"/>
                      <a:gd name="T27" fmla="*/ 85 h 136"/>
                      <a:gd name="T28" fmla="*/ 78 w 216"/>
                      <a:gd name="T29" fmla="*/ 81 h 136"/>
                      <a:gd name="T30" fmla="*/ 63 w 216"/>
                      <a:gd name="T31" fmla="*/ 74 h 136"/>
                      <a:gd name="T32" fmla="*/ 48 w 216"/>
                      <a:gd name="T33" fmla="*/ 62 h 136"/>
                      <a:gd name="T34" fmla="*/ 22 w 216"/>
                      <a:gd name="T35" fmla="*/ 44 h 136"/>
                      <a:gd name="T36" fmla="*/ 11 w 216"/>
                      <a:gd name="T37" fmla="*/ 40 h 136"/>
                      <a:gd name="T38" fmla="*/ 0 w 216"/>
                      <a:gd name="T39" fmla="*/ 29 h 136"/>
                      <a:gd name="T40" fmla="*/ 0 w 216"/>
                      <a:gd name="T41" fmla="*/ 15 h 136"/>
                      <a:gd name="T42" fmla="*/ 4 w 216"/>
                      <a:gd name="T43" fmla="*/ 4 h 136"/>
                      <a:gd name="T44" fmla="*/ 26 w 216"/>
                      <a:gd name="T45" fmla="*/ 7 h 136"/>
                      <a:gd name="T46" fmla="*/ 60 w 216"/>
                      <a:gd name="T47" fmla="*/ 7 h 136"/>
                      <a:gd name="T48" fmla="*/ 67 w 216"/>
                      <a:gd name="T49" fmla="*/ 18 h 136"/>
                      <a:gd name="T50" fmla="*/ 104 w 216"/>
                      <a:gd name="T51" fmla="*/ 18 h 136"/>
                      <a:gd name="T52" fmla="*/ 130 w 216"/>
                      <a:gd name="T53" fmla="*/ 18 h 136"/>
                      <a:gd name="T54" fmla="*/ 164 w 216"/>
                      <a:gd name="T55" fmla="*/ 11 h 136"/>
                      <a:gd name="T56" fmla="*/ 205 w 216"/>
                      <a:gd name="T5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6" h="136">
                        <a:moveTo>
                          <a:pt x="205" y="0"/>
                        </a:moveTo>
                        <a:lnTo>
                          <a:pt x="216" y="11"/>
                        </a:lnTo>
                        <a:lnTo>
                          <a:pt x="209" y="22"/>
                        </a:lnTo>
                        <a:lnTo>
                          <a:pt x="201" y="40"/>
                        </a:lnTo>
                        <a:lnTo>
                          <a:pt x="190" y="51"/>
                        </a:lnTo>
                        <a:lnTo>
                          <a:pt x="194" y="85"/>
                        </a:lnTo>
                        <a:lnTo>
                          <a:pt x="201" y="110"/>
                        </a:lnTo>
                        <a:lnTo>
                          <a:pt x="182" y="121"/>
                        </a:lnTo>
                        <a:lnTo>
                          <a:pt x="179" y="132"/>
                        </a:lnTo>
                        <a:lnTo>
                          <a:pt x="164" y="136"/>
                        </a:lnTo>
                        <a:lnTo>
                          <a:pt x="142" y="114"/>
                        </a:lnTo>
                        <a:lnTo>
                          <a:pt x="127" y="114"/>
                        </a:lnTo>
                        <a:lnTo>
                          <a:pt x="115" y="96"/>
                        </a:lnTo>
                        <a:lnTo>
                          <a:pt x="93" y="85"/>
                        </a:lnTo>
                        <a:lnTo>
                          <a:pt x="78" y="81"/>
                        </a:lnTo>
                        <a:lnTo>
                          <a:pt x="63" y="74"/>
                        </a:lnTo>
                        <a:lnTo>
                          <a:pt x="48" y="62"/>
                        </a:lnTo>
                        <a:lnTo>
                          <a:pt x="22" y="44"/>
                        </a:lnTo>
                        <a:lnTo>
                          <a:pt x="11" y="40"/>
                        </a:lnTo>
                        <a:lnTo>
                          <a:pt x="0" y="29"/>
                        </a:lnTo>
                        <a:lnTo>
                          <a:pt x="0" y="15"/>
                        </a:lnTo>
                        <a:lnTo>
                          <a:pt x="4" y="4"/>
                        </a:lnTo>
                        <a:lnTo>
                          <a:pt x="26" y="7"/>
                        </a:lnTo>
                        <a:lnTo>
                          <a:pt x="60" y="7"/>
                        </a:lnTo>
                        <a:lnTo>
                          <a:pt x="67" y="18"/>
                        </a:lnTo>
                        <a:lnTo>
                          <a:pt x="104" y="18"/>
                        </a:lnTo>
                        <a:lnTo>
                          <a:pt x="130" y="18"/>
                        </a:lnTo>
                        <a:lnTo>
                          <a:pt x="164" y="11"/>
                        </a:lnTo>
                        <a:lnTo>
                          <a:pt x="205"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199" name="Freeform 14">
                    <a:extLst>
                      <a:ext uri="{FF2B5EF4-FFF2-40B4-BE49-F238E27FC236}">
                        <a16:creationId xmlns:a16="http://schemas.microsoft.com/office/drawing/2014/main" xmlns="" id="{B87BC198-4123-485E-9D66-F930F12A38E7}"/>
                      </a:ext>
                    </a:extLst>
                  </p:cNvPr>
                  <p:cNvSpPr>
                    <a:spLocks/>
                  </p:cNvSpPr>
                  <p:nvPr/>
                </p:nvSpPr>
                <p:spPr bwMode="gray">
                  <a:xfrm>
                    <a:off x="1765" y="2636"/>
                    <a:ext cx="736" cy="830"/>
                  </a:xfrm>
                  <a:custGeom>
                    <a:avLst/>
                    <a:gdLst>
                      <a:gd name="T0" fmla="*/ 564 w 736"/>
                      <a:gd name="T1" fmla="*/ 819 h 830"/>
                      <a:gd name="T2" fmla="*/ 608 w 736"/>
                      <a:gd name="T3" fmla="*/ 741 h 830"/>
                      <a:gd name="T4" fmla="*/ 627 w 736"/>
                      <a:gd name="T5" fmla="*/ 715 h 830"/>
                      <a:gd name="T6" fmla="*/ 612 w 736"/>
                      <a:gd name="T7" fmla="*/ 678 h 830"/>
                      <a:gd name="T8" fmla="*/ 594 w 736"/>
                      <a:gd name="T9" fmla="*/ 674 h 830"/>
                      <a:gd name="T10" fmla="*/ 608 w 736"/>
                      <a:gd name="T11" fmla="*/ 645 h 830"/>
                      <a:gd name="T12" fmla="*/ 631 w 736"/>
                      <a:gd name="T13" fmla="*/ 604 h 830"/>
                      <a:gd name="T14" fmla="*/ 701 w 736"/>
                      <a:gd name="T15" fmla="*/ 652 h 830"/>
                      <a:gd name="T16" fmla="*/ 730 w 736"/>
                      <a:gd name="T17" fmla="*/ 652 h 830"/>
                      <a:gd name="T18" fmla="*/ 708 w 736"/>
                      <a:gd name="T19" fmla="*/ 596 h 830"/>
                      <a:gd name="T20" fmla="*/ 686 w 736"/>
                      <a:gd name="T21" fmla="*/ 593 h 830"/>
                      <a:gd name="T22" fmla="*/ 608 w 736"/>
                      <a:gd name="T23" fmla="*/ 530 h 830"/>
                      <a:gd name="T24" fmla="*/ 560 w 736"/>
                      <a:gd name="T25" fmla="*/ 496 h 830"/>
                      <a:gd name="T26" fmla="*/ 564 w 736"/>
                      <a:gd name="T27" fmla="*/ 474 h 830"/>
                      <a:gd name="T28" fmla="*/ 490 w 736"/>
                      <a:gd name="T29" fmla="*/ 440 h 830"/>
                      <a:gd name="T30" fmla="*/ 457 w 736"/>
                      <a:gd name="T31" fmla="*/ 411 h 830"/>
                      <a:gd name="T32" fmla="*/ 379 w 736"/>
                      <a:gd name="T33" fmla="*/ 293 h 830"/>
                      <a:gd name="T34" fmla="*/ 364 w 736"/>
                      <a:gd name="T35" fmla="*/ 200 h 830"/>
                      <a:gd name="T36" fmla="*/ 342 w 736"/>
                      <a:gd name="T37" fmla="*/ 163 h 830"/>
                      <a:gd name="T38" fmla="*/ 405 w 736"/>
                      <a:gd name="T39" fmla="*/ 134 h 830"/>
                      <a:gd name="T40" fmla="*/ 434 w 736"/>
                      <a:gd name="T41" fmla="*/ 70 h 830"/>
                      <a:gd name="T42" fmla="*/ 368 w 736"/>
                      <a:gd name="T43" fmla="*/ 41 h 830"/>
                      <a:gd name="T44" fmla="*/ 357 w 736"/>
                      <a:gd name="T45" fmla="*/ 15 h 830"/>
                      <a:gd name="T46" fmla="*/ 264 w 736"/>
                      <a:gd name="T47" fmla="*/ 4 h 830"/>
                      <a:gd name="T48" fmla="*/ 219 w 736"/>
                      <a:gd name="T49" fmla="*/ 52 h 830"/>
                      <a:gd name="T50" fmla="*/ 181 w 736"/>
                      <a:gd name="T51" fmla="*/ 48 h 830"/>
                      <a:gd name="T52" fmla="*/ 133 w 736"/>
                      <a:gd name="T53" fmla="*/ 63 h 830"/>
                      <a:gd name="T54" fmla="*/ 115 w 736"/>
                      <a:gd name="T55" fmla="*/ 30 h 830"/>
                      <a:gd name="T56" fmla="*/ 89 w 736"/>
                      <a:gd name="T57" fmla="*/ 59 h 830"/>
                      <a:gd name="T58" fmla="*/ 22 w 736"/>
                      <a:gd name="T59" fmla="*/ 85 h 830"/>
                      <a:gd name="T60" fmla="*/ 7 w 736"/>
                      <a:gd name="T61" fmla="*/ 137 h 830"/>
                      <a:gd name="T62" fmla="*/ 0 w 736"/>
                      <a:gd name="T63" fmla="*/ 189 h 830"/>
                      <a:gd name="T64" fmla="*/ 30 w 736"/>
                      <a:gd name="T65" fmla="*/ 208 h 830"/>
                      <a:gd name="T66" fmla="*/ 52 w 736"/>
                      <a:gd name="T67" fmla="*/ 249 h 830"/>
                      <a:gd name="T68" fmla="*/ 122 w 736"/>
                      <a:gd name="T69" fmla="*/ 211 h 830"/>
                      <a:gd name="T70" fmla="*/ 189 w 736"/>
                      <a:gd name="T71" fmla="*/ 271 h 830"/>
                      <a:gd name="T72" fmla="*/ 219 w 736"/>
                      <a:gd name="T73" fmla="*/ 352 h 830"/>
                      <a:gd name="T74" fmla="*/ 271 w 736"/>
                      <a:gd name="T75" fmla="*/ 397 h 830"/>
                      <a:gd name="T76" fmla="*/ 338 w 736"/>
                      <a:gd name="T77" fmla="*/ 478 h 830"/>
                      <a:gd name="T78" fmla="*/ 442 w 736"/>
                      <a:gd name="T79" fmla="*/ 555 h 830"/>
                      <a:gd name="T80" fmla="*/ 475 w 736"/>
                      <a:gd name="T81" fmla="*/ 578 h 830"/>
                      <a:gd name="T82" fmla="*/ 501 w 736"/>
                      <a:gd name="T83" fmla="*/ 630 h 830"/>
                      <a:gd name="T84" fmla="*/ 542 w 736"/>
                      <a:gd name="T85" fmla="*/ 645 h 830"/>
                      <a:gd name="T86" fmla="*/ 557 w 736"/>
                      <a:gd name="T87" fmla="*/ 711 h 830"/>
                      <a:gd name="T88" fmla="*/ 545 w 736"/>
                      <a:gd name="T89" fmla="*/ 760 h 830"/>
                      <a:gd name="T90" fmla="*/ 534 w 736"/>
                      <a:gd name="T91" fmla="*/ 81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6" h="830">
                        <a:moveTo>
                          <a:pt x="534" y="819"/>
                        </a:moveTo>
                        <a:lnTo>
                          <a:pt x="545" y="830"/>
                        </a:lnTo>
                        <a:lnTo>
                          <a:pt x="564" y="819"/>
                        </a:lnTo>
                        <a:lnTo>
                          <a:pt x="586" y="789"/>
                        </a:lnTo>
                        <a:lnTo>
                          <a:pt x="597" y="745"/>
                        </a:lnTo>
                        <a:lnTo>
                          <a:pt x="608" y="741"/>
                        </a:lnTo>
                        <a:lnTo>
                          <a:pt x="616" y="748"/>
                        </a:lnTo>
                        <a:lnTo>
                          <a:pt x="631" y="734"/>
                        </a:lnTo>
                        <a:lnTo>
                          <a:pt x="627" y="715"/>
                        </a:lnTo>
                        <a:lnTo>
                          <a:pt x="634" y="700"/>
                        </a:lnTo>
                        <a:lnTo>
                          <a:pt x="631" y="693"/>
                        </a:lnTo>
                        <a:lnTo>
                          <a:pt x="612" y="678"/>
                        </a:lnTo>
                        <a:lnTo>
                          <a:pt x="605" y="678"/>
                        </a:lnTo>
                        <a:lnTo>
                          <a:pt x="608" y="670"/>
                        </a:lnTo>
                        <a:lnTo>
                          <a:pt x="594" y="674"/>
                        </a:lnTo>
                        <a:lnTo>
                          <a:pt x="586" y="667"/>
                        </a:lnTo>
                        <a:lnTo>
                          <a:pt x="586" y="659"/>
                        </a:lnTo>
                        <a:lnTo>
                          <a:pt x="608" y="645"/>
                        </a:lnTo>
                        <a:lnTo>
                          <a:pt x="619" y="630"/>
                        </a:lnTo>
                        <a:lnTo>
                          <a:pt x="619" y="607"/>
                        </a:lnTo>
                        <a:lnTo>
                          <a:pt x="631" y="604"/>
                        </a:lnTo>
                        <a:lnTo>
                          <a:pt x="668" y="622"/>
                        </a:lnTo>
                        <a:lnTo>
                          <a:pt x="682" y="626"/>
                        </a:lnTo>
                        <a:lnTo>
                          <a:pt x="701" y="652"/>
                        </a:lnTo>
                        <a:lnTo>
                          <a:pt x="708" y="667"/>
                        </a:lnTo>
                        <a:lnTo>
                          <a:pt x="719" y="667"/>
                        </a:lnTo>
                        <a:lnTo>
                          <a:pt x="730" y="652"/>
                        </a:lnTo>
                        <a:lnTo>
                          <a:pt x="736" y="637"/>
                        </a:lnTo>
                        <a:lnTo>
                          <a:pt x="723" y="611"/>
                        </a:lnTo>
                        <a:lnTo>
                          <a:pt x="708" y="596"/>
                        </a:lnTo>
                        <a:lnTo>
                          <a:pt x="694" y="596"/>
                        </a:lnTo>
                        <a:lnTo>
                          <a:pt x="694" y="593"/>
                        </a:lnTo>
                        <a:lnTo>
                          <a:pt x="686" y="593"/>
                        </a:lnTo>
                        <a:lnTo>
                          <a:pt x="649" y="555"/>
                        </a:lnTo>
                        <a:lnTo>
                          <a:pt x="631" y="559"/>
                        </a:lnTo>
                        <a:lnTo>
                          <a:pt x="608" y="530"/>
                        </a:lnTo>
                        <a:lnTo>
                          <a:pt x="594" y="526"/>
                        </a:lnTo>
                        <a:lnTo>
                          <a:pt x="571" y="504"/>
                        </a:lnTo>
                        <a:lnTo>
                          <a:pt x="560" y="496"/>
                        </a:lnTo>
                        <a:lnTo>
                          <a:pt x="568" y="489"/>
                        </a:lnTo>
                        <a:lnTo>
                          <a:pt x="579" y="485"/>
                        </a:lnTo>
                        <a:lnTo>
                          <a:pt x="564" y="474"/>
                        </a:lnTo>
                        <a:lnTo>
                          <a:pt x="545" y="481"/>
                        </a:lnTo>
                        <a:lnTo>
                          <a:pt x="531" y="474"/>
                        </a:lnTo>
                        <a:lnTo>
                          <a:pt x="490" y="440"/>
                        </a:lnTo>
                        <a:lnTo>
                          <a:pt x="486" y="426"/>
                        </a:lnTo>
                        <a:lnTo>
                          <a:pt x="471" y="422"/>
                        </a:lnTo>
                        <a:lnTo>
                          <a:pt x="457" y="411"/>
                        </a:lnTo>
                        <a:lnTo>
                          <a:pt x="419" y="330"/>
                        </a:lnTo>
                        <a:lnTo>
                          <a:pt x="408" y="319"/>
                        </a:lnTo>
                        <a:lnTo>
                          <a:pt x="379" y="293"/>
                        </a:lnTo>
                        <a:lnTo>
                          <a:pt x="345" y="241"/>
                        </a:lnTo>
                        <a:lnTo>
                          <a:pt x="345" y="211"/>
                        </a:lnTo>
                        <a:lnTo>
                          <a:pt x="364" y="200"/>
                        </a:lnTo>
                        <a:lnTo>
                          <a:pt x="364" y="185"/>
                        </a:lnTo>
                        <a:lnTo>
                          <a:pt x="349" y="171"/>
                        </a:lnTo>
                        <a:lnTo>
                          <a:pt x="342" y="163"/>
                        </a:lnTo>
                        <a:lnTo>
                          <a:pt x="345" y="152"/>
                        </a:lnTo>
                        <a:lnTo>
                          <a:pt x="360" y="145"/>
                        </a:lnTo>
                        <a:lnTo>
                          <a:pt x="405" y="134"/>
                        </a:lnTo>
                        <a:lnTo>
                          <a:pt x="423" y="122"/>
                        </a:lnTo>
                        <a:lnTo>
                          <a:pt x="438" y="108"/>
                        </a:lnTo>
                        <a:lnTo>
                          <a:pt x="434" y="70"/>
                        </a:lnTo>
                        <a:lnTo>
                          <a:pt x="438" y="56"/>
                        </a:lnTo>
                        <a:lnTo>
                          <a:pt x="416" y="52"/>
                        </a:lnTo>
                        <a:lnTo>
                          <a:pt x="368" y="41"/>
                        </a:lnTo>
                        <a:lnTo>
                          <a:pt x="360" y="30"/>
                        </a:lnTo>
                        <a:lnTo>
                          <a:pt x="357" y="26"/>
                        </a:lnTo>
                        <a:lnTo>
                          <a:pt x="357" y="15"/>
                        </a:lnTo>
                        <a:lnTo>
                          <a:pt x="353" y="4"/>
                        </a:lnTo>
                        <a:lnTo>
                          <a:pt x="327" y="0"/>
                        </a:lnTo>
                        <a:lnTo>
                          <a:pt x="264" y="4"/>
                        </a:lnTo>
                        <a:lnTo>
                          <a:pt x="257" y="19"/>
                        </a:lnTo>
                        <a:lnTo>
                          <a:pt x="233" y="22"/>
                        </a:lnTo>
                        <a:lnTo>
                          <a:pt x="219" y="52"/>
                        </a:lnTo>
                        <a:lnTo>
                          <a:pt x="219" y="63"/>
                        </a:lnTo>
                        <a:lnTo>
                          <a:pt x="204" y="52"/>
                        </a:lnTo>
                        <a:lnTo>
                          <a:pt x="181" y="48"/>
                        </a:lnTo>
                        <a:lnTo>
                          <a:pt x="167" y="56"/>
                        </a:lnTo>
                        <a:lnTo>
                          <a:pt x="156" y="78"/>
                        </a:lnTo>
                        <a:lnTo>
                          <a:pt x="133" y="63"/>
                        </a:lnTo>
                        <a:lnTo>
                          <a:pt x="137" y="41"/>
                        </a:lnTo>
                        <a:lnTo>
                          <a:pt x="130" y="26"/>
                        </a:lnTo>
                        <a:lnTo>
                          <a:pt x="115" y="30"/>
                        </a:lnTo>
                        <a:lnTo>
                          <a:pt x="111" y="48"/>
                        </a:lnTo>
                        <a:lnTo>
                          <a:pt x="100" y="59"/>
                        </a:lnTo>
                        <a:lnTo>
                          <a:pt x="89" y="59"/>
                        </a:lnTo>
                        <a:lnTo>
                          <a:pt x="37" y="52"/>
                        </a:lnTo>
                        <a:lnTo>
                          <a:pt x="19" y="67"/>
                        </a:lnTo>
                        <a:lnTo>
                          <a:pt x="22" y="85"/>
                        </a:lnTo>
                        <a:lnTo>
                          <a:pt x="26" y="100"/>
                        </a:lnTo>
                        <a:lnTo>
                          <a:pt x="0" y="122"/>
                        </a:lnTo>
                        <a:lnTo>
                          <a:pt x="7" y="137"/>
                        </a:lnTo>
                        <a:lnTo>
                          <a:pt x="15" y="145"/>
                        </a:lnTo>
                        <a:lnTo>
                          <a:pt x="0" y="163"/>
                        </a:lnTo>
                        <a:lnTo>
                          <a:pt x="0" y="189"/>
                        </a:lnTo>
                        <a:lnTo>
                          <a:pt x="7" y="200"/>
                        </a:lnTo>
                        <a:lnTo>
                          <a:pt x="22" y="200"/>
                        </a:lnTo>
                        <a:lnTo>
                          <a:pt x="30" y="208"/>
                        </a:lnTo>
                        <a:lnTo>
                          <a:pt x="37" y="226"/>
                        </a:lnTo>
                        <a:lnTo>
                          <a:pt x="37" y="245"/>
                        </a:lnTo>
                        <a:lnTo>
                          <a:pt x="52" y="249"/>
                        </a:lnTo>
                        <a:lnTo>
                          <a:pt x="63" y="245"/>
                        </a:lnTo>
                        <a:lnTo>
                          <a:pt x="104" y="204"/>
                        </a:lnTo>
                        <a:lnTo>
                          <a:pt x="122" y="211"/>
                        </a:lnTo>
                        <a:lnTo>
                          <a:pt x="159" y="230"/>
                        </a:lnTo>
                        <a:lnTo>
                          <a:pt x="185" y="249"/>
                        </a:lnTo>
                        <a:lnTo>
                          <a:pt x="189" y="271"/>
                        </a:lnTo>
                        <a:lnTo>
                          <a:pt x="204" y="286"/>
                        </a:lnTo>
                        <a:lnTo>
                          <a:pt x="211" y="312"/>
                        </a:lnTo>
                        <a:lnTo>
                          <a:pt x="219" y="352"/>
                        </a:lnTo>
                        <a:lnTo>
                          <a:pt x="230" y="371"/>
                        </a:lnTo>
                        <a:lnTo>
                          <a:pt x="244" y="387"/>
                        </a:lnTo>
                        <a:lnTo>
                          <a:pt x="271" y="397"/>
                        </a:lnTo>
                        <a:lnTo>
                          <a:pt x="294" y="433"/>
                        </a:lnTo>
                        <a:lnTo>
                          <a:pt x="316" y="463"/>
                        </a:lnTo>
                        <a:lnTo>
                          <a:pt x="338" y="478"/>
                        </a:lnTo>
                        <a:lnTo>
                          <a:pt x="379" y="526"/>
                        </a:lnTo>
                        <a:lnTo>
                          <a:pt x="408" y="526"/>
                        </a:lnTo>
                        <a:lnTo>
                          <a:pt x="442" y="555"/>
                        </a:lnTo>
                        <a:lnTo>
                          <a:pt x="442" y="585"/>
                        </a:lnTo>
                        <a:lnTo>
                          <a:pt x="453" y="593"/>
                        </a:lnTo>
                        <a:lnTo>
                          <a:pt x="475" y="578"/>
                        </a:lnTo>
                        <a:lnTo>
                          <a:pt x="479" y="593"/>
                        </a:lnTo>
                        <a:lnTo>
                          <a:pt x="479" y="611"/>
                        </a:lnTo>
                        <a:lnTo>
                          <a:pt x="501" y="630"/>
                        </a:lnTo>
                        <a:lnTo>
                          <a:pt x="508" y="641"/>
                        </a:lnTo>
                        <a:lnTo>
                          <a:pt x="538" y="633"/>
                        </a:lnTo>
                        <a:lnTo>
                          <a:pt x="542" y="645"/>
                        </a:lnTo>
                        <a:lnTo>
                          <a:pt x="538" y="670"/>
                        </a:lnTo>
                        <a:lnTo>
                          <a:pt x="553" y="693"/>
                        </a:lnTo>
                        <a:lnTo>
                          <a:pt x="557" y="711"/>
                        </a:lnTo>
                        <a:lnTo>
                          <a:pt x="564" y="730"/>
                        </a:lnTo>
                        <a:lnTo>
                          <a:pt x="560" y="745"/>
                        </a:lnTo>
                        <a:lnTo>
                          <a:pt x="545" y="760"/>
                        </a:lnTo>
                        <a:lnTo>
                          <a:pt x="542" y="778"/>
                        </a:lnTo>
                        <a:lnTo>
                          <a:pt x="531" y="800"/>
                        </a:lnTo>
                        <a:lnTo>
                          <a:pt x="534" y="819"/>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sp>
              <p:nvSpPr>
                <p:cNvPr id="200" name="Freeform 16">
                  <a:extLst>
                    <a:ext uri="{FF2B5EF4-FFF2-40B4-BE49-F238E27FC236}">
                      <a16:creationId xmlns:a16="http://schemas.microsoft.com/office/drawing/2014/main" xmlns="" id="{C57EEAE3-09BC-4E45-8A6C-4677B4BF4F50}"/>
                    </a:ext>
                  </a:extLst>
                </p:cNvPr>
                <p:cNvSpPr>
                  <a:spLocks/>
                </p:cNvSpPr>
                <p:nvPr/>
              </p:nvSpPr>
              <p:spPr bwMode="gray">
                <a:xfrm>
                  <a:off x="2004732" y="4851615"/>
                  <a:ext cx="379412" cy="247000"/>
                </a:xfrm>
                <a:custGeom>
                  <a:avLst/>
                  <a:gdLst>
                    <a:gd name="T0" fmla="*/ 156 w 298"/>
                    <a:gd name="T1" fmla="*/ 37 h 194"/>
                    <a:gd name="T2" fmla="*/ 141 w 298"/>
                    <a:gd name="T3" fmla="*/ 24 h 194"/>
                    <a:gd name="T4" fmla="*/ 143 w 298"/>
                    <a:gd name="T5" fmla="*/ 19 h 194"/>
                    <a:gd name="T6" fmla="*/ 134 w 298"/>
                    <a:gd name="T7" fmla="*/ 11 h 194"/>
                    <a:gd name="T8" fmla="*/ 126 w 298"/>
                    <a:gd name="T9" fmla="*/ 0 h 194"/>
                    <a:gd name="T10" fmla="*/ 117 w 298"/>
                    <a:gd name="T11" fmla="*/ 11 h 194"/>
                    <a:gd name="T12" fmla="*/ 111 w 298"/>
                    <a:gd name="T13" fmla="*/ 7 h 194"/>
                    <a:gd name="T14" fmla="*/ 100 w 298"/>
                    <a:gd name="T15" fmla="*/ 17 h 194"/>
                    <a:gd name="T16" fmla="*/ 100 w 298"/>
                    <a:gd name="T17" fmla="*/ 22 h 194"/>
                    <a:gd name="T18" fmla="*/ 87 w 298"/>
                    <a:gd name="T19" fmla="*/ 28 h 194"/>
                    <a:gd name="T20" fmla="*/ 54 w 298"/>
                    <a:gd name="T21" fmla="*/ 54 h 194"/>
                    <a:gd name="T22" fmla="*/ 45 w 298"/>
                    <a:gd name="T23" fmla="*/ 65 h 194"/>
                    <a:gd name="T24" fmla="*/ 45 w 298"/>
                    <a:gd name="T25" fmla="*/ 78 h 194"/>
                    <a:gd name="T26" fmla="*/ 33 w 298"/>
                    <a:gd name="T27" fmla="*/ 82 h 194"/>
                    <a:gd name="T28" fmla="*/ 9 w 298"/>
                    <a:gd name="T29" fmla="*/ 108 h 194"/>
                    <a:gd name="T30" fmla="*/ 9 w 298"/>
                    <a:gd name="T31" fmla="*/ 117 h 194"/>
                    <a:gd name="T32" fmla="*/ 0 w 298"/>
                    <a:gd name="T33" fmla="*/ 128 h 194"/>
                    <a:gd name="T34" fmla="*/ 4 w 298"/>
                    <a:gd name="T35" fmla="*/ 141 h 194"/>
                    <a:gd name="T36" fmla="*/ 15 w 298"/>
                    <a:gd name="T37" fmla="*/ 134 h 194"/>
                    <a:gd name="T38" fmla="*/ 26 w 298"/>
                    <a:gd name="T39" fmla="*/ 122 h 194"/>
                    <a:gd name="T40" fmla="*/ 43 w 298"/>
                    <a:gd name="T41" fmla="*/ 119 h 194"/>
                    <a:gd name="T42" fmla="*/ 54 w 298"/>
                    <a:gd name="T43" fmla="*/ 122 h 194"/>
                    <a:gd name="T44" fmla="*/ 58 w 298"/>
                    <a:gd name="T45" fmla="*/ 141 h 194"/>
                    <a:gd name="T46" fmla="*/ 56 w 298"/>
                    <a:gd name="T47" fmla="*/ 154 h 194"/>
                    <a:gd name="T48" fmla="*/ 63 w 298"/>
                    <a:gd name="T49" fmla="*/ 163 h 194"/>
                    <a:gd name="T50" fmla="*/ 72 w 298"/>
                    <a:gd name="T51" fmla="*/ 169 h 194"/>
                    <a:gd name="T52" fmla="*/ 91 w 298"/>
                    <a:gd name="T53" fmla="*/ 171 h 194"/>
                    <a:gd name="T54" fmla="*/ 132 w 298"/>
                    <a:gd name="T55" fmla="*/ 176 h 194"/>
                    <a:gd name="T56" fmla="*/ 141 w 298"/>
                    <a:gd name="T57" fmla="*/ 171 h 194"/>
                    <a:gd name="T58" fmla="*/ 147 w 298"/>
                    <a:gd name="T59" fmla="*/ 163 h 194"/>
                    <a:gd name="T60" fmla="*/ 151 w 298"/>
                    <a:gd name="T61" fmla="*/ 146 h 194"/>
                    <a:gd name="T62" fmla="*/ 166 w 298"/>
                    <a:gd name="T63" fmla="*/ 145 h 194"/>
                    <a:gd name="T64" fmla="*/ 171 w 298"/>
                    <a:gd name="T65" fmla="*/ 156 h 194"/>
                    <a:gd name="T66" fmla="*/ 171 w 298"/>
                    <a:gd name="T67" fmla="*/ 181 h 194"/>
                    <a:gd name="T68" fmla="*/ 190 w 298"/>
                    <a:gd name="T69" fmla="*/ 194 h 194"/>
                    <a:gd name="T70" fmla="*/ 204 w 298"/>
                    <a:gd name="T71" fmla="*/ 172 h 194"/>
                    <a:gd name="T72" fmla="*/ 219 w 298"/>
                    <a:gd name="T73" fmla="*/ 165 h 194"/>
                    <a:gd name="T74" fmla="*/ 236 w 298"/>
                    <a:gd name="T75" fmla="*/ 167 h 194"/>
                    <a:gd name="T76" fmla="*/ 249 w 298"/>
                    <a:gd name="T77" fmla="*/ 174 h 194"/>
                    <a:gd name="T78" fmla="*/ 254 w 298"/>
                    <a:gd name="T79" fmla="*/ 180 h 194"/>
                    <a:gd name="T80" fmla="*/ 258 w 298"/>
                    <a:gd name="T81" fmla="*/ 161 h 194"/>
                    <a:gd name="T82" fmla="*/ 268 w 298"/>
                    <a:gd name="T83" fmla="*/ 139 h 194"/>
                    <a:gd name="T84" fmla="*/ 291 w 298"/>
                    <a:gd name="T85" fmla="*/ 135 h 194"/>
                    <a:gd name="T86" fmla="*/ 298 w 298"/>
                    <a:gd name="T87" fmla="*/ 121 h 194"/>
                    <a:gd name="T88" fmla="*/ 291 w 298"/>
                    <a:gd name="T89" fmla="*/ 109 h 194"/>
                    <a:gd name="T90" fmla="*/ 280 w 298"/>
                    <a:gd name="T91" fmla="*/ 104 h 194"/>
                    <a:gd name="T92" fmla="*/ 252 w 298"/>
                    <a:gd name="T93" fmla="*/ 99 h 194"/>
                    <a:gd name="T94" fmla="*/ 251 w 298"/>
                    <a:gd name="T95" fmla="*/ 85 h 194"/>
                    <a:gd name="T96" fmla="*/ 251 w 298"/>
                    <a:gd name="T97" fmla="*/ 70 h 194"/>
                    <a:gd name="T98" fmla="*/ 251 w 298"/>
                    <a:gd name="T99" fmla="*/ 59 h 194"/>
                    <a:gd name="T100" fmla="*/ 234 w 298"/>
                    <a:gd name="T101" fmla="*/ 50 h 194"/>
                    <a:gd name="T102" fmla="*/ 225 w 298"/>
                    <a:gd name="T103" fmla="*/ 54 h 194"/>
                    <a:gd name="T104" fmla="*/ 210 w 298"/>
                    <a:gd name="T105" fmla="*/ 43 h 194"/>
                    <a:gd name="T106" fmla="*/ 208 w 298"/>
                    <a:gd name="T107" fmla="*/ 35 h 194"/>
                    <a:gd name="T108" fmla="*/ 202 w 298"/>
                    <a:gd name="T109" fmla="*/ 26 h 194"/>
                    <a:gd name="T110" fmla="*/ 202 w 298"/>
                    <a:gd name="T111" fmla="*/ 22 h 194"/>
                    <a:gd name="T112" fmla="*/ 186 w 298"/>
                    <a:gd name="T113" fmla="*/ 17 h 194"/>
                    <a:gd name="T114" fmla="*/ 180 w 298"/>
                    <a:gd name="T115" fmla="*/ 24 h 194"/>
                    <a:gd name="T116" fmla="*/ 169 w 298"/>
                    <a:gd name="T117" fmla="*/ 32 h 194"/>
                    <a:gd name="T118" fmla="*/ 156 w 298"/>
                    <a:gd name="T119" fmla="*/ 3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8" h="194">
                      <a:moveTo>
                        <a:pt x="156" y="37"/>
                      </a:moveTo>
                      <a:lnTo>
                        <a:pt x="141" y="24"/>
                      </a:lnTo>
                      <a:lnTo>
                        <a:pt x="143" y="19"/>
                      </a:lnTo>
                      <a:lnTo>
                        <a:pt x="134" y="11"/>
                      </a:lnTo>
                      <a:lnTo>
                        <a:pt x="126" y="0"/>
                      </a:lnTo>
                      <a:lnTo>
                        <a:pt x="117" y="11"/>
                      </a:lnTo>
                      <a:lnTo>
                        <a:pt x="111" y="7"/>
                      </a:lnTo>
                      <a:lnTo>
                        <a:pt x="100" y="17"/>
                      </a:lnTo>
                      <a:lnTo>
                        <a:pt x="100" y="22"/>
                      </a:lnTo>
                      <a:lnTo>
                        <a:pt x="87" y="28"/>
                      </a:lnTo>
                      <a:lnTo>
                        <a:pt x="54" y="54"/>
                      </a:lnTo>
                      <a:lnTo>
                        <a:pt x="45" y="65"/>
                      </a:lnTo>
                      <a:lnTo>
                        <a:pt x="45" y="78"/>
                      </a:lnTo>
                      <a:lnTo>
                        <a:pt x="33" y="82"/>
                      </a:lnTo>
                      <a:lnTo>
                        <a:pt x="9" y="108"/>
                      </a:lnTo>
                      <a:lnTo>
                        <a:pt x="9" y="117"/>
                      </a:lnTo>
                      <a:lnTo>
                        <a:pt x="0" y="128"/>
                      </a:lnTo>
                      <a:lnTo>
                        <a:pt x="4" y="141"/>
                      </a:lnTo>
                      <a:lnTo>
                        <a:pt x="15" y="134"/>
                      </a:lnTo>
                      <a:lnTo>
                        <a:pt x="26" y="122"/>
                      </a:lnTo>
                      <a:lnTo>
                        <a:pt x="43" y="119"/>
                      </a:lnTo>
                      <a:lnTo>
                        <a:pt x="54" y="122"/>
                      </a:lnTo>
                      <a:lnTo>
                        <a:pt x="58" y="141"/>
                      </a:lnTo>
                      <a:lnTo>
                        <a:pt x="56" y="154"/>
                      </a:lnTo>
                      <a:lnTo>
                        <a:pt x="63" y="163"/>
                      </a:lnTo>
                      <a:lnTo>
                        <a:pt x="72" y="169"/>
                      </a:lnTo>
                      <a:lnTo>
                        <a:pt x="91" y="171"/>
                      </a:lnTo>
                      <a:lnTo>
                        <a:pt x="132" y="176"/>
                      </a:lnTo>
                      <a:lnTo>
                        <a:pt x="141" y="171"/>
                      </a:lnTo>
                      <a:lnTo>
                        <a:pt x="147" y="163"/>
                      </a:lnTo>
                      <a:lnTo>
                        <a:pt x="151" y="146"/>
                      </a:lnTo>
                      <a:lnTo>
                        <a:pt x="166" y="145"/>
                      </a:lnTo>
                      <a:lnTo>
                        <a:pt x="171" y="156"/>
                      </a:lnTo>
                      <a:lnTo>
                        <a:pt x="171" y="181"/>
                      </a:lnTo>
                      <a:lnTo>
                        <a:pt x="190" y="194"/>
                      </a:lnTo>
                      <a:lnTo>
                        <a:pt x="204" y="172"/>
                      </a:lnTo>
                      <a:lnTo>
                        <a:pt x="219" y="165"/>
                      </a:lnTo>
                      <a:lnTo>
                        <a:pt x="236" y="167"/>
                      </a:lnTo>
                      <a:lnTo>
                        <a:pt x="249" y="174"/>
                      </a:lnTo>
                      <a:lnTo>
                        <a:pt x="254" y="180"/>
                      </a:lnTo>
                      <a:lnTo>
                        <a:pt x="258" y="161"/>
                      </a:lnTo>
                      <a:lnTo>
                        <a:pt x="268" y="139"/>
                      </a:lnTo>
                      <a:lnTo>
                        <a:pt x="291" y="135"/>
                      </a:lnTo>
                      <a:lnTo>
                        <a:pt x="298" y="121"/>
                      </a:lnTo>
                      <a:lnTo>
                        <a:pt x="291" y="109"/>
                      </a:lnTo>
                      <a:lnTo>
                        <a:pt x="280" y="104"/>
                      </a:lnTo>
                      <a:lnTo>
                        <a:pt x="252" y="99"/>
                      </a:lnTo>
                      <a:lnTo>
                        <a:pt x="251" y="85"/>
                      </a:lnTo>
                      <a:lnTo>
                        <a:pt x="251" y="70"/>
                      </a:lnTo>
                      <a:lnTo>
                        <a:pt x="251" y="59"/>
                      </a:lnTo>
                      <a:lnTo>
                        <a:pt x="234" y="50"/>
                      </a:lnTo>
                      <a:lnTo>
                        <a:pt x="225" y="54"/>
                      </a:lnTo>
                      <a:lnTo>
                        <a:pt x="210" y="43"/>
                      </a:lnTo>
                      <a:lnTo>
                        <a:pt x="208" y="35"/>
                      </a:lnTo>
                      <a:lnTo>
                        <a:pt x="202" y="26"/>
                      </a:lnTo>
                      <a:lnTo>
                        <a:pt x="202" y="22"/>
                      </a:lnTo>
                      <a:lnTo>
                        <a:pt x="186" y="17"/>
                      </a:lnTo>
                      <a:lnTo>
                        <a:pt x="180" y="24"/>
                      </a:lnTo>
                      <a:lnTo>
                        <a:pt x="169" y="32"/>
                      </a:lnTo>
                      <a:lnTo>
                        <a:pt x="156" y="37"/>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01" name="Freeform 17">
                  <a:extLst>
                    <a:ext uri="{FF2B5EF4-FFF2-40B4-BE49-F238E27FC236}">
                      <a16:creationId xmlns:a16="http://schemas.microsoft.com/office/drawing/2014/main" xmlns="" id="{18443D11-A3BE-4054-98C3-AA449E66C9C5}"/>
                    </a:ext>
                  </a:extLst>
                </p:cNvPr>
                <p:cNvSpPr>
                  <a:spLocks/>
                </p:cNvSpPr>
                <p:nvPr/>
              </p:nvSpPr>
              <p:spPr bwMode="gray">
                <a:xfrm>
                  <a:off x="2307752" y="4823605"/>
                  <a:ext cx="576758" cy="262278"/>
                </a:xfrm>
                <a:custGeom>
                  <a:avLst/>
                  <a:gdLst>
                    <a:gd name="T0" fmla="*/ 19 w 453"/>
                    <a:gd name="T1" fmla="*/ 72 h 206"/>
                    <a:gd name="T2" fmla="*/ 36 w 453"/>
                    <a:gd name="T3" fmla="*/ 82 h 206"/>
                    <a:gd name="T4" fmla="*/ 64 w 453"/>
                    <a:gd name="T5" fmla="*/ 80 h 206"/>
                    <a:gd name="T6" fmla="*/ 89 w 453"/>
                    <a:gd name="T7" fmla="*/ 78 h 206"/>
                    <a:gd name="T8" fmla="*/ 119 w 453"/>
                    <a:gd name="T9" fmla="*/ 88 h 206"/>
                    <a:gd name="T10" fmla="*/ 139 w 453"/>
                    <a:gd name="T11" fmla="*/ 85 h 206"/>
                    <a:gd name="T12" fmla="*/ 173 w 453"/>
                    <a:gd name="T13" fmla="*/ 81 h 206"/>
                    <a:gd name="T14" fmla="*/ 210 w 453"/>
                    <a:gd name="T15" fmla="*/ 100 h 206"/>
                    <a:gd name="T16" fmla="*/ 228 w 453"/>
                    <a:gd name="T17" fmla="*/ 81 h 206"/>
                    <a:gd name="T18" fmla="*/ 213 w 453"/>
                    <a:gd name="T19" fmla="*/ 40 h 206"/>
                    <a:gd name="T20" fmla="*/ 275 w 453"/>
                    <a:gd name="T21" fmla="*/ 5 h 206"/>
                    <a:gd name="T22" fmla="*/ 292 w 453"/>
                    <a:gd name="T23" fmla="*/ 20 h 206"/>
                    <a:gd name="T24" fmla="*/ 337 w 453"/>
                    <a:gd name="T25" fmla="*/ 2 h 206"/>
                    <a:gd name="T26" fmla="*/ 386 w 453"/>
                    <a:gd name="T27" fmla="*/ 17 h 206"/>
                    <a:gd name="T28" fmla="*/ 417 w 453"/>
                    <a:gd name="T29" fmla="*/ 8 h 206"/>
                    <a:gd name="T30" fmla="*/ 442 w 453"/>
                    <a:gd name="T31" fmla="*/ 52 h 206"/>
                    <a:gd name="T32" fmla="*/ 450 w 453"/>
                    <a:gd name="T33" fmla="*/ 82 h 206"/>
                    <a:gd name="T34" fmla="*/ 429 w 453"/>
                    <a:gd name="T35" fmla="*/ 100 h 206"/>
                    <a:gd name="T36" fmla="*/ 432 w 453"/>
                    <a:gd name="T37" fmla="*/ 120 h 206"/>
                    <a:gd name="T38" fmla="*/ 424 w 453"/>
                    <a:gd name="T39" fmla="*/ 148 h 206"/>
                    <a:gd name="T40" fmla="*/ 401 w 453"/>
                    <a:gd name="T41" fmla="*/ 172 h 206"/>
                    <a:gd name="T42" fmla="*/ 381 w 453"/>
                    <a:gd name="T43" fmla="*/ 189 h 206"/>
                    <a:gd name="T44" fmla="*/ 331 w 453"/>
                    <a:gd name="T45" fmla="*/ 192 h 206"/>
                    <a:gd name="T46" fmla="*/ 290 w 453"/>
                    <a:gd name="T47" fmla="*/ 206 h 206"/>
                    <a:gd name="T48" fmla="*/ 221 w 453"/>
                    <a:gd name="T49" fmla="*/ 192 h 206"/>
                    <a:gd name="T50" fmla="*/ 155 w 453"/>
                    <a:gd name="T51" fmla="*/ 165 h 206"/>
                    <a:gd name="T52" fmla="*/ 151 w 453"/>
                    <a:gd name="T53" fmla="*/ 141 h 206"/>
                    <a:gd name="T54" fmla="*/ 108 w 453"/>
                    <a:gd name="T55" fmla="*/ 139 h 206"/>
                    <a:gd name="T56" fmla="*/ 53 w 453"/>
                    <a:gd name="T57" fmla="*/ 132 h 206"/>
                    <a:gd name="T58" fmla="*/ 28 w 453"/>
                    <a:gd name="T59" fmla="*/ 123 h 206"/>
                    <a:gd name="T60" fmla="*/ 13 w 453"/>
                    <a:gd name="T61" fmla="*/ 105 h 206"/>
                    <a:gd name="T62" fmla="*/ 0 w 453"/>
                    <a:gd name="T63" fmla="*/ 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3" h="206">
                      <a:moveTo>
                        <a:pt x="0" y="74"/>
                      </a:moveTo>
                      <a:lnTo>
                        <a:pt x="19" y="72"/>
                      </a:lnTo>
                      <a:lnTo>
                        <a:pt x="26" y="70"/>
                      </a:lnTo>
                      <a:lnTo>
                        <a:pt x="36" y="82"/>
                      </a:lnTo>
                      <a:lnTo>
                        <a:pt x="49" y="78"/>
                      </a:lnTo>
                      <a:lnTo>
                        <a:pt x="64" y="80"/>
                      </a:lnTo>
                      <a:lnTo>
                        <a:pt x="73" y="87"/>
                      </a:lnTo>
                      <a:lnTo>
                        <a:pt x="89" y="78"/>
                      </a:lnTo>
                      <a:lnTo>
                        <a:pt x="110" y="79"/>
                      </a:lnTo>
                      <a:lnTo>
                        <a:pt x="119" y="88"/>
                      </a:lnTo>
                      <a:lnTo>
                        <a:pt x="132" y="91"/>
                      </a:lnTo>
                      <a:lnTo>
                        <a:pt x="139" y="85"/>
                      </a:lnTo>
                      <a:lnTo>
                        <a:pt x="162" y="81"/>
                      </a:lnTo>
                      <a:lnTo>
                        <a:pt x="173" y="81"/>
                      </a:lnTo>
                      <a:lnTo>
                        <a:pt x="190" y="87"/>
                      </a:lnTo>
                      <a:lnTo>
                        <a:pt x="210" y="100"/>
                      </a:lnTo>
                      <a:lnTo>
                        <a:pt x="225" y="94"/>
                      </a:lnTo>
                      <a:lnTo>
                        <a:pt x="228" y="81"/>
                      </a:lnTo>
                      <a:lnTo>
                        <a:pt x="218" y="64"/>
                      </a:lnTo>
                      <a:lnTo>
                        <a:pt x="213" y="40"/>
                      </a:lnTo>
                      <a:lnTo>
                        <a:pt x="264" y="5"/>
                      </a:lnTo>
                      <a:lnTo>
                        <a:pt x="275" y="5"/>
                      </a:lnTo>
                      <a:lnTo>
                        <a:pt x="277" y="17"/>
                      </a:lnTo>
                      <a:lnTo>
                        <a:pt x="292" y="20"/>
                      </a:lnTo>
                      <a:lnTo>
                        <a:pt x="324" y="16"/>
                      </a:lnTo>
                      <a:lnTo>
                        <a:pt x="337" y="2"/>
                      </a:lnTo>
                      <a:lnTo>
                        <a:pt x="377" y="0"/>
                      </a:lnTo>
                      <a:lnTo>
                        <a:pt x="386" y="17"/>
                      </a:lnTo>
                      <a:lnTo>
                        <a:pt x="402" y="17"/>
                      </a:lnTo>
                      <a:lnTo>
                        <a:pt x="417" y="8"/>
                      </a:lnTo>
                      <a:lnTo>
                        <a:pt x="442" y="24"/>
                      </a:lnTo>
                      <a:lnTo>
                        <a:pt x="442" y="52"/>
                      </a:lnTo>
                      <a:lnTo>
                        <a:pt x="453" y="64"/>
                      </a:lnTo>
                      <a:lnTo>
                        <a:pt x="450" y="82"/>
                      </a:lnTo>
                      <a:lnTo>
                        <a:pt x="442" y="100"/>
                      </a:lnTo>
                      <a:lnTo>
                        <a:pt x="429" y="100"/>
                      </a:lnTo>
                      <a:lnTo>
                        <a:pt x="424" y="105"/>
                      </a:lnTo>
                      <a:lnTo>
                        <a:pt x="432" y="120"/>
                      </a:lnTo>
                      <a:lnTo>
                        <a:pt x="432" y="135"/>
                      </a:lnTo>
                      <a:lnTo>
                        <a:pt x="424" y="148"/>
                      </a:lnTo>
                      <a:lnTo>
                        <a:pt x="402" y="159"/>
                      </a:lnTo>
                      <a:lnTo>
                        <a:pt x="401" y="172"/>
                      </a:lnTo>
                      <a:lnTo>
                        <a:pt x="401" y="185"/>
                      </a:lnTo>
                      <a:lnTo>
                        <a:pt x="381" y="189"/>
                      </a:lnTo>
                      <a:lnTo>
                        <a:pt x="347" y="187"/>
                      </a:lnTo>
                      <a:lnTo>
                        <a:pt x="331" y="192"/>
                      </a:lnTo>
                      <a:lnTo>
                        <a:pt x="302" y="192"/>
                      </a:lnTo>
                      <a:lnTo>
                        <a:pt x="290" y="206"/>
                      </a:lnTo>
                      <a:lnTo>
                        <a:pt x="244" y="191"/>
                      </a:lnTo>
                      <a:lnTo>
                        <a:pt x="221" y="192"/>
                      </a:lnTo>
                      <a:lnTo>
                        <a:pt x="163" y="179"/>
                      </a:lnTo>
                      <a:lnTo>
                        <a:pt x="155" y="165"/>
                      </a:lnTo>
                      <a:lnTo>
                        <a:pt x="155" y="150"/>
                      </a:lnTo>
                      <a:lnTo>
                        <a:pt x="151" y="141"/>
                      </a:lnTo>
                      <a:lnTo>
                        <a:pt x="144" y="137"/>
                      </a:lnTo>
                      <a:lnTo>
                        <a:pt x="108" y="139"/>
                      </a:lnTo>
                      <a:lnTo>
                        <a:pt x="58" y="144"/>
                      </a:lnTo>
                      <a:lnTo>
                        <a:pt x="53" y="132"/>
                      </a:lnTo>
                      <a:lnTo>
                        <a:pt x="43" y="128"/>
                      </a:lnTo>
                      <a:lnTo>
                        <a:pt x="28" y="123"/>
                      </a:lnTo>
                      <a:lnTo>
                        <a:pt x="13" y="119"/>
                      </a:lnTo>
                      <a:lnTo>
                        <a:pt x="13" y="105"/>
                      </a:lnTo>
                      <a:lnTo>
                        <a:pt x="13" y="85"/>
                      </a:lnTo>
                      <a:lnTo>
                        <a:pt x="0" y="74"/>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02" name="Freeform 18">
                  <a:extLst>
                    <a:ext uri="{FF2B5EF4-FFF2-40B4-BE49-F238E27FC236}">
                      <a16:creationId xmlns:a16="http://schemas.microsoft.com/office/drawing/2014/main" xmlns="" id="{6C4066BA-BCFF-4A80-A6FC-D29F024C15EB}"/>
                    </a:ext>
                  </a:extLst>
                </p:cNvPr>
                <p:cNvSpPr>
                  <a:spLocks/>
                </p:cNvSpPr>
                <p:nvPr/>
              </p:nvSpPr>
              <p:spPr bwMode="gray">
                <a:xfrm>
                  <a:off x="2815757" y="4856708"/>
                  <a:ext cx="536016" cy="323392"/>
                </a:xfrm>
                <a:custGeom>
                  <a:avLst/>
                  <a:gdLst>
                    <a:gd name="T0" fmla="*/ 2 w 421"/>
                    <a:gd name="T1" fmla="*/ 161 h 254"/>
                    <a:gd name="T2" fmla="*/ 15 w 421"/>
                    <a:gd name="T3" fmla="*/ 172 h 254"/>
                    <a:gd name="T4" fmla="*/ 13 w 421"/>
                    <a:gd name="T5" fmla="*/ 178 h 254"/>
                    <a:gd name="T6" fmla="*/ 17 w 421"/>
                    <a:gd name="T7" fmla="*/ 189 h 254"/>
                    <a:gd name="T8" fmla="*/ 28 w 421"/>
                    <a:gd name="T9" fmla="*/ 189 h 254"/>
                    <a:gd name="T10" fmla="*/ 70 w 421"/>
                    <a:gd name="T11" fmla="*/ 230 h 254"/>
                    <a:gd name="T12" fmla="*/ 83 w 421"/>
                    <a:gd name="T13" fmla="*/ 232 h 254"/>
                    <a:gd name="T14" fmla="*/ 117 w 421"/>
                    <a:gd name="T15" fmla="*/ 254 h 254"/>
                    <a:gd name="T16" fmla="*/ 133 w 421"/>
                    <a:gd name="T17" fmla="*/ 241 h 254"/>
                    <a:gd name="T18" fmla="*/ 157 w 421"/>
                    <a:gd name="T19" fmla="*/ 243 h 254"/>
                    <a:gd name="T20" fmla="*/ 165 w 421"/>
                    <a:gd name="T21" fmla="*/ 248 h 254"/>
                    <a:gd name="T22" fmla="*/ 183 w 421"/>
                    <a:gd name="T23" fmla="*/ 241 h 254"/>
                    <a:gd name="T24" fmla="*/ 220 w 421"/>
                    <a:gd name="T25" fmla="*/ 226 h 254"/>
                    <a:gd name="T26" fmla="*/ 264 w 421"/>
                    <a:gd name="T27" fmla="*/ 219 h 254"/>
                    <a:gd name="T28" fmla="*/ 282 w 421"/>
                    <a:gd name="T29" fmla="*/ 222 h 254"/>
                    <a:gd name="T30" fmla="*/ 288 w 421"/>
                    <a:gd name="T31" fmla="*/ 232 h 254"/>
                    <a:gd name="T32" fmla="*/ 303 w 421"/>
                    <a:gd name="T33" fmla="*/ 215 h 254"/>
                    <a:gd name="T34" fmla="*/ 323 w 421"/>
                    <a:gd name="T35" fmla="*/ 208 h 254"/>
                    <a:gd name="T36" fmla="*/ 342 w 421"/>
                    <a:gd name="T37" fmla="*/ 205 h 254"/>
                    <a:gd name="T38" fmla="*/ 375 w 421"/>
                    <a:gd name="T39" fmla="*/ 172 h 254"/>
                    <a:gd name="T40" fmla="*/ 384 w 421"/>
                    <a:gd name="T41" fmla="*/ 152 h 254"/>
                    <a:gd name="T42" fmla="*/ 388 w 421"/>
                    <a:gd name="T43" fmla="*/ 113 h 254"/>
                    <a:gd name="T44" fmla="*/ 392 w 421"/>
                    <a:gd name="T45" fmla="*/ 81 h 254"/>
                    <a:gd name="T46" fmla="*/ 405 w 421"/>
                    <a:gd name="T47" fmla="*/ 80 h 254"/>
                    <a:gd name="T48" fmla="*/ 415 w 421"/>
                    <a:gd name="T49" fmla="*/ 68 h 254"/>
                    <a:gd name="T50" fmla="*/ 421 w 421"/>
                    <a:gd name="T51" fmla="*/ 59 h 254"/>
                    <a:gd name="T52" fmla="*/ 408 w 421"/>
                    <a:gd name="T53" fmla="*/ 50 h 254"/>
                    <a:gd name="T54" fmla="*/ 401 w 421"/>
                    <a:gd name="T55" fmla="*/ 54 h 254"/>
                    <a:gd name="T56" fmla="*/ 382 w 421"/>
                    <a:gd name="T57" fmla="*/ 50 h 254"/>
                    <a:gd name="T58" fmla="*/ 371 w 421"/>
                    <a:gd name="T59" fmla="*/ 35 h 254"/>
                    <a:gd name="T60" fmla="*/ 360 w 421"/>
                    <a:gd name="T61" fmla="*/ 15 h 254"/>
                    <a:gd name="T62" fmla="*/ 347 w 421"/>
                    <a:gd name="T63" fmla="*/ 15 h 254"/>
                    <a:gd name="T64" fmla="*/ 327 w 421"/>
                    <a:gd name="T65" fmla="*/ 0 h 254"/>
                    <a:gd name="T66" fmla="*/ 316 w 421"/>
                    <a:gd name="T67" fmla="*/ 2 h 254"/>
                    <a:gd name="T68" fmla="*/ 275 w 421"/>
                    <a:gd name="T69" fmla="*/ 7 h 254"/>
                    <a:gd name="T70" fmla="*/ 267 w 421"/>
                    <a:gd name="T71" fmla="*/ 19 h 254"/>
                    <a:gd name="T72" fmla="*/ 256 w 421"/>
                    <a:gd name="T73" fmla="*/ 33 h 254"/>
                    <a:gd name="T74" fmla="*/ 241 w 421"/>
                    <a:gd name="T75" fmla="*/ 41 h 254"/>
                    <a:gd name="T76" fmla="*/ 227 w 421"/>
                    <a:gd name="T77" fmla="*/ 44 h 254"/>
                    <a:gd name="T78" fmla="*/ 216 w 421"/>
                    <a:gd name="T79" fmla="*/ 41 h 254"/>
                    <a:gd name="T80" fmla="*/ 207 w 421"/>
                    <a:gd name="T81" fmla="*/ 35 h 254"/>
                    <a:gd name="T82" fmla="*/ 200 w 421"/>
                    <a:gd name="T83" fmla="*/ 33 h 254"/>
                    <a:gd name="T84" fmla="*/ 187 w 421"/>
                    <a:gd name="T85" fmla="*/ 39 h 254"/>
                    <a:gd name="T86" fmla="*/ 170 w 421"/>
                    <a:gd name="T87" fmla="*/ 48 h 254"/>
                    <a:gd name="T88" fmla="*/ 135 w 421"/>
                    <a:gd name="T89" fmla="*/ 63 h 254"/>
                    <a:gd name="T90" fmla="*/ 120 w 421"/>
                    <a:gd name="T91" fmla="*/ 65 h 254"/>
                    <a:gd name="T92" fmla="*/ 83 w 421"/>
                    <a:gd name="T93" fmla="*/ 63 h 254"/>
                    <a:gd name="T94" fmla="*/ 78 w 421"/>
                    <a:gd name="T95" fmla="*/ 61 h 254"/>
                    <a:gd name="T96" fmla="*/ 68 w 421"/>
                    <a:gd name="T97" fmla="*/ 46 h 254"/>
                    <a:gd name="T98" fmla="*/ 56 w 421"/>
                    <a:gd name="T99" fmla="*/ 39 h 254"/>
                    <a:gd name="T100" fmla="*/ 52 w 421"/>
                    <a:gd name="T101" fmla="*/ 44 h 254"/>
                    <a:gd name="T102" fmla="*/ 50 w 421"/>
                    <a:gd name="T103" fmla="*/ 59 h 254"/>
                    <a:gd name="T104" fmla="*/ 43 w 421"/>
                    <a:gd name="T105" fmla="*/ 74 h 254"/>
                    <a:gd name="T106" fmla="*/ 30 w 421"/>
                    <a:gd name="T107" fmla="*/ 74 h 254"/>
                    <a:gd name="T108" fmla="*/ 26 w 421"/>
                    <a:gd name="T109" fmla="*/ 78 h 254"/>
                    <a:gd name="T110" fmla="*/ 33 w 421"/>
                    <a:gd name="T111" fmla="*/ 93 h 254"/>
                    <a:gd name="T112" fmla="*/ 31 w 421"/>
                    <a:gd name="T113" fmla="*/ 108 h 254"/>
                    <a:gd name="T114" fmla="*/ 22 w 421"/>
                    <a:gd name="T115" fmla="*/ 122 h 254"/>
                    <a:gd name="T116" fmla="*/ 15 w 421"/>
                    <a:gd name="T117" fmla="*/ 128 h 254"/>
                    <a:gd name="T118" fmla="*/ 4 w 421"/>
                    <a:gd name="T119" fmla="*/ 133 h 254"/>
                    <a:gd name="T120" fmla="*/ 0 w 421"/>
                    <a:gd name="T121" fmla="*/ 145 h 254"/>
                    <a:gd name="T122" fmla="*/ 2 w 421"/>
                    <a:gd name="T123" fmla="*/ 16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1" h="254">
                      <a:moveTo>
                        <a:pt x="2" y="161"/>
                      </a:moveTo>
                      <a:lnTo>
                        <a:pt x="15" y="172"/>
                      </a:lnTo>
                      <a:lnTo>
                        <a:pt x="13" y="178"/>
                      </a:lnTo>
                      <a:lnTo>
                        <a:pt x="17" y="189"/>
                      </a:lnTo>
                      <a:lnTo>
                        <a:pt x="28" y="189"/>
                      </a:lnTo>
                      <a:lnTo>
                        <a:pt x="70" y="230"/>
                      </a:lnTo>
                      <a:lnTo>
                        <a:pt x="83" y="232"/>
                      </a:lnTo>
                      <a:lnTo>
                        <a:pt x="117" y="254"/>
                      </a:lnTo>
                      <a:lnTo>
                        <a:pt x="133" y="241"/>
                      </a:lnTo>
                      <a:lnTo>
                        <a:pt x="157" y="243"/>
                      </a:lnTo>
                      <a:lnTo>
                        <a:pt x="165" y="248"/>
                      </a:lnTo>
                      <a:lnTo>
                        <a:pt x="183" y="241"/>
                      </a:lnTo>
                      <a:lnTo>
                        <a:pt x="220" y="226"/>
                      </a:lnTo>
                      <a:lnTo>
                        <a:pt x="264" y="219"/>
                      </a:lnTo>
                      <a:lnTo>
                        <a:pt x="282" y="222"/>
                      </a:lnTo>
                      <a:lnTo>
                        <a:pt x="288" y="232"/>
                      </a:lnTo>
                      <a:lnTo>
                        <a:pt x="303" y="215"/>
                      </a:lnTo>
                      <a:lnTo>
                        <a:pt x="323" y="208"/>
                      </a:lnTo>
                      <a:lnTo>
                        <a:pt x="342" y="205"/>
                      </a:lnTo>
                      <a:lnTo>
                        <a:pt x="375" y="172"/>
                      </a:lnTo>
                      <a:lnTo>
                        <a:pt x="384" y="152"/>
                      </a:lnTo>
                      <a:lnTo>
                        <a:pt x="388" y="113"/>
                      </a:lnTo>
                      <a:lnTo>
                        <a:pt x="392" y="81"/>
                      </a:lnTo>
                      <a:lnTo>
                        <a:pt x="405" y="80"/>
                      </a:lnTo>
                      <a:lnTo>
                        <a:pt x="415" y="68"/>
                      </a:lnTo>
                      <a:lnTo>
                        <a:pt x="421" y="59"/>
                      </a:lnTo>
                      <a:lnTo>
                        <a:pt x="408" y="50"/>
                      </a:lnTo>
                      <a:lnTo>
                        <a:pt x="401" y="54"/>
                      </a:lnTo>
                      <a:lnTo>
                        <a:pt x="382" y="50"/>
                      </a:lnTo>
                      <a:lnTo>
                        <a:pt x="371" y="35"/>
                      </a:lnTo>
                      <a:lnTo>
                        <a:pt x="360" y="15"/>
                      </a:lnTo>
                      <a:lnTo>
                        <a:pt x="347" y="15"/>
                      </a:lnTo>
                      <a:lnTo>
                        <a:pt x="327" y="0"/>
                      </a:lnTo>
                      <a:lnTo>
                        <a:pt x="316" y="2"/>
                      </a:lnTo>
                      <a:lnTo>
                        <a:pt x="275" y="7"/>
                      </a:lnTo>
                      <a:lnTo>
                        <a:pt x="267" y="19"/>
                      </a:lnTo>
                      <a:lnTo>
                        <a:pt x="256" y="33"/>
                      </a:lnTo>
                      <a:lnTo>
                        <a:pt x="241" y="41"/>
                      </a:lnTo>
                      <a:lnTo>
                        <a:pt x="227" y="44"/>
                      </a:lnTo>
                      <a:lnTo>
                        <a:pt x="216" y="41"/>
                      </a:lnTo>
                      <a:lnTo>
                        <a:pt x="207" y="35"/>
                      </a:lnTo>
                      <a:lnTo>
                        <a:pt x="200" y="33"/>
                      </a:lnTo>
                      <a:lnTo>
                        <a:pt x="187" y="39"/>
                      </a:lnTo>
                      <a:lnTo>
                        <a:pt x="170" y="48"/>
                      </a:lnTo>
                      <a:lnTo>
                        <a:pt x="135" y="63"/>
                      </a:lnTo>
                      <a:lnTo>
                        <a:pt x="120" y="65"/>
                      </a:lnTo>
                      <a:lnTo>
                        <a:pt x="83" y="63"/>
                      </a:lnTo>
                      <a:lnTo>
                        <a:pt x="78" y="61"/>
                      </a:lnTo>
                      <a:lnTo>
                        <a:pt x="68" y="46"/>
                      </a:lnTo>
                      <a:lnTo>
                        <a:pt x="56" y="39"/>
                      </a:lnTo>
                      <a:lnTo>
                        <a:pt x="52" y="44"/>
                      </a:lnTo>
                      <a:lnTo>
                        <a:pt x="50" y="59"/>
                      </a:lnTo>
                      <a:lnTo>
                        <a:pt x="43" y="74"/>
                      </a:lnTo>
                      <a:lnTo>
                        <a:pt x="30" y="74"/>
                      </a:lnTo>
                      <a:lnTo>
                        <a:pt x="26" y="78"/>
                      </a:lnTo>
                      <a:lnTo>
                        <a:pt x="33" y="93"/>
                      </a:lnTo>
                      <a:lnTo>
                        <a:pt x="31" y="108"/>
                      </a:lnTo>
                      <a:lnTo>
                        <a:pt x="22" y="122"/>
                      </a:lnTo>
                      <a:lnTo>
                        <a:pt x="15" y="128"/>
                      </a:lnTo>
                      <a:lnTo>
                        <a:pt x="4" y="133"/>
                      </a:lnTo>
                      <a:lnTo>
                        <a:pt x="0" y="145"/>
                      </a:lnTo>
                      <a:lnTo>
                        <a:pt x="2" y="161"/>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03" name="Freeform 19">
                  <a:extLst>
                    <a:ext uri="{FF2B5EF4-FFF2-40B4-BE49-F238E27FC236}">
                      <a16:creationId xmlns:a16="http://schemas.microsoft.com/office/drawing/2014/main" xmlns="" id="{67EB8B70-DA38-4007-B983-0DE7CE9A6413}"/>
                    </a:ext>
                  </a:extLst>
                </p:cNvPr>
                <p:cNvSpPr>
                  <a:spLocks/>
                </p:cNvSpPr>
                <p:nvPr/>
              </p:nvSpPr>
              <p:spPr bwMode="gray">
                <a:xfrm>
                  <a:off x="2585309" y="5060419"/>
                  <a:ext cx="252093" cy="146418"/>
                </a:xfrm>
                <a:custGeom>
                  <a:avLst/>
                  <a:gdLst>
                    <a:gd name="T0" fmla="*/ 17 w 198"/>
                    <a:gd name="T1" fmla="*/ 63 h 115"/>
                    <a:gd name="T2" fmla="*/ 37 w 198"/>
                    <a:gd name="T3" fmla="*/ 83 h 115"/>
                    <a:gd name="T4" fmla="*/ 31 w 198"/>
                    <a:gd name="T5" fmla="*/ 93 h 115"/>
                    <a:gd name="T6" fmla="*/ 22 w 198"/>
                    <a:gd name="T7" fmla="*/ 100 h 115"/>
                    <a:gd name="T8" fmla="*/ 11 w 198"/>
                    <a:gd name="T9" fmla="*/ 102 h 115"/>
                    <a:gd name="T10" fmla="*/ 0 w 198"/>
                    <a:gd name="T11" fmla="*/ 104 h 115"/>
                    <a:gd name="T12" fmla="*/ 20 w 198"/>
                    <a:gd name="T13" fmla="*/ 113 h 115"/>
                    <a:gd name="T14" fmla="*/ 28 w 198"/>
                    <a:gd name="T15" fmla="*/ 115 h 115"/>
                    <a:gd name="T16" fmla="*/ 53 w 198"/>
                    <a:gd name="T17" fmla="*/ 100 h 115"/>
                    <a:gd name="T18" fmla="*/ 108 w 198"/>
                    <a:gd name="T19" fmla="*/ 114 h 115"/>
                    <a:gd name="T20" fmla="*/ 144 w 198"/>
                    <a:gd name="T21" fmla="*/ 74 h 115"/>
                    <a:gd name="T22" fmla="*/ 151 w 198"/>
                    <a:gd name="T23" fmla="*/ 57 h 115"/>
                    <a:gd name="T24" fmla="*/ 158 w 198"/>
                    <a:gd name="T25" fmla="*/ 52 h 115"/>
                    <a:gd name="T26" fmla="*/ 178 w 198"/>
                    <a:gd name="T27" fmla="*/ 54 h 115"/>
                    <a:gd name="T28" fmla="*/ 198 w 198"/>
                    <a:gd name="T29" fmla="*/ 30 h 115"/>
                    <a:gd name="T30" fmla="*/ 196 w 198"/>
                    <a:gd name="T31" fmla="*/ 15 h 115"/>
                    <a:gd name="T32" fmla="*/ 182 w 198"/>
                    <a:gd name="T33" fmla="*/ 0 h 115"/>
                    <a:gd name="T34" fmla="*/ 173 w 198"/>
                    <a:gd name="T35" fmla="*/ 2 h 115"/>
                    <a:gd name="T36" fmla="*/ 163 w 198"/>
                    <a:gd name="T37" fmla="*/ 5 h 115"/>
                    <a:gd name="T38" fmla="*/ 145 w 198"/>
                    <a:gd name="T39" fmla="*/ 1 h 115"/>
                    <a:gd name="T40" fmla="*/ 127 w 198"/>
                    <a:gd name="T41" fmla="*/ 2 h 115"/>
                    <a:gd name="T42" fmla="*/ 109 w 198"/>
                    <a:gd name="T43" fmla="*/ 7 h 115"/>
                    <a:gd name="T44" fmla="*/ 84 w 198"/>
                    <a:gd name="T45" fmla="*/ 5 h 115"/>
                    <a:gd name="T46" fmla="*/ 73 w 198"/>
                    <a:gd name="T47" fmla="*/ 20 h 115"/>
                    <a:gd name="T48" fmla="*/ 31 w 198"/>
                    <a:gd name="T49" fmla="*/ 7 h 115"/>
                    <a:gd name="T50" fmla="*/ 15 w 198"/>
                    <a:gd name="T51" fmla="*/ 7 h 115"/>
                    <a:gd name="T52" fmla="*/ 15 w 198"/>
                    <a:gd name="T53" fmla="*/ 32 h 115"/>
                    <a:gd name="T54" fmla="*/ 17 w 198"/>
                    <a:gd name="T55" fmla="*/ 6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8" h="115">
                      <a:moveTo>
                        <a:pt x="17" y="63"/>
                      </a:moveTo>
                      <a:lnTo>
                        <a:pt x="37" y="83"/>
                      </a:lnTo>
                      <a:lnTo>
                        <a:pt x="31" y="93"/>
                      </a:lnTo>
                      <a:lnTo>
                        <a:pt x="22" y="100"/>
                      </a:lnTo>
                      <a:lnTo>
                        <a:pt x="11" y="102"/>
                      </a:lnTo>
                      <a:lnTo>
                        <a:pt x="0" y="104"/>
                      </a:lnTo>
                      <a:lnTo>
                        <a:pt x="20" y="113"/>
                      </a:lnTo>
                      <a:lnTo>
                        <a:pt x="28" y="115"/>
                      </a:lnTo>
                      <a:lnTo>
                        <a:pt x="53" y="100"/>
                      </a:lnTo>
                      <a:lnTo>
                        <a:pt x="108" y="114"/>
                      </a:lnTo>
                      <a:lnTo>
                        <a:pt x="144" y="74"/>
                      </a:lnTo>
                      <a:lnTo>
                        <a:pt x="151" y="57"/>
                      </a:lnTo>
                      <a:lnTo>
                        <a:pt x="158" y="52"/>
                      </a:lnTo>
                      <a:lnTo>
                        <a:pt x="178" y="54"/>
                      </a:lnTo>
                      <a:lnTo>
                        <a:pt x="198" y="30"/>
                      </a:lnTo>
                      <a:lnTo>
                        <a:pt x="196" y="15"/>
                      </a:lnTo>
                      <a:lnTo>
                        <a:pt x="182" y="0"/>
                      </a:lnTo>
                      <a:lnTo>
                        <a:pt x="173" y="2"/>
                      </a:lnTo>
                      <a:lnTo>
                        <a:pt x="163" y="5"/>
                      </a:lnTo>
                      <a:lnTo>
                        <a:pt x="145" y="1"/>
                      </a:lnTo>
                      <a:lnTo>
                        <a:pt x="127" y="2"/>
                      </a:lnTo>
                      <a:lnTo>
                        <a:pt x="109" y="7"/>
                      </a:lnTo>
                      <a:lnTo>
                        <a:pt x="84" y="5"/>
                      </a:lnTo>
                      <a:lnTo>
                        <a:pt x="73" y="20"/>
                      </a:lnTo>
                      <a:lnTo>
                        <a:pt x="31" y="7"/>
                      </a:lnTo>
                      <a:lnTo>
                        <a:pt x="15" y="7"/>
                      </a:lnTo>
                      <a:lnTo>
                        <a:pt x="15" y="32"/>
                      </a:lnTo>
                      <a:lnTo>
                        <a:pt x="17" y="63"/>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05" name="Freeform 21">
                  <a:extLst>
                    <a:ext uri="{FF2B5EF4-FFF2-40B4-BE49-F238E27FC236}">
                      <a16:creationId xmlns:a16="http://schemas.microsoft.com/office/drawing/2014/main" xmlns="" id="{BBFA41CD-1B7E-4EC2-8FAD-8A301BC2DFC6}"/>
                    </a:ext>
                  </a:extLst>
                </p:cNvPr>
                <p:cNvSpPr>
                  <a:spLocks/>
                </p:cNvSpPr>
                <p:nvPr/>
              </p:nvSpPr>
              <p:spPr bwMode="gray">
                <a:xfrm>
                  <a:off x="3044933" y="5549327"/>
                  <a:ext cx="189707" cy="315753"/>
                </a:xfrm>
                <a:custGeom>
                  <a:avLst/>
                  <a:gdLst>
                    <a:gd name="T0" fmla="*/ 11 w 149"/>
                    <a:gd name="T1" fmla="*/ 56 h 248"/>
                    <a:gd name="T2" fmla="*/ 20 w 149"/>
                    <a:gd name="T3" fmla="*/ 63 h 248"/>
                    <a:gd name="T4" fmla="*/ 20 w 149"/>
                    <a:gd name="T5" fmla="*/ 74 h 248"/>
                    <a:gd name="T6" fmla="*/ 19 w 149"/>
                    <a:gd name="T7" fmla="*/ 81 h 248"/>
                    <a:gd name="T8" fmla="*/ 13 w 149"/>
                    <a:gd name="T9" fmla="*/ 91 h 248"/>
                    <a:gd name="T10" fmla="*/ 13 w 149"/>
                    <a:gd name="T11" fmla="*/ 115 h 248"/>
                    <a:gd name="T12" fmla="*/ 17 w 149"/>
                    <a:gd name="T13" fmla="*/ 124 h 248"/>
                    <a:gd name="T14" fmla="*/ 4 w 149"/>
                    <a:gd name="T15" fmla="*/ 144 h 248"/>
                    <a:gd name="T16" fmla="*/ 7 w 149"/>
                    <a:gd name="T17" fmla="*/ 148 h 248"/>
                    <a:gd name="T18" fmla="*/ 0 w 149"/>
                    <a:gd name="T19" fmla="*/ 159 h 248"/>
                    <a:gd name="T20" fmla="*/ 6 w 149"/>
                    <a:gd name="T21" fmla="*/ 170 h 248"/>
                    <a:gd name="T22" fmla="*/ 7 w 149"/>
                    <a:gd name="T23" fmla="*/ 178 h 248"/>
                    <a:gd name="T24" fmla="*/ 11 w 149"/>
                    <a:gd name="T25" fmla="*/ 168 h 248"/>
                    <a:gd name="T26" fmla="*/ 22 w 149"/>
                    <a:gd name="T27" fmla="*/ 181 h 248"/>
                    <a:gd name="T28" fmla="*/ 20 w 149"/>
                    <a:gd name="T29" fmla="*/ 194 h 248"/>
                    <a:gd name="T30" fmla="*/ 15 w 149"/>
                    <a:gd name="T31" fmla="*/ 200 h 248"/>
                    <a:gd name="T32" fmla="*/ 22 w 149"/>
                    <a:gd name="T33" fmla="*/ 211 h 248"/>
                    <a:gd name="T34" fmla="*/ 31 w 149"/>
                    <a:gd name="T35" fmla="*/ 215 h 248"/>
                    <a:gd name="T36" fmla="*/ 47 w 149"/>
                    <a:gd name="T37" fmla="*/ 224 h 248"/>
                    <a:gd name="T38" fmla="*/ 60 w 149"/>
                    <a:gd name="T39" fmla="*/ 235 h 248"/>
                    <a:gd name="T40" fmla="*/ 62 w 149"/>
                    <a:gd name="T41" fmla="*/ 242 h 248"/>
                    <a:gd name="T42" fmla="*/ 77 w 149"/>
                    <a:gd name="T43" fmla="*/ 248 h 248"/>
                    <a:gd name="T44" fmla="*/ 90 w 149"/>
                    <a:gd name="T45" fmla="*/ 242 h 248"/>
                    <a:gd name="T46" fmla="*/ 106 w 149"/>
                    <a:gd name="T47" fmla="*/ 233 h 248"/>
                    <a:gd name="T48" fmla="*/ 114 w 149"/>
                    <a:gd name="T49" fmla="*/ 217 h 248"/>
                    <a:gd name="T50" fmla="*/ 121 w 149"/>
                    <a:gd name="T51" fmla="*/ 207 h 248"/>
                    <a:gd name="T52" fmla="*/ 134 w 149"/>
                    <a:gd name="T53" fmla="*/ 183 h 248"/>
                    <a:gd name="T54" fmla="*/ 138 w 149"/>
                    <a:gd name="T55" fmla="*/ 165 h 248"/>
                    <a:gd name="T56" fmla="*/ 140 w 149"/>
                    <a:gd name="T57" fmla="*/ 148 h 248"/>
                    <a:gd name="T58" fmla="*/ 149 w 149"/>
                    <a:gd name="T59" fmla="*/ 137 h 248"/>
                    <a:gd name="T60" fmla="*/ 134 w 149"/>
                    <a:gd name="T61" fmla="*/ 133 h 248"/>
                    <a:gd name="T62" fmla="*/ 129 w 149"/>
                    <a:gd name="T63" fmla="*/ 126 h 248"/>
                    <a:gd name="T64" fmla="*/ 121 w 149"/>
                    <a:gd name="T65" fmla="*/ 128 h 248"/>
                    <a:gd name="T66" fmla="*/ 108 w 149"/>
                    <a:gd name="T67" fmla="*/ 122 h 248"/>
                    <a:gd name="T68" fmla="*/ 105 w 149"/>
                    <a:gd name="T69" fmla="*/ 105 h 248"/>
                    <a:gd name="T70" fmla="*/ 101 w 149"/>
                    <a:gd name="T71" fmla="*/ 93 h 248"/>
                    <a:gd name="T72" fmla="*/ 108 w 149"/>
                    <a:gd name="T73" fmla="*/ 80 h 248"/>
                    <a:gd name="T74" fmla="*/ 108 w 149"/>
                    <a:gd name="T75" fmla="*/ 41 h 248"/>
                    <a:gd name="T76" fmla="*/ 108 w 149"/>
                    <a:gd name="T77" fmla="*/ 28 h 248"/>
                    <a:gd name="T78" fmla="*/ 101 w 149"/>
                    <a:gd name="T79" fmla="*/ 20 h 248"/>
                    <a:gd name="T80" fmla="*/ 88 w 149"/>
                    <a:gd name="T81" fmla="*/ 19 h 248"/>
                    <a:gd name="T82" fmla="*/ 79 w 149"/>
                    <a:gd name="T83" fmla="*/ 15 h 248"/>
                    <a:gd name="T84" fmla="*/ 71 w 149"/>
                    <a:gd name="T85" fmla="*/ 2 h 248"/>
                    <a:gd name="T86" fmla="*/ 62 w 149"/>
                    <a:gd name="T87" fmla="*/ 0 h 248"/>
                    <a:gd name="T88" fmla="*/ 58 w 149"/>
                    <a:gd name="T89" fmla="*/ 6 h 248"/>
                    <a:gd name="T90" fmla="*/ 57 w 149"/>
                    <a:gd name="T91" fmla="*/ 2 h 248"/>
                    <a:gd name="T92" fmla="*/ 41 w 149"/>
                    <a:gd name="T93" fmla="*/ 4 h 248"/>
                    <a:gd name="T94" fmla="*/ 33 w 149"/>
                    <a:gd name="T95" fmla="*/ 0 h 248"/>
                    <a:gd name="T96" fmla="*/ 22 w 149"/>
                    <a:gd name="T97" fmla="*/ 7 h 248"/>
                    <a:gd name="T98" fmla="*/ 20 w 149"/>
                    <a:gd name="T99" fmla="*/ 30 h 248"/>
                    <a:gd name="T100" fmla="*/ 17 w 149"/>
                    <a:gd name="T101" fmla="*/ 44 h 248"/>
                    <a:gd name="T102" fmla="*/ 11 w 149"/>
                    <a:gd name="T103" fmla="*/ 5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248">
                      <a:moveTo>
                        <a:pt x="11" y="56"/>
                      </a:moveTo>
                      <a:lnTo>
                        <a:pt x="20" y="63"/>
                      </a:lnTo>
                      <a:lnTo>
                        <a:pt x="20" y="74"/>
                      </a:lnTo>
                      <a:lnTo>
                        <a:pt x="19" y="81"/>
                      </a:lnTo>
                      <a:lnTo>
                        <a:pt x="13" y="91"/>
                      </a:lnTo>
                      <a:lnTo>
                        <a:pt x="13" y="115"/>
                      </a:lnTo>
                      <a:lnTo>
                        <a:pt x="17" y="124"/>
                      </a:lnTo>
                      <a:lnTo>
                        <a:pt x="4" y="144"/>
                      </a:lnTo>
                      <a:lnTo>
                        <a:pt x="7" y="148"/>
                      </a:lnTo>
                      <a:lnTo>
                        <a:pt x="0" y="159"/>
                      </a:lnTo>
                      <a:lnTo>
                        <a:pt x="6" y="170"/>
                      </a:lnTo>
                      <a:lnTo>
                        <a:pt x="7" y="178"/>
                      </a:lnTo>
                      <a:lnTo>
                        <a:pt x="11" y="168"/>
                      </a:lnTo>
                      <a:lnTo>
                        <a:pt x="22" y="181"/>
                      </a:lnTo>
                      <a:lnTo>
                        <a:pt x="20" y="194"/>
                      </a:lnTo>
                      <a:lnTo>
                        <a:pt x="15" y="200"/>
                      </a:lnTo>
                      <a:lnTo>
                        <a:pt x="22" y="211"/>
                      </a:lnTo>
                      <a:lnTo>
                        <a:pt x="31" y="215"/>
                      </a:lnTo>
                      <a:lnTo>
                        <a:pt x="47" y="224"/>
                      </a:lnTo>
                      <a:lnTo>
                        <a:pt x="60" y="235"/>
                      </a:lnTo>
                      <a:lnTo>
                        <a:pt x="62" y="242"/>
                      </a:lnTo>
                      <a:lnTo>
                        <a:pt x="77" y="248"/>
                      </a:lnTo>
                      <a:lnTo>
                        <a:pt x="90" y="242"/>
                      </a:lnTo>
                      <a:lnTo>
                        <a:pt x="106" y="233"/>
                      </a:lnTo>
                      <a:lnTo>
                        <a:pt x="114" y="217"/>
                      </a:lnTo>
                      <a:lnTo>
                        <a:pt x="121" y="207"/>
                      </a:lnTo>
                      <a:lnTo>
                        <a:pt x="134" y="183"/>
                      </a:lnTo>
                      <a:lnTo>
                        <a:pt x="138" y="165"/>
                      </a:lnTo>
                      <a:lnTo>
                        <a:pt x="140" y="148"/>
                      </a:lnTo>
                      <a:lnTo>
                        <a:pt x="149" y="137"/>
                      </a:lnTo>
                      <a:lnTo>
                        <a:pt x="134" y="133"/>
                      </a:lnTo>
                      <a:lnTo>
                        <a:pt x="129" y="126"/>
                      </a:lnTo>
                      <a:lnTo>
                        <a:pt x="121" y="128"/>
                      </a:lnTo>
                      <a:lnTo>
                        <a:pt x="108" y="122"/>
                      </a:lnTo>
                      <a:lnTo>
                        <a:pt x="105" y="105"/>
                      </a:lnTo>
                      <a:lnTo>
                        <a:pt x="101" y="93"/>
                      </a:lnTo>
                      <a:lnTo>
                        <a:pt x="108" y="80"/>
                      </a:lnTo>
                      <a:lnTo>
                        <a:pt x="108" y="41"/>
                      </a:lnTo>
                      <a:lnTo>
                        <a:pt x="108" y="28"/>
                      </a:lnTo>
                      <a:lnTo>
                        <a:pt x="101" y="20"/>
                      </a:lnTo>
                      <a:lnTo>
                        <a:pt x="88" y="19"/>
                      </a:lnTo>
                      <a:lnTo>
                        <a:pt x="79" y="15"/>
                      </a:lnTo>
                      <a:lnTo>
                        <a:pt x="71" y="2"/>
                      </a:lnTo>
                      <a:lnTo>
                        <a:pt x="62" y="0"/>
                      </a:lnTo>
                      <a:lnTo>
                        <a:pt x="58" y="6"/>
                      </a:lnTo>
                      <a:lnTo>
                        <a:pt x="57" y="2"/>
                      </a:lnTo>
                      <a:lnTo>
                        <a:pt x="41" y="4"/>
                      </a:lnTo>
                      <a:lnTo>
                        <a:pt x="33" y="0"/>
                      </a:lnTo>
                      <a:lnTo>
                        <a:pt x="22" y="7"/>
                      </a:lnTo>
                      <a:lnTo>
                        <a:pt x="20" y="30"/>
                      </a:lnTo>
                      <a:lnTo>
                        <a:pt x="17" y="44"/>
                      </a:lnTo>
                      <a:lnTo>
                        <a:pt x="11" y="56"/>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07" name="Freeform 23">
                  <a:extLst>
                    <a:ext uri="{FF2B5EF4-FFF2-40B4-BE49-F238E27FC236}">
                      <a16:creationId xmlns:a16="http://schemas.microsoft.com/office/drawing/2014/main" xmlns="" id="{F40C2F81-6A15-4D0E-911F-6A3FE6703C6C}"/>
                    </a:ext>
                  </a:extLst>
                </p:cNvPr>
                <p:cNvSpPr>
                  <a:spLocks/>
                </p:cNvSpPr>
                <p:nvPr/>
              </p:nvSpPr>
              <p:spPr bwMode="gray">
                <a:xfrm>
                  <a:off x="1877412" y="4398357"/>
                  <a:ext cx="267371" cy="235542"/>
                </a:xfrm>
                <a:custGeom>
                  <a:avLst/>
                  <a:gdLst>
                    <a:gd name="T0" fmla="*/ 0 w 210"/>
                    <a:gd name="T1" fmla="*/ 33 h 185"/>
                    <a:gd name="T2" fmla="*/ 5 w 210"/>
                    <a:gd name="T3" fmla="*/ 26 h 185"/>
                    <a:gd name="T4" fmla="*/ 3 w 210"/>
                    <a:gd name="T5" fmla="*/ 17 h 185"/>
                    <a:gd name="T6" fmla="*/ 35 w 210"/>
                    <a:gd name="T7" fmla="*/ 0 h 185"/>
                    <a:gd name="T8" fmla="*/ 38 w 210"/>
                    <a:gd name="T9" fmla="*/ 6 h 185"/>
                    <a:gd name="T10" fmla="*/ 61 w 210"/>
                    <a:gd name="T11" fmla="*/ 2 h 185"/>
                    <a:gd name="T12" fmla="*/ 79 w 210"/>
                    <a:gd name="T13" fmla="*/ 3 h 185"/>
                    <a:gd name="T14" fmla="*/ 72 w 210"/>
                    <a:gd name="T15" fmla="*/ 12 h 185"/>
                    <a:gd name="T16" fmla="*/ 76 w 210"/>
                    <a:gd name="T17" fmla="*/ 24 h 185"/>
                    <a:gd name="T18" fmla="*/ 91 w 210"/>
                    <a:gd name="T19" fmla="*/ 29 h 185"/>
                    <a:gd name="T20" fmla="*/ 106 w 210"/>
                    <a:gd name="T21" fmla="*/ 28 h 185"/>
                    <a:gd name="T22" fmla="*/ 118 w 210"/>
                    <a:gd name="T23" fmla="*/ 19 h 185"/>
                    <a:gd name="T24" fmla="*/ 138 w 210"/>
                    <a:gd name="T25" fmla="*/ 17 h 185"/>
                    <a:gd name="T26" fmla="*/ 144 w 210"/>
                    <a:gd name="T27" fmla="*/ 25 h 185"/>
                    <a:gd name="T28" fmla="*/ 156 w 210"/>
                    <a:gd name="T29" fmla="*/ 32 h 185"/>
                    <a:gd name="T30" fmla="*/ 173 w 210"/>
                    <a:gd name="T31" fmla="*/ 33 h 185"/>
                    <a:gd name="T32" fmla="*/ 170 w 210"/>
                    <a:gd name="T33" fmla="*/ 47 h 185"/>
                    <a:gd name="T34" fmla="*/ 171 w 210"/>
                    <a:gd name="T35" fmla="*/ 75 h 185"/>
                    <a:gd name="T36" fmla="*/ 174 w 210"/>
                    <a:gd name="T37" fmla="*/ 92 h 185"/>
                    <a:gd name="T38" fmla="*/ 193 w 210"/>
                    <a:gd name="T39" fmla="*/ 90 h 185"/>
                    <a:gd name="T40" fmla="*/ 199 w 210"/>
                    <a:gd name="T41" fmla="*/ 102 h 185"/>
                    <a:gd name="T42" fmla="*/ 200 w 210"/>
                    <a:gd name="T43" fmla="*/ 112 h 185"/>
                    <a:gd name="T44" fmla="*/ 210 w 210"/>
                    <a:gd name="T45" fmla="*/ 126 h 185"/>
                    <a:gd name="T46" fmla="*/ 198 w 210"/>
                    <a:gd name="T47" fmla="*/ 136 h 185"/>
                    <a:gd name="T48" fmla="*/ 187 w 210"/>
                    <a:gd name="T49" fmla="*/ 144 h 185"/>
                    <a:gd name="T50" fmla="*/ 175 w 210"/>
                    <a:gd name="T51" fmla="*/ 144 h 185"/>
                    <a:gd name="T52" fmla="*/ 161 w 210"/>
                    <a:gd name="T53" fmla="*/ 148 h 185"/>
                    <a:gd name="T54" fmla="*/ 161 w 210"/>
                    <a:gd name="T55" fmla="*/ 163 h 185"/>
                    <a:gd name="T56" fmla="*/ 155 w 210"/>
                    <a:gd name="T57" fmla="*/ 173 h 185"/>
                    <a:gd name="T58" fmla="*/ 140 w 210"/>
                    <a:gd name="T59" fmla="*/ 185 h 185"/>
                    <a:gd name="T60" fmla="*/ 115 w 210"/>
                    <a:gd name="T61" fmla="*/ 166 h 185"/>
                    <a:gd name="T62" fmla="*/ 108 w 210"/>
                    <a:gd name="T63" fmla="*/ 149 h 185"/>
                    <a:gd name="T64" fmla="*/ 85 w 210"/>
                    <a:gd name="T65" fmla="*/ 144 h 185"/>
                    <a:gd name="T66" fmla="*/ 77 w 210"/>
                    <a:gd name="T67" fmla="*/ 122 h 185"/>
                    <a:gd name="T68" fmla="*/ 61 w 210"/>
                    <a:gd name="T69" fmla="*/ 109 h 185"/>
                    <a:gd name="T70" fmla="*/ 55 w 210"/>
                    <a:gd name="T71" fmla="*/ 93 h 185"/>
                    <a:gd name="T72" fmla="*/ 42 w 210"/>
                    <a:gd name="T73" fmla="*/ 77 h 185"/>
                    <a:gd name="T74" fmla="*/ 33 w 210"/>
                    <a:gd name="T75" fmla="*/ 61 h 185"/>
                    <a:gd name="T76" fmla="*/ 16 w 210"/>
                    <a:gd name="T77" fmla="*/ 49 h 185"/>
                    <a:gd name="T78" fmla="*/ 0 w 210"/>
                    <a:gd name="T79" fmla="*/ 3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185">
                      <a:moveTo>
                        <a:pt x="0" y="33"/>
                      </a:moveTo>
                      <a:lnTo>
                        <a:pt x="5" y="26"/>
                      </a:lnTo>
                      <a:lnTo>
                        <a:pt x="3" y="17"/>
                      </a:lnTo>
                      <a:lnTo>
                        <a:pt x="35" y="0"/>
                      </a:lnTo>
                      <a:lnTo>
                        <a:pt x="38" y="6"/>
                      </a:lnTo>
                      <a:lnTo>
                        <a:pt x="61" y="2"/>
                      </a:lnTo>
                      <a:lnTo>
                        <a:pt x="79" y="3"/>
                      </a:lnTo>
                      <a:lnTo>
                        <a:pt x="72" y="12"/>
                      </a:lnTo>
                      <a:lnTo>
                        <a:pt x="76" y="24"/>
                      </a:lnTo>
                      <a:lnTo>
                        <a:pt x="91" y="29"/>
                      </a:lnTo>
                      <a:lnTo>
                        <a:pt x="106" y="28"/>
                      </a:lnTo>
                      <a:lnTo>
                        <a:pt x="118" y="19"/>
                      </a:lnTo>
                      <a:lnTo>
                        <a:pt x="138" y="17"/>
                      </a:lnTo>
                      <a:lnTo>
                        <a:pt x="144" y="25"/>
                      </a:lnTo>
                      <a:lnTo>
                        <a:pt x="156" y="32"/>
                      </a:lnTo>
                      <a:lnTo>
                        <a:pt x="173" y="33"/>
                      </a:lnTo>
                      <a:lnTo>
                        <a:pt x="170" y="47"/>
                      </a:lnTo>
                      <a:lnTo>
                        <a:pt x="171" y="75"/>
                      </a:lnTo>
                      <a:lnTo>
                        <a:pt x="174" y="92"/>
                      </a:lnTo>
                      <a:lnTo>
                        <a:pt x="193" y="90"/>
                      </a:lnTo>
                      <a:lnTo>
                        <a:pt x="199" y="102"/>
                      </a:lnTo>
                      <a:lnTo>
                        <a:pt x="200" y="112"/>
                      </a:lnTo>
                      <a:lnTo>
                        <a:pt x="210" y="126"/>
                      </a:lnTo>
                      <a:lnTo>
                        <a:pt x="198" y="136"/>
                      </a:lnTo>
                      <a:lnTo>
                        <a:pt x="187" y="144"/>
                      </a:lnTo>
                      <a:lnTo>
                        <a:pt x="175" y="144"/>
                      </a:lnTo>
                      <a:lnTo>
                        <a:pt x="161" y="148"/>
                      </a:lnTo>
                      <a:lnTo>
                        <a:pt x="161" y="163"/>
                      </a:lnTo>
                      <a:lnTo>
                        <a:pt x="155" y="173"/>
                      </a:lnTo>
                      <a:lnTo>
                        <a:pt x="140" y="185"/>
                      </a:lnTo>
                      <a:lnTo>
                        <a:pt x="115" y="166"/>
                      </a:lnTo>
                      <a:lnTo>
                        <a:pt x="108" y="149"/>
                      </a:lnTo>
                      <a:lnTo>
                        <a:pt x="85" y="144"/>
                      </a:lnTo>
                      <a:lnTo>
                        <a:pt x="77" y="122"/>
                      </a:lnTo>
                      <a:lnTo>
                        <a:pt x="61" y="109"/>
                      </a:lnTo>
                      <a:lnTo>
                        <a:pt x="55" y="93"/>
                      </a:lnTo>
                      <a:lnTo>
                        <a:pt x="42" y="77"/>
                      </a:lnTo>
                      <a:lnTo>
                        <a:pt x="33" y="61"/>
                      </a:lnTo>
                      <a:lnTo>
                        <a:pt x="16" y="49"/>
                      </a:lnTo>
                      <a:lnTo>
                        <a:pt x="0" y="33"/>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08" name="Freeform 24">
                  <a:extLst>
                    <a:ext uri="{FF2B5EF4-FFF2-40B4-BE49-F238E27FC236}">
                      <a16:creationId xmlns:a16="http://schemas.microsoft.com/office/drawing/2014/main" xmlns="" id="{AC231DA4-60D7-4517-9C22-94E650A617EE}"/>
                    </a:ext>
                  </a:extLst>
                </p:cNvPr>
                <p:cNvSpPr>
                  <a:spLocks/>
                </p:cNvSpPr>
                <p:nvPr/>
              </p:nvSpPr>
              <p:spPr bwMode="gray">
                <a:xfrm>
                  <a:off x="2059479" y="4581697"/>
                  <a:ext cx="72573" cy="90397"/>
                </a:xfrm>
                <a:custGeom>
                  <a:avLst/>
                  <a:gdLst>
                    <a:gd name="T0" fmla="*/ 41 w 57"/>
                    <a:gd name="T1" fmla="*/ 71 h 71"/>
                    <a:gd name="T2" fmla="*/ 44 w 57"/>
                    <a:gd name="T3" fmla="*/ 48 h 71"/>
                    <a:gd name="T4" fmla="*/ 57 w 57"/>
                    <a:gd name="T5" fmla="*/ 39 h 71"/>
                    <a:gd name="T6" fmla="*/ 57 w 57"/>
                    <a:gd name="T7" fmla="*/ 28 h 71"/>
                    <a:gd name="T8" fmla="*/ 50 w 57"/>
                    <a:gd name="T9" fmla="*/ 20 h 71"/>
                    <a:gd name="T10" fmla="*/ 43 w 57"/>
                    <a:gd name="T11" fmla="*/ 9 h 71"/>
                    <a:gd name="T12" fmla="*/ 39 w 57"/>
                    <a:gd name="T13" fmla="*/ 0 h 71"/>
                    <a:gd name="T14" fmla="*/ 26 w 57"/>
                    <a:gd name="T15" fmla="*/ 0 h 71"/>
                    <a:gd name="T16" fmla="*/ 17 w 57"/>
                    <a:gd name="T17" fmla="*/ 4 h 71"/>
                    <a:gd name="T18" fmla="*/ 17 w 57"/>
                    <a:gd name="T19" fmla="*/ 19 h 71"/>
                    <a:gd name="T20" fmla="*/ 9 w 57"/>
                    <a:gd name="T21" fmla="*/ 32 h 71"/>
                    <a:gd name="T22" fmla="*/ 0 w 57"/>
                    <a:gd name="T23" fmla="*/ 36 h 71"/>
                    <a:gd name="T24" fmla="*/ 4 w 57"/>
                    <a:gd name="T25" fmla="*/ 47 h 71"/>
                    <a:gd name="T26" fmla="*/ 16 w 57"/>
                    <a:gd name="T27" fmla="*/ 50 h 71"/>
                    <a:gd name="T28" fmla="*/ 28 w 57"/>
                    <a:gd name="T29" fmla="*/ 53 h 71"/>
                    <a:gd name="T30" fmla="*/ 35 w 57"/>
                    <a:gd name="T31" fmla="*/ 60 h 71"/>
                    <a:gd name="T32" fmla="*/ 41 w 57"/>
                    <a:gd name="T3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71">
                      <a:moveTo>
                        <a:pt x="41" y="71"/>
                      </a:moveTo>
                      <a:lnTo>
                        <a:pt x="44" y="48"/>
                      </a:lnTo>
                      <a:lnTo>
                        <a:pt x="57" y="39"/>
                      </a:lnTo>
                      <a:lnTo>
                        <a:pt x="57" y="28"/>
                      </a:lnTo>
                      <a:lnTo>
                        <a:pt x="50" y="20"/>
                      </a:lnTo>
                      <a:lnTo>
                        <a:pt x="43" y="9"/>
                      </a:lnTo>
                      <a:lnTo>
                        <a:pt x="39" y="0"/>
                      </a:lnTo>
                      <a:lnTo>
                        <a:pt x="26" y="0"/>
                      </a:lnTo>
                      <a:lnTo>
                        <a:pt x="17" y="4"/>
                      </a:lnTo>
                      <a:lnTo>
                        <a:pt x="17" y="19"/>
                      </a:lnTo>
                      <a:lnTo>
                        <a:pt x="9" y="32"/>
                      </a:lnTo>
                      <a:lnTo>
                        <a:pt x="0" y="36"/>
                      </a:lnTo>
                      <a:lnTo>
                        <a:pt x="4" y="47"/>
                      </a:lnTo>
                      <a:lnTo>
                        <a:pt x="16" y="50"/>
                      </a:lnTo>
                      <a:lnTo>
                        <a:pt x="28" y="53"/>
                      </a:lnTo>
                      <a:lnTo>
                        <a:pt x="35" y="60"/>
                      </a:lnTo>
                      <a:lnTo>
                        <a:pt x="41" y="71"/>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09" name="Freeform 25">
                  <a:extLst>
                    <a:ext uri="{FF2B5EF4-FFF2-40B4-BE49-F238E27FC236}">
                      <a16:creationId xmlns:a16="http://schemas.microsoft.com/office/drawing/2014/main" xmlns="" id="{29D47F41-6324-4110-8535-16BAB964E17B}"/>
                    </a:ext>
                  </a:extLst>
                </p:cNvPr>
                <p:cNvSpPr>
                  <a:spLocks/>
                </p:cNvSpPr>
                <p:nvPr/>
              </p:nvSpPr>
              <p:spPr bwMode="gray">
                <a:xfrm>
                  <a:off x="1970355" y="4226475"/>
                  <a:ext cx="272464" cy="289016"/>
                </a:xfrm>
                <a:custGeom>
                  <a:avLst/>
                  <a:gdLst>
                    <a:gd name="T0" fmla="*/ 89 w 214"/>
                    <a:gd name="T1" fmla="*/ 6 h 227"/>
                    <a:gd name="T2" fmla="*/ 67 w 214"/>
                    <a:gd name="T3" fmla="*/ 33 h 227"/>
                    <a:gd name="T4" fmla="*/ 67 w 214"/>
                    <a:gd name="T5" fmla="*/ 41 h 227"/>
                    <a:gd name="T6" fmla="*/ 54 w 214"/>
                    <a:gd name="T7" fmla="*/ 54 h 227"/>
                    <a:gd name="T8" fmla="*/ 56 w 214"/>
                    <a:gd name="T9" fmla="*/ 57 h 227"/>
                    <a:gd name="T10" fmla="*/ 52 w 214"/>
                    <a:gd name="T11" fmla="*/ 66 h 227"/>
                    <a:gd name="T12" fmla="*/ 39 w 214"/>
                    <a:gd name="T13" fmla="*/ 79 h 227"/>
                    <a:gd name="T14" fmla="*/ 26 w 214"/>
                    <a:gd name="T15" fmla="*/ 94 h 227"/>
                    <a:gd name="T16" fmla="*/ 21 w 214"/>
                    <a:gd name="T17" fmla="*/ 102 h 227"/>
                    <a:gd name="T18" fmla="*/ 26 w 214"/>
                    <a:gd name="T19" fmla="*/ 109 h 227"/>
                    <a:gd name="T20" fmla="*/ 22 w 214"/>
                    <a:gd name="T21" fmla="*/ 120 h 227"/>
                    <a:gd name="T22" fmla="*/ 15 w 214"/>
                    <a:gd name="T23" fmla="*/ 129 h 227"/>
                    <a:gd name="T24" fmla="*/ 9 w 214"/>
                    <a:gd name="T25" fmla="*/ 133 h 227"/>
                    <a:gd name="T26" fmla="*/ 0 w 214"/>
                    <a:gd name="T27" fmla="*/ 144 h 227"/>
                    <a:gd name="T28" fmla="*/ 1 w 214"/>
                    <a:gd name="T29" fmla="*/ 155 h 227"/>
                    <a:gd name="T30" fmla="*/ 11 w 214"/>
                    <a:gd name="T31" fmla="*/ 161 h 227"/>
                    <a:gd name="T32" fmla="*/ 35 w 214"/>
                    <a:gd name="T33" fmla="*/ 161 h 227"/>
                    <a:gd name="T34" fmla="*/ 49 w 214"/>
                    <a:gd name="T35" fmla="*/ 153 h 227"/>
                    <a:gd name="T36" fmla="*/ 63 w 214"/>
                    <a:gd name="T37" fmla="*/ 151 h 227"/>
                    <a:gd name="T38" fmla="*/ 74 w 214"/>
                    <a:gd name="T39" fmla="*/ 161 h 227"/>
                    <a:gd name="T40" fmla="*/ 85 w 214"/>
                    <a:gd name="T41" fmla="*/ 166 h 227"/>
                    <a:gd name="T42" fmla="*/ 100 w 214"/>
                    <a:gd name="T43" fmla="*/ 168 h 227"/>
                    <a:gd name="T44" fmla="*/ 96 w 214"/>
                    <a:gd name="T45" fmla="*/ 185 h 227"/>
                    <a:gd name="T46" fmla="*/ 101 w 214"/>
                    <a:gd name="T47" fmla="*/ 227 h 227"/>
                    <a:gd name="T48" fmla="*/ 114 w 214"/>
                    <a:gd name="T49" fmla="*/ 226 h 227"/>
                    <a:gd name="T50" fmla="*/ 122 w 214"/>
                    <a:gd name="T51" fmla="*/ 225 h 227"/>
                    <a:gd name="T52" fmla="*/ 125 w 214"/>
                    <a:gd name="T53" fmla="*/ 213 h 227"/>
                    <a:gd name="T54" fmla="*/ 127 w 214"/>
                    <a:gd name="T55" fmla="*/ 188 h 227"/>
                    <a:gd name="T56" fmla="*/ 137 w 214"/>
                    <a:gd name="T57" fmla="*/ 175 h 227"/>
                    <a:gd name="T58" fmla="*/ 137 w 214"/>
                    <a:gd name="T59" fmla="*/ 153 h 227"/>
                    <a:gd name="T60" fmla="*/ 145 w 214"/>
                    <a:gd name="T61" fmla="*/ 140 h 227"/>
                    <a:gd name="T62" fmla="*/ 161 w 214"/>
                    <a:gd name="T63" fmla="*/ 133 h 227"/>
                    <a:gd name="T64" fmla="*/ 192 w 214"/>
                    <a:gd name="T65" fmla="*/ 98 h 227"/>
                    <a:gd name="T66" fmla="*/ 196 w 214"/>
                    <a:gd name="T67" fmla="*/ 83 h 227"/>
                    <a:gd name="T68" fmla="*/ 191 w 214"/>
                    <a:gd name="T69" fmla="*/ 59 h 227"/>
                    <a:gd name="T70" fmla="*/ 211 w 214"/>
                    <a:gd name="T71" fmla="*/ 43 h 227"/>
                    <a:gd name="T72" fmla="*/ 214 w 214"/>
                    <a:gd name="T73" fmla="*/ 16 h 227"/>
                    <a:gd name="T74" fmla="*/ 200 w 214"/>
                    <a:gd name="T75" fmla="*/ 4 h 227"/>
                    <a:gd name="T76" fmla="*/ 191 w 214"/>
                    <a:gd name="T77" fmla="*/ 2 h 227"/>
                    <a:gd name="T78" fmla="*/ 174 w 214"/>
                    <a:gd name="T79" fmla="*/ 0 h 227"/>
                    <a:gd name="T80" fmla="*/ 137 w 214"/>
                    <a:gd name="T81" fmla="*/ 0 h 227"/>
                    <a:gd name="T82" fmla="*/ 126 w 214"/>
                    <a:gd name="T83" fmla="*/ 9 h 227"/>
                    <a:gd name="T84" fmla="*/ 117 w 214"/>
                    <a:gd name="T85" fmla="*/ 20 h 227"/>
                    <a:gd name="T86" fmla="*/ 119 w 214"/>
                    <a:gd name="T87" fmla="*/ 30 h 227"/>
                    <a:gd name="T88" fmla="*/ 132 w 214"/>
                    <a:gd name="T89" fmla="*/ 39 h 227"/>
                    <a:gd name="T90" fmla="*/ 141 w 214"/>
                    <a:gd name="T91" fmla="*/ 50 h 227"/>
                    <a:gd name="T92" fmla="*/ 141 w 214"/>
                    <a:gd name="T93" fmla="*/ 65 h 227"/>
                    <a:gd name="T94" fmla="*/ 126 w 214"/>
                    <a:gd name="T95" fmla="*/ 76 h 227"/>
                    <a:gd name="T96" fmla="*/ 111 w 214"/>
                    <a:gd name="T97" fmla="*/ 79 h 227"/>
                    <a:gd name="T98" fmla="*/ 100 w 214"/>
                    <a:gd name="T99" fmla="*/ 81 h 227"/>
                    <a:gd name="T100" fmla="*/ 95 w 214"/>
                    <a:gd name="T101" fmla="*/ 72 h 227"/>
                    <a:gd name="T102" fmla="*/ 91 w 214"/>
                    <a:gd name="T103" fmla="*/ 59 h 227"/>
                    <a:gd name="T104" fmla="*/ 98 w 214"/>
                    <a:gd name="T105" fmla="*/ 48 h 227"/>
                    <a:gd name="T106" fmla="*/ 96 w 214"/>
                    <a:gd name="T107" fmla="*/ 35 h 227"/>
                    <a:gd name="T108" fmla="*/ 95 w 214"/>
                    <a:gd name="T109" fmla="*/ 22 h 227"/>
                    <a:gd name="T110" fmla="*/ 89 w 214"/>
                    <a:gd name="T111" fmla="*/ 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 h="227">
                      <a:moveTo>
                        <a:pt x="89" y="6"/>
                      </a:moveTo>
                      <a:lnTo>
                        <a:pt x="67" y="33"/>
                      </a:lnTo>
                      <a:lnTo>
                        <a:pt x="67" y="41"/>
                      </a:lnTo>
                      <a:lnTo>
                        <a:pt x="54" y="54"/>
                      </a:lnTo>
                      <a:lnTo>
                        <a:pt x="56" y="57"/>
                      </a:lnTo>
                      <a:lnTo>
                        <a:pt x="52" y="66"/>
                      </a:lnTo>
                      <a:lnTo>
                        <a:pt x="39" y="79"/>
                      </a:lnTo>
                      <a:lnTo>
                        <a:pt x="26" y="94"/>
                      </a:lnTo>
                      <a:lnTo>
                        <a:pt x="21" y="102"/>
                      </a:lnTo>
                      <a:lnTo>
                        <a:pt x="26" y="109"/>
                      </a:lnTo>
                      <a:lnTo>
                        <a:pt x="22" y="120"/>
                      </a:lnTo>
                      <a:lnTo>
                        <a:pt x="15" y="129"/>
                      </a:lnTo>
                      <a:lnTo>
                        <a:pt x="9" y="133"/>
                      </a:lnTo>
                      <a:lnTo>
                        <a:pt x="0" y="144"/>
                      </a:lnTo>
                      <a:lnTo>
                        <a:pt x="1" y="155"/>
                      </a:lnTo>
                      <a:lnTo>
                        <a:pt x="11" y="161"/>
                      </a:lnTo>
                      <a:lnTo>
                        <a:pt x="35" y="161"/>
                      </a:lnTo>
                      <a:lnTo>
                        <a:pt x="49" y="153"/>
                      </a:lnTo>
                      <a:lnTo>
                        <a:pt x="63" y="151"/>
                      </a:lnTo>
                      <a:lnTo>
                        <a:pt x="74" y="161"/>
                      </a:lnTo>
                      <a:lnTo>
                        <a:pt x="85" y="166"/>
                      </a:lnTo>
                      <a:lnTo>
                        <a:pt x="100" y="168"/>
                      </a:lnTo>
                      <a:lnTo>
                        <a:pt x="96" y="185"/>
                      </a:lnTo>
                      <a:lnTo>
                        <a:pt x="101" y="227"/>
                      </a:lnTo>
                      <a:lnTo>
                        <a:pt x="114" y="226"/>
                      </a:lnTo>
                      <a:lnTo>
                        <a:pt x="122" y="225"/>
                      </a:lnTo>
                      <a:lnTo>
                        <a:pt x="125" y="213"/>
                      </a:lnTo>
                      <a:lnTo>
                        <a:pt x="127" y="188"/>
                      </a:lnTo>
                      <a:lnTo>
                        <a:pt x="137" y="175"/>
                      </a:lnTo>
                      <a:lnTo>
                        <a:pt x="137" y="153"/>
                      </a:lnTo>
                      <a:lnTo>
                        <a:pt x="145" y="140"/>
                      </a:lnTo>
                      <a:lnTo>
                        <a:pt x="161" y="133"/>
                      </a:lnTo>
                      <a:lnTo>
                        <a:pt x="192" y="98"/>
                      </a:lnTo>
                      <a:lnTo>
                        <a:pt x="196" y="83"/>
                      </a:lnTo>
                      <a:lnTo>
                        <a:pt x="191" y="59"/>
                      </a:lnTo>
                      <a:lnTo>
                        <a:pt x="211" y="43"/>
                      </a:lnTo>
                      <a:lnTo>
                        <a:pt x="214" y="16"/>
                      </a:lnTo>
                      <a:lnTo>
                        <a:pt x="200" y="4"/>
                      </a:lnTo>
                      <a:lnTo>
                        <a:pt x="191" y="2"/>
                      </a:lnTo>
                      <a:lnTo>
                        <a:pt x="174" y="0"/>
                      </a:lnTo>
                      <a:lnTo>
                        <a:pt x="137" y="0"/>
                      </a:lnTo>
                      <a:lnTo>
                        <a:pt x="126" y="9"/>
                      </a:lnTo>
                      <a:lnTo>
                        <a:pt x="117" y="20"/>
                      </a:lnTo>
                      <a:lnTo>
                        <a:pt x="119" y="30"/>
                      </a:lnTo>
                      <a:lnTo>
                        <a:pt x="132" y="39"/>
                      </a:lnTo>
                      <a:lnTo>
                        <a:pt x="141" y="50"/>
                      </a:lnTo>
                      <a:lnTo>
                        <a:pt x="141" y="65"/>
                      </a:lnTo>
                      <a:lnTo>
                        <a:pt x="126" y="76"/>
                      </a:lnTo>
                      <a:lnTo>
                        <a:pt x="111" y="79"/>
                      </a:lnTo>
                      <a:lnTo>
                        <a:pt x="100" y="81"/>
                      </a:lnTo>
                      <a:lnTo>
                        <a:pt x="95" y="72"/>
                      </a:lnTo>
                      <a:lnTo>
                        <a:pt x="91" y="59"/>
                      </a:lnTo>
                      <a:lnTo>
                        <a:pt x="98" y="48"/>
                      </a:lnTo>
                      <a:lnTo>
                        <a:pt x="96" y="35"/>
                      </a:lnTo>
                      <a:lnTo>
                        <a:pt x="95" y="22"/>
                      </a:lnTo>
                      <a:lnTo>
                        <a:pt x="89" y="6"/>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10" name="Freeform 26">
                  <a:extLst>
                    <a:ext uri="{FF2B5EF4-FFF2-40B4-BE49-F238E27FC236}">
                      <a16:creationId xmlns:a16="http://schemas.microsoft.com/office/drawing/2014/main" xmlns="" id="{D17521D5-FBC5-477A-BEF4-82F1186DF831}"/>
                    </a:ext>
                  </a:extLst>
                </p:cNvPr>
                <p:cNvSpPr>
                  <a:spLocks/>
                </p:cNvSpPr>
                <p:nvPr/>
              </p:nvSpPr>
              <p:spPr bwMode="gray">
                <a:xfrm>
                  <a:off x="1040922" y="3771945"/>
                  <a:ext cx="385779" cy="352676"/>
                </a:xfrm>
                <a:custGeom>
                  <a:avLst/>
                  <a:gdLst>
                    <a:gd name="T0" fmla="*/ 108 w 303"/>
                    <a:gd name="T1" fmla="*/ 115 h 277"/>
                    <a:gd name="T2" fmla="*/ 106 w 303"/>
                    <a:gd name="T3" fmla="*/ 139 h 277"/>
                    <a:gd name="T4" fmla="*/ 86 w 303"/>
                    <a:gd name="T5" fmla="*/ 135 h 277"/>
                    <a:gd name="T6" fmla="*/ 63 w 303"/>
                    <a:gd name="T7" fmla="*/ 167 h 277"/>
                    <a:gd name="T8" fmla="*/ 33 w 303"/>
                    <a:gd name="T9" fmla="*/ 191 h 277"/>
                    <a:gd name="T10" fmla="*/ 13 w 303"/>
                    <a:gd name="T11" fmla="*/ 195 h 277"/>
                    <a:gd name="T12" fmla="*/ 6 w 303"/>
                    <a:gd name="T13" fmla="*/ 201 h 277"/>
                    <a:gd name="T14" fmla="*/ 11 w 303"/>
                    <a:gd name="T15" fmla="*/ 221 h 277"/>
                    <a:gd name="T16" fmla="*/ 4 w 303"/>
                    <a:gd name="T17" fmla="*/ 245 h 277"/>
                    <a:gd name="T18" fmla="*/ 17 w 303"/>
                    <a:gd name="T19" fmla="*/ 245 h 277"/>
                    <a:gd name="T20" fmla="*/ 30 w 303"/>
                    <a:gd name="T21" fmla="*/ 244 h 277"/>
                    <a:gd name="T22" fmla="*/ 24 w 303"/>
                    <a:gd name="T23" fmla="*/ 262 h 277"/>
                    <a:gd name="T24" fmla="*/ 54 w 303"/>
                    <a:gd name="T25" fmla="*/ 268 h 277"/>
                    <a:gd name="T26" fmla="*/ 80 w 303"/>
                    <a:gd name="T27" fmla="*/ 277 h 277"/>
                    <a:gd name="T28" fmla="*/ 108 w 303"/>
                    <a:gd name="T29" fmla="*/ 262 h 277"/>
                    <a:gd name="T30" fmla="*/ 186 w 303"/>
                    <a:gd name="T31" fmla="*/ 268 h 277"/>
                    <a:gd name="T32" fmla="*/ 227 w 303"/>
                    <a:gd name="T33" fmla="*/ 242 h 277"/>
                    <a:gd name="T34" fmla="*/ 249 w 303"/>
                    <a:gd name="T35" fmla="*/ 221 h 277"/>
                    <a:gd name="T36" fmla="*/ 268 w 303"/>
                    <a:gd name="T37" fmla="*/ 195 h 277"/>
                    <a:gd name="T38" fmla="*/ 277 w 303"/>
                    <a:gd name="T39" fmla="*/ 135 h 277"/>
                    <a:gd name="T40" fmla="*/ 288 w 303"/>
                    <a:gd name="T41" fmla="*/ 107 h 277"/>
                    <a:gd name="T42" fmla="*/ 273 w 303"/>
                    <a:gd name="T43" fmla="*/ 76 h 277"/>
                    <a:gd name="T44" fmla="*/ 251 w 303"/>
                    <a:gd name="T45" fmla="*/ 70 h 277"/>
                    <a:gd name="T46" fmla="*/ 240 w 303"/>
                    <a:gd name="T47" fmla="*/ 41 h 277"/>
                    <a:gd name="T48" fmla="*/ 271 w 303"/>
                    <a:gd name="T49" fmla="*/ 0 h 277"/>
                    <a:gd name="T50" fmla="*/ 223 w 303"/>
                    <a:gd name="T51" fmla="*/ 4 h 277"/>
                    <a:gd name="T52" fmla="*/ 201 w 303"/>
                    <a:gd name="T53" fmla="*/ 19 h 277"/>
                    <a:gd name="T54" fmla="*/ 180 w 303"/>
                    <a:gd name="T55" fmla="*/ 22 h 277"/>
                    <a:gd name="T56" fmla="*/ 204 w 303"/>
                    <a:gd name="T57" fmla="*/ 44 h 277"/>
                    <a:gd name="T58" fmla="*/ 158 w 303"/>
                    <a:gd name="T59" fmla="*/ 50 h 277"/>
                    <a:gd name="T60" fmla="*/ 113 w 303"/>
                    <a:gd name="T61" fmla="*/ 32 h 277"/>
                    <a:gd name="T62" fmla="*/ 100 w 303"/>
                    <a:gd name="T63" fmla="*/ 54 h 277"/>
                    <a:gd name="T64" fmla="*/ 99 w 303"/>
                    <a:gd name="T65" fmla="*/ 67 h 277"/>
                    <a:gd name="T66" fmla="*/ 87 w 303"/>
                    <a:gd name="T67" fmla="*/ 89 h 277"/>
                    <a:gd name="T68" fmla="*/ 72 w 303"/>
                    <a:gd name="T69" fmla="*/ 111 h 277"/>
                    <a:gd name="T70" fmla="*/ 89 w 303"/>
                    <a:gd name="T71" fmla="*/ 12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277">
                      <a:moveTo>
                        <a:pt x="112" y="104"/>
                      </a:moveTo>
                      <a:lnTo>
                        <a:pt x="108" y="115"/>
                      </a:lnTo>
                      <a:lnTo>
                        <a:pt x="112" y="130"/>
                      </a:lnTo>
                      <a:lnTo>
                        <a:pt x="106" y="139"/>
                      </a:lnTo>
                      <a:lnTo>
                        <a:pt x="97" y="133"/>
                      </a:lnTo>
                      <a:lnTo>
                        <a:pt x="86" y="135"/>
                      </a:lnTo>
                      <a:lnTo>
                        <a:pt x="86" y="146"/>
                      </a:lnTo>
                      <a:lnTo>
                        <a:pt x="63" y="167"/>
                      </a:lnTo>
                      <a:lnTo>
                        <a:pt x="50" y="172"/>
                      </a:lnTo>
                      <a:lnTo>
                        <a:pt x="33" y="191"/>
                      </a:lnTo>
                      <a:lnTo>
                        <a:pt x="22" y="196"/>
                      </a:lnTo>
                      <a:lnTo>
                        <a:pt x="13" y="195"/>
                      </a:lnTo>
                      <a:lnTo>
                        <a:pt x="9" y="198"/>
                      </a:lnTo>
                      <a:lnTo>
                        <a:pt x="6" y="201"/>
                      </a:lnTo>
                      <a:lnTo>
                        <a:pt x="11" y="208"/>
                      </a:lnTo>
                      <a:lnTo>
                        <a:pt x="11" y="221"/>
                      </a:lnTo>
                      <a:lnTo>
                        <a:pt x="0" y="233"/>
                      </a:lnTo>
                      <a:lnTo>
                        <a:pt x="4" y="245"/>
                      </a:lnTo>
                      <a:lnTo>
                        <a:pt x="4" y="245"/>
                      </a:lnTo>
                      <a:lnTo>
                        <a:pt x="17" y="245"/>
                      </a:lnTo>
                      <a:lnTo>
                        <a:pt x="22" y="236"/>
                      </a:lnTo>
                      <a:lnTo>
                        <a:pt x="30" y="244"/>
                      </a:lnTo>
                      <a:lnTo>
                        <a:pt x="20" y="251"/>
                      </a:lnTo>
                      <a:lnTo>
                        <a:pt x="24" y="262"/>
                      </a:lnTo>
                      <a:lnTo>
                        <a:pt x="30" y="264"/>
                      </a:lnTo>
                      <a:lnTo>
                        <a:pt x="54" y="268"/>
                      </a:lnTo>
                      <a:lnTo>
                        <a:pt x="58" y="270"/>
                      </a:lnTo>
                      <a:lnTo>
                        <a:pt x="80" y="277"/>
                      </a:lnTo>
                      <a:lnTo>
                        <a:pt x="89" y="273"/>
                      </a:lnTo>
                      <a:lnTo>
                        <a:pt x="108" y="262"/>
                      </a:lnTo>
                      <a:lnTo>
                        <a:pt x="136" y="268"/>
                      </a:lnTo>
                      <a:lnTo>
                        <a:pt x="186" y="268"/>
                      </a:lnTo>
                      <a:lnTo>
                        <a:pt x="214" y="262"/>
                      </a:lnTo>
                      <a:lnTo>
                        <a:pt x="227" y="242"/>
                      </a:lnTo>
                      <a:lnTo>
                        <a:pt x="244" y="233"/>
                      </a:lnTo>
                      <a:lnTo>
                        <a:pt x="249" y="221"/>
                      </a:lnTo>
                      <a:lnTo>
                        <a:pt x="255" y="205"/>
                      </a:lnTo>
                      <a:lnTo>
                        <a:pt x="268" y="195"/>
                      </a:lnTo>
                      <a:lnTo>
                        <a:pt x="279" y="167"/>
                      </a:lnTo>
                      <a:lnTo>
                        <a:pt x="277" y="135"/>
                      </a:lnTo>
                      <a:lnTo>
                        <a:pt x="303" y="120"/>
                      </a:lnTo>
                      <a:lnTo>
                        <a:pt x="288" y="107"/>
                      </a:lnTo>
                      <a:lnTo>
                        <a:pt x="283" y="85"/>
                      </a:lnTo>
                      <a:lnTo>
                        <a:pt x="273" y="76"/>
                      </a:lnTo>
                      <a:lnTo>
                        <a:pt x="262" y="76"/>
                      </a:lnTo>
                      <a:lnTo>
                        <a:pt x="251" y="70"/>
                      </a:lnTo>
                      <a:lnTo>
                        <a:pt x="231" y="46"/>
                      </a:lnTo>
                      <a:lnTo>
                        <a:pt x="240" y="41"/>
                      </a:lnTo>
                      <a:lnTo>
                        <a:pt x="275" y="9"/>
                      </a:lnTo>
                      <a:lnTo>
                        <a:pt x="271" y="0"/>
                      </a:lnTo>
                      <a:lnTo>
                        <a:pt x="260" y="2"/>
                      </a:lnTo>
                      <a:lnTo>
                        <a:pt x="223" y="4"/>
                      </a:lnTo>
                      <a:lnTo>
                        <a:pt x="210" y="13"/>
                      </a:lnTo>
                      <a:lnTo>
                        <a:pt x="201" y="19"/>
                      </a:lnTo>
                      <a:lnTo>
                        <a:pt x="188" y="17"/>
                      </a:lnTo>
                      <a:lnTo>
                        <a:pt x="180" y="22"/>
                      </a:lnTo>
                      <a:lnTo>
                        <a:pt x="186" y="32"/>
                      </a:lnTo>
                      <a:lnTo>
                        <a:pt x="204" y="44"/>
                      </a:lnTo>
                      <a:lnTo>
                        <a:pt x="191" y="46"/>
                      </a:lnTo>
                      <a:lnTo>
                        <a:pt x="158" y="50"/>
                      </a:lnTo>
                      <a:lnTo>
                        <a:pt x="136" y="41"/>
                      </a:lnTo>
                      <a:lnTo>
                        <a:pt x="113" y="32"/>
                      </a:lnTo>
                      <a:lnTo>
                        <a:pt x="106" y="37"/>
                      </a:lnTo>
                      <a:lnTo>
                        <a:pt x="100" y="54"/>
                      </a:lnTo>
                      <a:lnTo>
                        <a:pt x="102" y="63"/>
                      </a:lnTo>
                      <a:lnTo>
                        <a:pt x="99" y="67"/>
                      </a:lnTo>
                      <a:lnTo>
                        <a:pt x="86" y="72"/>
                      </a:lnTo>
                      <a:lnTo>
                        <a:pt x="87" y="89"/>
                      </a:lnTo>
                      <a:lnTo>
                        <a:pt x="86" y="93"/>
                      </a:lnTo>
                      <a:lnTo>
                        <a:pt x="72" y="111"/>
                      </a:lnTo>
                      <a:lnTo>
                        <a:pt x="84" y="128"/>
                      </a:lnTo>
                      <a:lnTo>
                        <a:pt x="89" y="126"/>
                      </a:lnTo>
                      <a:lnTo>
                        <a:pt x="112" y="104"/>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nvGrpSpPr>
                <p:cNvPr id="211" name="Group 33">
                  <a:extLst>
                    <a:ext uri="{FF2B5EF4-FFF2-40B4-BE49-F238E27FC236}">
                      <a16:creationId xmlns:a16="http://schemas.microsoft.com/office/drawing/2014/main" xmlns="" id="{7467407D-ACD7-498C-830B-0836F17D3F86}"/>
                    </a:ext>
                  </a:extLst>
                </p:cNvPr>
                <p:cNvGrpSpPr>
                  <a:grpSpLocks/>
                </p:cNvGrpSpPr>
                <p:nvPr/>
              </p:nvGrpSpPr>
              <p:grpSpPr bwMode="gray">
                <a:xfrm>
                  <a:off x="2352314" y="3797409"/>
                  <a:ext cx="439253" cy="346309"/>
                  <a:chOff x="2002" y="1691"/>
                  <a:chExt cx="345" cy="272"/>
                </a:xfrm>
                <a:solidFill>
                  <a:schemeClr val="accent3"/>
                </a:solidFill>
              </p:grpSpPr>
              <p:sp>
                <p:nvSpPr>
                  <p:cNvPr id="212" name="Freeform 27">
                    <a:extLst>
                      <a:ext uri="{FF2B5EF4-FFF2-40B4-BE49-F238E27FC236}">
                        <a16:creationId xmlns:a16="http://schemas.microsoft.com/office/drawing/2014/main" xmlns="" id="{27B4EF4D-59B2-4868-8D20-4F36B8FBC4C5}"/>
                      </a:ext>
                    </a:extLst>
                  </p:cNvPr>
                  <p:cNvSpPr>
                    <a:spLocks/>
                  </p:cNvSpPr>
                  <p:nvPr/>
                </p:nvSpPr>
                <p:spPr bwMode="gray">
                  <a:xfrm>
                    <a:off x="2002" y="1746"/>
                    <a:ext cx="146" cy="179"/>
                  </a:xfrm>
                  <a:custGeom>
                    <a:avLst/>
                    <a:gdLst>
                      <a:gd name="T0" fmla="*/ 12 w 146"/>
                      <a:gd name="T1" fmla="*/ 153 h 179"/>
                      <a:gd name="T2" fmla="*/ 20 w 146"/>
                      <a:gd name="T3" fmla="*/ 166 h 179"/>
                      <a:gd name="T4" fmla="*/ 36 w 146"/>
                      <a:gd name="T5" fmla="*/ 166 h 179"/>
                      <a:gd name="T6" fmla="*/ 51 w 146"/>
                      <a:gd name="T7" fmla="*/ 170 h 179"/>
                      <a:gd name="T8" fmla="*/ 62 w 146"/>
                      <a:gd name="T9" fmla="*/ 179 h 179"/>
                      <a:gd name="T10" fmla="*/ 74 w 146"/>
                      <a:gd name="T11" fmla="*/ 179 h 179"/>
                      <a:gd name="T12" fmla="*/ 66 w 146"/>
                      <a:gd name="T13" fmla="*/ 168 h 179"/>
                      <a:gd name="T14" fmla="*/ 72 w 146"/>
                      <a:gd name="T15" fmla="*/ 153 h 179"/>
                      <a:gd name="T16" fmla="*/ 79 w 146"/>
                      <a:gd name="T17" fmla="*/ 136 h 179"/>
                      <a:gd name="T18" fmla="*/ 83 w 146"/>
                      <a:gd name="T19" fmla="*/ 117 h 179"/>
                      <a:gd name="T20" fmla="*/ 100 w 146"/>
                      <a:gd name="T21" fmla="*/ 106 h 179"/>
                      <a:gd name="T22" fmla="*/ 114 w 146"/>
                      <a:gd name="T23" fmla="*/ 98 h 179"/>
                      <a:gd name="T24" fmla="*/ 113 w 146"/>
                      <a:gd name="T25" fmla="*/ 87 h 179"/>
                      <a:gd name="T26" fmla="*/ 113 w 146"/>
                      <a:gd name="T27" fmla="*/ 69 h 179"/>
                      <a:gd name="T28" fmla="*/ 116 w 146"/>
                      <a:gd name="T29" fmla="*/ 61 h 179"/>
                      <a:gd name="T30" fmla="*/ 129 w 146"/>
                      <a:gd name="T31" fmla="*/ 59 h 179"/>
                      <a:gd name="T32" fmla="*/ 135 w 146"/>
                      <a:gd name="T33" fmla="*/ 63 h 179"/>
                      <a:gd name="T34" fmla="*/ 146 w 146"/>
                      <a:gd name="T35" fmla="*/ 50 h 179"/>
                      <a:gd name="T36" fmla="*/ 142 w 146"/>
                      <a:gd name="T37" fmla="*/ 39 h 179"/>
                      <a:gd name="T38" fmla="*/ 135 w 146"/>
                      <a:gd name="T39" fmla="*/ 37 h 179"/>
                      <a:gd name="T40" fmla="*/ 122 w 146"/>
                      <a:gd name="T41" fmla="*/ 37 h 179"/>
                      <a:gd name="T42" fmla="*/ 116 w 146"/>
                      <a:gd name="T43" fmla="*/ 37 h 179"/>
                      <a:gd name="T44" fmla="*/ 113 w 146"/>
                      <a:gd name="T45" fmla="*/ 20 h 179"/>
                      <a:gd name="T46" fmla="*/ 114 w 146"/>
                      <a:gd name="T47" fmla="*/ 4 h 179"/>
                      <a:gd name="T48" fmla="*/ 105 w 146"/>
                      <a:gd name="T49" fmla="*/ 0 h 179"/>
                      <a:gd name="T50" fmla="*/ 101 w 146"/>
                      <a:gd name="T51" fmla="*/ 6 h 179"/>
                      <a:gd name="T52" fmla="*/ 79 w 146"/>
                      <a:gd name="T53" fmla="*/ 2 h 179"/>
                      <a:gd name="T54" fmla="*/ 74 w 146"/>
                      <a:gd name="T55" fmla="*/ 7 h 179"/>
                      <a:gd name="T56" fmla="*/ 79 w 146"/>
                      <a:gd name="T57" fmla="*/ 22 h 179"/>
                      <a:gd name="T58" fmla="*/ 77 w 146"/>
                      <a:gd name="T59" fmla="*/ 37 h 179"/>
                      <a:gd name="T60" fmla="*/ 68 w 146"/>
                      <a:gd name="T61" fmla="*/ 26 h 179"/>
                      <a:gd name="T62" fmla="*/ 64 w 146"/>
                      <a:gd name="T63" fmla="*/ 17 h 179"/>
                      <a:gd name="T64" fmla="*/ 51 w 146"/>
                      <a:gd name="T65" fmla="*/ 19 h 179"/>
                      <a:gd name="T66" fmla="*/ 46 w 146"/>
                      <a:gd name="T67" fmla="*/ 28 h 179"/>
                      <a:gd name="T68" fmla="*/ 42 w 146"/>
                      <a:gd name="T69" fmla="*/ 32 h 179"/>
                      <a:gd name="T70" fmla="*/ 42 w 146"/>
                      <a:gd name="T71" fmla="*/ 45 h 179"/>
                      <a:gd name="T72" fmla="*/ 40 w 146"/>
                      <a:gd name="T73" fmla="*/ 43 h 179"/>
                      <a:gd name="T74" fmla="*/ 29 w 146"/>
                      <a:gd name="T75" fmla="*/ 26 h 179"/>
                      <a:gd name="T76" fmla="*/ 23 w 146"/>
                      <a:gd name="T77" fmla="*/ 20 h 179"/>
                      <a:gd name="T78" fmla="*/ 16 w 146"/>
                      <a:gd name="T79" fmla="*/ 24 h 179"/>
                      <a:gd name="T80" fmla="*/ 18 w 146"/>
                      <a:gd name="T81" fmla="*/ 33 h 179"/>
                      <a:gd name="T82" fmla="*/ 18 w 146"/>
                      <a:gd name="T83" fmla="*/ 39 h 179"/>
                      <a:gd name="T84" fmla="*/ 7 w 146"/>
                      <a:gd name="T85" fmla="*/ 43 h 179"/>
                      <a:gd name="T86" fmla="*/ 7 w 146"/>
                      <a:gd name="T87" fmla="*/ 56 h 179"/>
                      <a:gd name="T88" fmla="*/ 16 w 146"/>
                      <a:gd name="T89" fmla="*/ 69 h 179"/>
                      <a:gd name="T90" fmla="*/ 16 w 146"/>
                      <a:gd name="T91" fmla="*/ 78 h 179"/>
                      <a:gd name="T92" fmla="*/ 12 w 146"/>
                      <a:gd name="T93" fmla="*/ 87 h 179"/>
                      <a:gd name="T94" fmla="*/ 0 w 146"/>
                      <a:gd name="T95" fmla="*/ 96 h 179"/>
                      <a:gd name="T96" fmla="*/ 2 w 146"/>
                      <a:gd name="T97" fmla="*/ 106 h 179"/>
                      <a:gd name="T98" fmla="*/ 14 w 146"/>
                      <a:gd name="T99" fmla="*/ 115 h 179"/>
                      <a:gd name="T100" fmla="*/ 18 w 146"/>
                      <a:gd name="T101" fmla="*/ 124 h 179"/>
                      <a:gd name="T102" fmla="*/ 16 w 146"/>
                      <a:gd name="T103" fmla="*/ 142 h 179"/>
                      <a:gd name="T104" fmla="*/ 12 w 146"/>
                      <a:gd name="T105" fmla="*/ 15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79">
                        <a:moveTo>
                          <a:pt x="12" y="153"/>
                        </a:moveTo>
                        <a:lnTo>
                          <a:pt x="20" y="166"/>
                        </a:lnTo>
                        <a:lnTo>
                          <a:pt x="36" y="166"/>
                        </a:lnTo>
                        <a:lnTo>
                          <a:pt x="51" y="170"/>
                        </a:lnTo>
                        <a:lnTo>
                          <a:pt x="62" y="179"/>
                        </a:lnTo>
                        <a:lnTo>
                          <a:pt x="74" y="179"/>
                        </a:lnTo>
                        <a:lnTo>
                          <a:pt x="66" y="168"/>
                        </a:lnTo>
                        <a:lnTo>
                          <a:pt x="72" y="153"/>
                        </a:lnTo>
                        <a:lnTo>
                          <a:pt x="79" y="136"/>
                        </a:lnTo>
                        <a:lnTo>
                          <a:pt x="83" y="117"/>
                        </a:lnTo>
                        <a:lnTo>
                          <a:pt x="100" y="106"/>
                        </a:lnTo>
                        <a:lnTo>
                          <a:pt x="114" y="98"/>
                        </a:lnTo>
                        <a:lnTo>
                          <a:pt x="113" y="87"/>
                        </a:lnTo>
                        <a:lnTo>
                          <a:pt x="113" y="69"/>
                        </a:lnTo>
                        <a:lnTo>
                          <a:pt x="116" y="61"/>
                        </a:lnTo>
                        <a:lnTo>
                          <a:pt x="129" y="59"/>
                        </a:lnTo>
                        <a:lnTo>
                          <a:pt x="135" y="63"/>
                        </a:lnTo>
                        <a:lnTo>
                          <a:pt x="146" y="50"/>
                        </a:lnTo>
                        <a:lnTo>
                          <a:pt x="142" y="39"/>
                        </a:lnTo>
                        <a:lnTo>
                          <a:pt x="135" y="37"/>
                        </a:lnTo>
                        <a:lnTo>
                          <a:pt x="122" y="37"/>
                        </a:lnTo>
                        <a:lnTo>
                          <a:pt x="116" y="37"/>
                        </a:lnTo>
                        <a:lnTo>
                          <a:pt x="113" y="20"/>
                        </a:lnTo>
                        <a:lnTo>
                          <a:pt x="114" y="4"/>
                        </a:lnTo>
                        <a:lnTo>
                          <a:pt x="105" y="0"/>
                        </a:lnTo>
                        <a:lnTo>
                          <a:pt x="101" y="6"/>
                        </a:lnTo>
                        <a:lnTo>
                          <a:pt x="79" y="2"/>
                        </a:lnTo>
                        <a:lnTo>
                          <a:pt x="74" y="7"/>
                        </a:lnTo>
                        <a:lnTo>
                          <a:pt x="79" y="22"/>
                        </a:lnTo>
                        <a:lnTo>
                          <a:pt x="77" y="37"/>
                        </a:lnTo>
                        <a:lnTo>
                          <a:pt x="68" y="26"/>
                        </a:lnTo>
                        <a:lnTo>
                          <a:pt x="64" y="17"/>
                        </a:lnTo>
                        <a:lnTo>
                          <a:pt x="51" y="19"/>
                        </a:lnTo>
                        <a:lnTo>
                          <a:pt x="46" y="28"/>
                        </a:lnTo>
                        <a:lnTo>
                          <a:pt x="42" y="32"/>
                        </a:lnTo>
                        <a:lnTo>
                          <a:pt x="42" y="45"/>
                        </a:lnTo>
                        <a:lnTo>
                          <a:pt x="40" y="43"/>
                        </a:lnTo>
                        <a:lnTo>
                          <a:pt x="29" y="26"/>
                        </a:lnTo>
                        <a:lnTo>
                          <a:pt x="23" y="20"/>
                        </a:lnTo>
                        <a:lnTo>
                          <a:pt x="16" y="24"/>
                        </a:lnTo>
                        <a:lnTo>
                          <a:pt x="18" y="33"/>
                        </a:lnTo>
                        <a:lnTo>
                          <a:pt x="18" y="39"/>
                        </a:lnTo>
                        <a:lnTo>
                          <a:pt x="7" y="43"/>
                        </a:lnTo>
                        <a:lnTo>
                          <a:pt x="7" y="56"/>
                        </a:lnTo>
                        <a:lnTo>
                          <a:pt x="16" y="69"/>
                        </a:lnTo>
                        <a:lnTo>
                          <a:pt x="16" y="78"/>
                        </a:lnTo>
                        <a:lnTo>
                          <a:pt x="12" y="87"/>
                        </a:lnTo>
                        <a:lnTo>
                          <a:pt x="0" y="96"/>
                        </a:lnTo>
                        <a:lnTo>
                          <a:pt x="2" y="106"/>
                        </a:lnTo>
                        <a:lnTo>
                          <a:pt x="14" y="115"/>
                        </a:lnTo>
                        <a:lnTo>
                          <a:pt x="18" y="124"/>
                        </a:lnTo>
                        <a:lnTo>
                          <a:pt x="16" y="142"/>
                        </a:lnTo>
                        <a:lnTo>
                          <a:pt x="12" y="153"/>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13" name="Freeform 28">
                    <a:extLst>
                      <a:ext uri="{FF2B5EF4-FFF2-40B4-BE49-F238E27FC236}">
                        <a16:creationId xmlns:a16="http://schemas.microsoft.com/office/drawing/2014/main" xmlns="" id="{71096B42-8D04-44C4-A211-F14D594B0744}"/>
                      </a:ext>
                    </a:extLst>
                  </p:cNvPr>
                  <p:cNvSpPr>
                    <a:spLocks/>
                  </p:cNvSpPr>
                  <p:nvPr/>
                </p:nvSpPr>
                <p:spPr bwMode="gray">
                  <a:xfrm>
                    <a:off x="2033" y="1691"/>
                    <a:ext cx="109" cy="68"/>
                  </a:xfrm>
                  <a:custGeom>
                    <a:avLst/>
                    <a:gdLst>
                      <a:gd name="T0" fmla="*/ 0 w 109"/>
                      <a:gd name="T1" fmla="*/ 66 h 68"/>
                      <a:gd name="T2" fmla="*/ 9 w 109"/>
                      <a:gd name="T3" fmla="*/ 68 h 68"/>
                      <a:gd name="T4" fmla="*/ 20 w 109"/>
                      <a:gd name="T5" fmla="*/ 60 h 68"/>
                      <a:gd name="T6" fmla="*/ 31 w 109"/>
                      <a:gd name="T7" fmla="*/ 47 h 68"/>
                      <a:gd name="T8" fmla="*/ 61 w 109"/>
                      <a:gd name="T9" fmla="*/ 47 h 68"/>
                      <a:gd name="T10" fmla="*/ 87 w 109"/>
                      <a:gd name="T11" fmla="*/ 42 h 68"/>
                      <a:gd name="T12" fmla="*/ 102 w 109"/>
                      <a:gd name="T13" fmla="*/ 30 h 68"/>
                      <a:gd name="T14" fmla="*/ 107 w 109"/>
                      <a:gd name="T15" fmla="*/ 15 h 68"/>
                      <a:gd name="T16" fmla="*/ 109 w 109"/>
                      <a:gd name="T17" fmla="*/ 0 h 68"/>
                      <a:gd name="T18" fmla="*/ 89 w 109"/>
                      <a:gd name="T19" fmla="*/ 9 h 68"/>
                      <a:gd name="T20" fmla="*/ 52 w 109"/>
                      <a:gd name="T21" fmla="*/ 26 h 68"/>
                      <a:gd name="T22" fmla="*/ 42 w 109"/>
                      <a:gd name="T23" fmla="*/ 28 h 68"/>
                      <a:gd name="T24" fmla="*/ 31 w 109"/>
                      <a:gd name="T25" fmla="*/ 36 h 68"/>
                      <a:gd name="T26" fmla="*/ 9 w 109"/>
                      <a:gd name="T27" fmla="*/ 40 h 68"/>
                      <a:gd name="T28" fmla="*/ 0 w 109"/>
                      <a:gd name="T29" fmla="*/ 45 h 68"/>
                      <a:gd name="T30" fmla="*/ 0 w 109"/>
                      <a:gd name="T31"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68">
                        <a:moveTo>
                          <a:pt x="0" y="66"/>
                        </a:moveTo>
                        <a:lnTo>
                          <a:pt x="9" y="68"/>
                        </a:lnTo>
                        <a:lnTo>
                          <a:pt x="20" y="60"/>
                        </a:lnTo>
                        <a:lnTo>
                          <a:pt x="31" y="47"/>
                        </a:lnTo>
                        <a:lnTo>
                          <a:pt x="61" y="47"/>
                        </a:lnTo>
                        <a:lnTo>
                          <a:pt x="87" y="42"/>
                        </a:lnTo>
                        <a:lnTo>
                          <a:pt x="102" y="30"/>
                        </a:lnTo>
                        <a:lnTo>
                          <a:pt x="107" y="15"/>
                        </a:lnTo>
                        <a:lnTo>
                          <a:pt x="109" y="0"/>
                        </a:lnTo>
                        <a:lnTo>
                          <a:pt x="89" y="9"/>
                        </a:lnTo>
                        <a:lnTo>
                          <a:pt x="52" y="26"/>
                        </a:lnTo>
                        <a:lnTo>
                          <a:pt x="42" y="28"/>
                        </a:lnTo>
                        <a:lnTo>
                          <a:pt x="31" y="36"/>
                        </a:lnTo>
                        <a:lnTo>
                          <a:pt x="9" y="40"/>
                        </a:lnTo>
                        <a:lnTo>
                          <a:pt x="0" y="45"/>
                        </a:lnTo>
                        <a:lnTo>
                          <a:pt x="0" y="66"/>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14" name="Freeform 29">
                    <a:extLst>
                      <a:ext uri="{FF2B5EF4-FFF2-40B4-BE49-F238E27FC236}">
                        <a16:creationId xmlns:a16="http://schemas.microsoft.com/office/drawing/2014/main" xmlns="" id="{6D0D718A-FF47-4C97-8AD3-2843BCE4E897}"/>
                      </a:ext>
                    </a:extLst>
                  </p:cNvPr>
                  <p:cNvSpPr>
                    <a:spLocks/>
                  </p:cNvSpPr>
                  <p:nvPr/>
                </p:nvSpPr>
                <p:spPr bwMode="gray">
                  <a:xfrm>
                    <a:off x="2089" y="1858"/>
                    <a:ext cx="47" cy="57"/>
                  </a:xfrm>
                  <a:custGeom>
                    <a:avLst/>
                    <a:gdLst>
                      <a:gd name="T0" fmla="*/ 15 w 47"/>
                      <a:gd name="T1" fmla="*/ 0 h 57"/>
                      <a:gd name="T2" fmla="*/ 45 w 47"/>
                      <a:gd name="T3" fmla="*/ 20 h 57"/>
                      <a:gd name="T4" fmla="*/ 47 w 47"/>
                      <a:gd name="T5" fmla="*/ 29 h 57"/>
                      <a:gd name="T6" fmla="*/ 36 w 47"/>
                      <a:gd name="T7" fmla="*/ 40 h 57"/>
                      <a:gd name="T8" fmla="*/ 26 w 47"/>
                      <a:gd name="T9" fmla="*/ 48 h 57"/>
                      <a:gd name="T10" fmla="*/ 28 w 47"/>
                      <a:gd name="T11" fmla="*/ 57 h 57"/>
                      <a:gd name="T12" fmla="*/ 15 w 47"/>
                      <a:gd name="T13" fmla="*/ 55 h 57"/>
                      <a:gd name="T14" fmla="*/ 2 w 47"/>
                      <a:gd name="T15" fmla="*/ 40 h 57"/>
                      <a:gd name="T16" fmla="*/ 0 w 47"/>
                      <a:gd name="T17" fmla="*/ 29 h 57"/>
                      <a:gd name="T18" fmla="*/ 6 w 47"/>
                      <a:gd name="T19" fmla="*/ 17 h 57"/>
                      <a:gd name="T20" fmla="*/ 15 w 47"/>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57">
                        <a:moveTo>
                          <a:pt x="15" y="0"/>
                        </a:moveTo>
                        <a:lnTo>
                          <a:pt x="45" y="20"/>
                        </a:lnTo>
                        <a:lnTo>
                          <a:pt x="47" y="29"/>
                        </a:lnTo>
                        <a:lnTo>
                          <a:pt x="36" y="40"/>
                        </a:lnTo>
                        <a:lnTo>
                          <a:pt x="26" y="48"/>
                        </a:lnTo>
                        <a:lnTo>
                          <a:pt x="28" y="57"/>
                        </a:lnTo>
                        <a:lnTo>
                          <a:pt x="15" y="55"/>
                        </a:lnTo>
                        <a:lnTo>
                          <a:pt x="2" y="40"/>
                        </a:lnTo>
                        <a:lnTo>
                          <a:pt x="0" y="29"/>
                        </a:lnTo>
                        <a:lnTo>
                          <a:pt x="6" y="17"/>
                        </a:lnTo>
                        <a:lnTo>
                          <a:pt x="15"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15" name="Freeform 30">
                    <a:extLst>
                      <a:ext uri="{FF2B5EF4-FFF2-40B4-BE49-F238E27FC236}">
                        <a16:creationId xmlns:a16="http://schemas.microsoft.com/office/drawing/2014/main" xmlns="" id="{8E61BD49-0EE4-4E9C-8CC9-F18D1011D38A}"/>
                      </a:ext>
                    </a:extLst>
                  </p:cNvPr>
                  <p:cNvSpPr>
                    <a:spLocks/>
                  </p:cNvSpPr>
                  <p:nvPr/>
                </p:nvSpPr>
                <p:spPr bwMode="gray">
                  <a:xfrm>
                    <a:off x="2148" y="1842"/>
                    <a:ext cx="69" cy="83"/>
                  </a:xfrm>
                  <a:custGeom>
                    <a:avLst/>
                    <a:gdLst>
                      <a:gd name="T0" fmla="*/ 65 w 69"/>
                      <a:gd name="T1" fmla="*/ 0 h 83"/>
                      <a:gd name="T2" fmla="*/ 69 w 69"/>
                      <a:gd name="T3" fmla="*/ 4 h 83"/>
                      <a:gd name="T4" fmla="*/ 65 w 69"/>
                      <a:gd name="T5" fmla="*/ 9 h 83"/>
                      <a:gd name="T6" fmla="*/ 69 w 69"/>
                      <a:gd name="T7" fmla="*/ 18 h 83"/>
                      <a:gd name="T8" fmla="*/ 64 w 69"/>
                      <a:gd name="T9" fmla="*/ 29 h 83"/>
                      <a:gd name="T10" fmla="*/ 54 w 69"/>
                      <a:gd name="T11" fmla="*/ 37 h 83"/>
                      <a:gd name="T12" fmla="*/ 58 w 69"/>
                      <a:gd name="T13" fmla="*/ 46 h 83"/>
                      <a:gd name="T14" fmla="*/ 54 w 69"/>
                      <a:gd name="T15" fmla="*/ 54 h 83"/>
                      <a:gd name="T16" fmla="*/ 58 w 69"/>
                      <a:gd name="T17" fmla="*/ 63 h 83"/>
                      <a:gd name="T18" fmla="*/ 45 w 69"/>
                      <a:gd name="T19" fmla="*/ 83 h 83"/>
                      <a:gd name="T20" fmla="*/ 16 w 69"/>
                      <a:gd name="T21" fmla="*/ 63 h 83"/>
                      <a:gd name="T22" fmla="*/ 0 w 69"/>
                      <a:gd name="T23" fmla="*/ 52 h 83"/>
                      <a:gd name="T24" fmla="*/ 9 w 69"/>
                      <a:gd name="T25" fmla="*/ 46 h 83"/>
                      <a:gd name="T26" fmla="*/ 9 w 69"/>
                      <a:gd name="T27" fmla="*/ 33 h 83"/>
                      <a:gd name="T28" fmla="*/ 27 w 69"/>
                      <a:gd name="T29" fmla="*/ 22 h 83"/>
                      <a:gd name="T30" fmla="*/ 36 w 69"/>
                      <a:gd name="T31" fmla="*/ 26 h 83"/>
                      <a:gd name="T32" fmla="*/ 45 w 69"/>
                      <a:gd name="T33" fmla="*/ 22 h 83"/>
                      <a:gd name="T34" fmla="*/ 60 w 69"/>
                      <a:gd name="T35" fmla="*/ 11 h 83"/>
                      <a:gd name="T36" fmla="*/ 65 w 69"/>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 h="83">
                        <a:moveTo>
                          <a:pt x="65" y="0"/>
                        </a:moveTo>
                        <a:lnTo>
                          <a:pt x="69" y="4"/>
                        </a:lnTo>
                        <a:lnTo>
                          <a:pt x="65" y="9"/>
                        </a:lnTo>
                        <a:lnTo>
                          <a:pt x="69" y="18"/>
                        </a:lnTo>
                        <a:lnTo>
                          <a:pt x="64" y="29"/>
                        </a:lnTo>
                        <a:lnTo>
                          <a:pt x="54" y="37"/>
                        </a:lnTo>
                        <a:lnTo>
                          <a:pt x="58" y="46"/>
                        </a:lnTo>
                        <a:lnTo>
                          <a:pt x="54" y="54"/>
                        </a:lnTo>
                        <a:lnTo>
                          <a:pt x="58" y="63"/>
                        </a:lnTo>
                        <a:lnTo>
                          <a:pt x="45" y="83"/>
                        </a:lnTo>
                        <a:lnTo>
                          <a:pt x="16" y="63"/>
                        </a:lnTo>
                        <a:lnTo>
                          <a:pt x="0" y="52"/>
                        </a:lnTo>
                        <a:lnTo>
                          <a:pt x="9" y="46"/>
                        </a:lnTo>
                        <a:lnTo>
                          <a:pt x="9" y="33"/>
                        </a:lnTo>
                        <a:lnTo>
                          <a:pt x="27" y="22"/>
                        </a:lnTo>
                        <a:lnTo>
                          <a:pt x="36" y="26"/>
                        </a:lnTo>
                        <a:lnTo>
                          <a:pt x="45" y="22"/>
                        </a:lnTo>
                        <a:lnTo>
                          <a:pt x="60" y="11"/>
                        </a:lnTo>
                        <a:lnTo>
                          <a:pt x="65"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16" name="Freeform 31">
                    <a:extLst>
                      <a:ext uri="{FF2B5EF4-FFF2-40B4-BE49-F238E27FC236}">
                        <a16:creationId xmlns:a16="http://schemas.microsoft.com/office/drawing/2014/main" xmlns="" id="{0CEB7448-FAD4-4BB6-BEB3-6B3316B925EB}"/>
                      </a:ext>
                    </a:extLst>
                  </p:cNvPr>
                  <p:cNvSpPr>
                    <a:spLocks/>
                  </p:cNvSpPr>
                  <p:nvPr/>
                </p:nvSpPr>
                <p:spPr bwMode="gray">
                  <a:xfrm>
                    <a:off x="2139" y="1928"/>
                    <a:ext cx="28" cy="35"/>
                  </a:xfrm>
                  <a:custGeom>
                    <a:avLst/>
                    <a:gdLst>
                      <a:gd name="T0" fmla="*/ 0 w 28"/>
                      <a:gd name="T1" fmla="*/ 0 h 35"/>
                      <a:gd name="T2" fmla="*/ 19 w 28"/>
                      <a:gd name="T3" fmla="*/ 6 h 35"/>
                      <a:gd name="T4" fmla="*/ 26 w 28"/>
                      <a:gd name="T5" fmla="*/ 15 h 35"/>
                      <a:gd name="T6" fmla="*/ 28 w 28"/>
                      <a:gd name="T7" fmla="*/ 28 h 35"/>
                      <a:gd name="T8" fmla="*/ 19 w 28"/>
                      <a:gd name="T9" fmla="*/ 35 h 35"/>
                      <a:gd name="T10" fmla="*/ 5 w 28"/>
                      <a:gd name="T11" fmla="*/ 29 h 35"/>
                      <a:gd name="T12" fmla="*/ 2 w 28"/>
                      <a:gd name="T13" fmla="*/ 20 h 35"/>
                      <a:gd name="T14" fmla="*/ 0 w 28"/>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5">
                        <a:moveTo>
                          <a:pt x="0" y="0"/>
                        </a:moveTo>
                        <a:lnTo>
                          <a:pt x="19" y="6"/>
                        </a:lnTo>
                        <a:lnTo>
                          <a:pt x="26" y="15"/>
                        </a:lnTo>
                        <a:lnTo>
                          <a:pt x="28" y="28"/>
                        </a:lnTo>
                        <a:lnTo>
                          <a:pt x="19" y="35"/>
                        </a:lnTo>
                        <a:lnTo>
                          <a:pt x="5" y="29"/>
                        </a:lnTo>
                        <a:lnTo>
                          <a:pt x="2" y="20"/>
                        </a:lnTo>
                        <a:lnTo>
                          <a:pt x="0"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17" name="Freeform 32">
                    <a:extLst>
                      <a:ext uri="{FF2B5EF4-FFF2-40B4-BE49-F238E27FC236}">
                        <a16:creationId xmlns:a16="http://schemas.microsoft.com/office/drawing/2014/main" xmlns="" id="{D158CB81-6D24-4784-8B62-5D04E0949D86}"/>
                      </a:ext>
                    </a:extLst>
                  </p:cNvPr>
                  <p:cNvSpPr>
                    <a:spLocks/>
                  </p:cNvSpPr>
                  <p:nvPr/>
                </p:nvSpPr>
                <p:spPr bwMode="gray">
                  <a:xfrm>
                    <a:off x="2331" y="1919"/>
                    <a:ext cx="16" cy="29"/>
                  </a:xfrm>
                  <a:custGeom>
                    <a:avLst/>
                    <a:gdLst>
                      <a:gd name="T0" fmla="*/ 5 w 16"/>
                      <a:gd name="T1" fmla="*/ 0 h 29"/>
                      <a:gd name="T2" fmla="*/ 0 w 16"/>
                      <a:gd name="T3" fmla="*/ 5 h 29"/>
                      <a:gd name="T4" fmla="*/ 0 w 16"/>
                      <a:gd name="T5" fmla="*/ 20 h 29"/>
                      <a:gd name="T6" fmla="*/ 11 w 16"/>
                      <a:gd name="T7" fmla="*/ 29 h 29"/>
                      <a:gd name="T8" fmla="*/ 16 w 16"/>
                      <a:gd name="T9" fmla="*/ 16 h 29"/>
                      <a:gd name="T10" fmla="*/ 5 w 16"/>
                      <a:gd name="T11" fmla="*/ 0 h 29"/>
                    </a:gdLst>
                    <a:ahLst/>
                    <a:cxnLst>
                      <a:cxn ang="0">
                        <a:pos x="T0" y="T1"/>
                      </a:cxn>
                      <a:cxn ang="0">
                        <a:pos x="T2" y="T3"/>
                      </a:cxn>
                      <a:cxn ang="0">
                        <a:pos x="T4" y="T5"/>
                      </a:cxn>
                      <a:cxn ang="0">
                        <a:pos x="T6" y="T7"/>
                      </a:cxn>
                      <a:cxn ang="0">
                        <a:pos x="T8" y="T9"/>
                      </a:cxn>
                      <a:cxn ang="0">
                        <a:pos x="T10" y="T11"/>
                      </a:cxn>
                    </a:cxnLst>
                    <a:rect l="0" t="0" r="r" b="b"/>
                    <a:pathLst>
                      <a:path w="16" h="29">
                        <a:moveTo>
                          <a:pt x="5" y="0"/>
                        </a:moveTo>
                        <a:lnTo>
                          <a:pt x="0" y="5"/>
                        </a:lnTo>
                        <a:lnTo>
                          <a:pt x="0" y="20"/>
                        </a:lnTo>
                        <a:lnTo>
                          <a:pt x="11" y="29"/>
                        </a:lnTo>
                        <a:lnTo>
                          <a:pt x="16" y="16"/>
                        </a:lnTo>
                        <a:lnTo>
                          <a:pt x="5"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grpSp>
              <p:nvGrpSpPr>
                <p:cNvPr id="218" name="Group 36">
                  <a:extLst>
                    <a:ext uri="{FF2B5EF4-FFF2-40B4-BE49-F238E27FC236}">
                      <a16:creationId xmlns:a16="http://schemas.microsoft.com/office/drawing/2014/main" xmlns="" id="{53358402-FDB3-4D90-9881-D8B092597FE2}"/>
                    </a:ext>
                  </a:extLst>
                </p:cNvPr>
                <p:cNvGrpSpPr>
                  <a:grpSpLocks/>
                </p:cNvGrpSpPr>
                <p:nvPr/>
              </p:nvGrpSpPr>
              <p:grpSpPr bwMode="gray">
                <a:xfrm>
                  <a:off x="2109134" y="4077512"/>
                  <a:ext cx="651876" cy="870866"/>
                  <a:chOff x="1811" y="1911"/>
                  <a:chExt cx="512" cy="684"/>
                </a:xfrm>
                <a:solidFill>
                  <a:schemeClr val="accent3"/>
                </a:solidFill>
              </p:grpSpPr>
              <p:sp>
                <p:nvSpPr>
                  <p:cNvPr id="219" name="Freeform 34">
                    <a:extLst>
                      <a:ext uri="{FF2B5EF4-FFF2-40B4-BE49-F238E27FC236}">
                        <a16:creationId xmlns:a16="http://schemas.microsoft.com/office/drawing/2014/main" xmlns="" id="{25D76611-9CB9-4A64-8528-59497FCB76BD}"/>
                      </a:ext>
                    </a:extLst>
                  </p:cNvPr>
                  <p:cNvSpPr>
                    <a:spLocks/>
                  </p:cNvSpPr>
                  <p:nvPr/>
                </p:nvSpPr>
                <p:spPr bwMode="gray">
                  <a:xfrm>
                    <a:off x="2245" y="1976"/>
                    <a:ext cx="24" cy="22"/>
                  </a:xfrm>
                  <a:custGeom>
                    <a:avLst/>
                    <a:gdLst>
                      <a:gd name="T0" fmla="*/ 2 w 24"/>
                      <a:gd name="T1" fmla="*/ 0 h 22"/>
                      <a:gd name="T2" fmla="*/ 0 w 24"/>
                      <a:gd name="T3" fmla="*/ 4 h 22"/>
                      <a:gd name="T4" fmla="*/ 2 w 24"/>
                      <a:gd name="T5" fmla="*/ 15 h 22"/>
                      <a:gd name="T6" fmla="*/ 15 w 24"/>
                      <a:gd name="T7" fmla="*/ 22 h 22"/>
                      <a:gd name="T8" fmla="*/ 24 w 24"/>
                      <a:gd name="T9" fmla="*/ 13 h 22"/>
                      <a:gd name="T10" fmla="*/ 2 w 24"/>
                      <a:gd name="T11" fmla="*/ 0 h 22"/>
                    </a:gdLst>
                    <a:ahLst/>
                    <a:cxnLst>
                      <a:cxn ang="0">
                        <a:pos x="T0" y="T1"/>
                      </a:cxn>
                      <a:cxn ang="0">
                        <a:pos x="T2" y="T3"/>
                      </a:cxn>
                      <a:cxn ang="0">
                        <a:pos x="T4" y="T5"/>
                      </a:cxn>
                      <a:cxn ang="0">
                        <a:pos x="T6" y="T7"/>
                      </a:cxn>
                      <a:cxn ang="0">
                        <a:pos x="T8" y="T9"/>
                      </a:cxn>
                      <a:cxn ang="0">
                        <a:pos x="T10" y="T11"/>
                      </a:cxn>
                    </a:cxnLst>
                    <a:rect l="0" t="0" r="r" b="b"/>
                    <a:pathLst>
                      <a:path w="24" h="22">
                        <a:moveTo>
                          <a:pt x="2" y="0"/>
                        </a:moveTo>
                        <a:lnTo>
                          <a:pt x="0" y="4"/>
                        </a:lnTo>
                        <a:lnTo>
                          <a:pt x="2" y="15"/>
                        </a:lnTo>
                        <a:lnTo>
                          <a:pt x="15" y="22"/>
                        </a:lnTo>
                        <a:lnTo>
                          <a:pt x="24" y="13"/>
                        </a:lnTo>
                        <a:lnTo>
                          <a:pt x="2"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20" name="Freeform 35">
                    <a:extLst>
                      <a:ext uri="{FF2B5EF4-FFF2-40B4-BE49-F238E27FC236}">
                        <a16:creationId xmlns:a16="http://schemas.microsoft.com/office/drawing/2014/main" xmlns="" id="{DB2221F4-362A-48B9-BED3-CEE55C8122D1}"/>
                      </a:ext>
                    </a:extLst>
                  </p:cNvPr>
                  <p:cNvSpPr>
                    <a:spLocks/>
                  </p:cNvSpPr>
                  <p:nvPr/>
                </p:nvSpPr>
                <p:spPr bwMode="gray">
                  <a:xfrm>
                    <a:off x="1811" y="1911"/>
                    <a:ext cx="512" cy="684"/>
                  </a:xfrm>
                  <a:custGeom>
                    <a:avLst/>
                    <a:gdLst>
                      <a:gd name="T0" fmla="*/ 201 w 512"/>
                      <a:gd name="T1" fmla="*/ 15 h 684"/>
                      <a:gd name="T2" fmla="*/ 207 w 512"/>
                      <a:gd name="T3" fmla="*/ 48 h 684"/>
                      <a:gd name="T4" fmla="*/ 203 w 512"/>
                      <a:gd name="T5" fmla="*/ 72 h 684"/>
                      <a:gd name="T6" fmla="*/ 231 w 512"/>
                      <a:gd name="T7" fmla="*/ 107 h 684"/>
                      <a:gd name="T8" fmla="*/ 189 w 512"/>
                      <a:gd name="T9" fmla="*/ 96 h 684"/>
                      <a:gd name="T10" fmla="*/ 157 w 512"/>
                      <a:gd name="T11" fmla="*/ 122 h 684"/>
                      <a:gd name="T12" fmla="*/ 135 w 512"/>
                      <a:gd name="T13" fmla="*/ 100 h 684"/>
                      <a:gd name="T14" fmla="*/ 94 w 512"/>
                      <a:gd name="T15" fmla="*/ 122 h 684"/>
                      <a:gd name="T16" fmla="*/ 102 w 512"/>
                      <a:gd name="T17" fmla="*/ 157 h 684"/>
                      <a:gd name="T18" fmla="*/ 81 w 512"/>
                      <a:gd name="T19" fmla="*/ 176 h 684"/>
                      <a:gd name="T20" fmla="*/ 85 w 512"/>
                      <a:gd name="T21" fmla="*/ 209 h 684"/>
                      <a:gd name="T22" fmla="*/ 57 w 512"/>
                      <a:gd name="T23" fmla="*/ 244 h 684"/>
                      <a:gd name="T24" fmla="*/ 28 w 512"/>
                      <a:gd name="T25" fmla="*/ 272 h 684"/>
                      <a:gd name="T26" fmla="*/ 19 w 512"/>
                      <a:gd name="T27" fmla="*/ 326 h 684"/>
                      <a:gd name="T28" fmla="*/ 15 w 512"/>
                      <a:gd name="T29" fmla="*/ 350 h 684"/>
                      <a:gd name="T30" fmla="*/ 2 w 512"/>
                      <a:gd name="T31" fmla="*/ 400 h 684"/>
                      <a:gd name="T32" fmla="*/ 19 w 512"/>
                      <a:gd name="T33" fmla="*/ 424 h 684"/>
                      <a:gd name="T34" fmla="*/ 0 w 512"/>
                      <a:gd name="T35" fmla="*/ 455 h 684"/>
                      <a:gd name="T36" fmla="*/ 28 w 512"/>
                      <a:gd name="T37" fmla="*/ 489 h 684"/>
                      <a:gd name="T38" fmla="*/ 80 w 512"/>
                      <a:gd name="T39" fmla="*/ 496 h 684"/>
                      <a:gd name="T40" fmla="*/ 89 w 512"/>
                      <a:gd name="T41" fmla="*/ 520 h 684"/>
                      <a:gd name="T42" fmla="*/ 65 w 512"/>
                      <a:gd name="T43" fmla="*/ 553 h 684"/>
                      <a:gd name="T44" fmla="*/ 44 w 512"/>
                      <a:gd name="T45" fmla="*/ 608 h 684"/>
                      <a:gd name="T46" fmla="*/ 72 w 512"/>
                      <a:gd name="T47" fmla="*/ 641 h 684"/>
                      <a:gd name="T48" fmla="*/ 98 w 512"/>
                      <a:gd name="T49" fmla="*/ 628 h 684"/>
                      <a:gd name="T50" fmla="*/ 124 w 512"/>
                      <a:gd name="T51" fmla="*/ 638 h 684"/>
                      <a:gd name="T52" fmla="*/ 148 w 512"/>
                      <a:gd name="T53" fmla="*/ 660 h 684"/>
                      <a:gd name="T54" fmla="*/ 196 w 512"/>
                      <a:gd name="T55" fmla="*/ 667 h 684"/>
                      <a:gd name="T56" fmla="*/ 229 w 512"/>
                      <a:gd name="T57" fmla="*/ 673 h 684"/>
                      <a:gd name="T58" fmla="*/ 277 w 512"/>
                      <a:gd name="T59" fmla="*/ 673 h 684"/>
                      <a:gd name="T60" fmla="*/ 308 w 512"/>
                      <a:gd name="T61" fmla="*/ 669 h 684"/>
                      <a:gd name="T62" fmla="*/ 342 w 512"/>
                      <a:gd name="T63" fmla="*/ 669 h 684"/>
                      <a:gd name="T64" fmla="*/ 382 w 512"/>
                      <a:gd name="T65" fmla="*/ 678 h 684"/>
                      <a:gd name="T66" fmla="*/ 373 w 512"/>
                      <a:gd name="T67" fmla="*/ 649 h 684"/>
                      <a:gd name="T68" fmla="*/ 432 w 512"/>
                      <a:gd name="T69" fmla="*/ 593 h 684"/>
                      <a:gd name="T70" fmla="*/ 403 w 512"/>
                      <a:gd name="T71" fmla="*/ 567 h 684"/>
                      <a:gd name="T72" fmla="*/ 347 w 512"/>
                      <a:gd name="T73" fmla="*/ 511 h 684"/>
                      <a:gd name="T74" fmla="*/ 333 w 512"/>
                      <a:gd name="T75" fmla="*/ 461 h 684"/>
                      <a:gd name="T76" fmla="*/ 352 w 512"/>
                      <a:gd name="T77" fmla="*/ 449 h 684"/>
                      <a:gd name="T78" fmla="*/ 463 w 512"/>
                      <a:gd name="T79" fmla="*/ 400 h 684"/>
                      <a:gd name="T80" fmla="*/ 503 w 512"/>
                      <a:gd name="T81" fmla="*/ 397 h 684"/>
                      <a:gd name="T82" fmla="*/ 512 w 512"/>
                      <a:gd name="T83" fmla="*/ 363 h 684"/>
                      <a:gd name="T84" fmla="*/ 501 w 512"/>
                      <a:gd name="T85" fmla="*/ 300 h 684"/>
                      <a:gd name="T86" fmla="*/ 492 w 512"/>
                      <a:gd name="T87" fmla="*/ 256 h 684"/>
                      <a:gd name="T88" fmla="*/ 479 w 512"/>
                      <a:gd name="T89" fmla="*/ 207 h 684"/>
                      <a:gd name="T90" fmla="*/ 458 w 512"/>
                      <a:gd name="T91" fmla="*/ 130 h 684"/>
                      <a:gd name="T92" fmla="*/ 414 w 512"/>
                      <a:gd name="T93" fmla="*/ 85 h 684"/>
                      <a:gd name="T94" fmla="*/ 379 w 512"/>
                      <a:gd name="T95" fmla="*/ 83 h 684"/>
                      <a:gd name="T96" fmla="*/ 319 w 512"/>
                      <a:gd name="T97" fmla="*/ 106 h 684"/>
                      <a:gd name="T98" fmla="*/ 314 w 512"/>
                      <a:gd name="T99" fmla="*/ 87 h 684"/>
                      <a:gd name="T100" fmla="*/ 284 w 512"/>
                      <a:gd name="T101" fmla="*/ 59 h 684"/>
                      <a:gd name="T102" fmla="*/ 260 w 512"/>
                      <a:gd name="T103" fmla="*/ 15 h 684"/>
                      <a:gd name="T104" fmla="*/ 225 w 512"/>
                      <a:gd name="T105" fmla="*/ 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684">
                        <a:moveTo>
                          <a:pt x="212" y="0"/>
                        </a:moveTo>
                        <a:lnTo>
                          <a:pt x="201" y="7"/>
                        </a:lnTo>
                        <a:lnTo>
                          <a:pt x="201" y="15"/>
                        </a:lnTo>
                        <a:lnTo>
                          <a:pt x="203" y="22"/>
                        </a:lnTo>
                        <a:lnTo>
                          <a:pt x="205" y="33"/>
                        </a:lnTo>
                        <a:lnTo>
                          <a:pt x="207" y="48"/>
                        </a:lnTo>
                        <a:lnTo>
                          <a:pt x="201" y="54"/>
                        </a:lnTo>
                        <a:lnTo>
                          <a:pt x="201" y="63"/>
                        </a:lnTo>
                        <a:lnTo>
                          <a:pt x="203" y="72"/>
                        </a:lnTo>
                        <a:lnTo>
                          <a:pt x="218" y="85"/>
                        </a:lnTo>
                        <a:lnTo>
                          <a:pt x="227" y="87"/>
                        </a:lnTo>
                        <a:lnTo>
                          <a:pt x="231" y="107"/>
                        </a:lnTo>
                        <a:lnTo>
                          <a:pt x="210" y="102"/>
                        </a:lnTo>
                        <a:lnTo>
                          <a:pt x="198" y="91"/>
                        </a:lnTo>
                        <a:lnTo>
                          <a:pt x="189" y="96"/>
                        </a:lnTo>
                        <a:lnTo>
                          <a:pt x="172" y="117"/>
                        </a:lnTo>
                        <a:lnTo>
                          <a:pt x="165" y="124"/>
                        </a:lnTo>
                        <a:lnTo>
                          <a:pt x="157" y="122"/>
                        </a:lnTo>
                        <a:lnTo>
                          <a:pt x="156" y="113"/>
                        </a:lnTo>
                        <a:lnTo>
                          <a:pt x="150" y="106"/>
                        </a:lnTo>
                        <a:lnTo>
                          <a:pt x="135" y="100"/>
                        </a:lnTo>
                        <a:lnTo>
                          <a:pt x="113" y="100"/>
                        </a:lnTo>
                        <a:lnTo>
                          <a:pt x="106" y="109"/>
                        </a:lnTo>
                        <a:lnTo>
                          <a:pt x="94" y="122"/>
                        </a:lnTo>
                        <a:lnTo>
                          <a:pt x="104" y="131"/>
                        </a:lnTo>
                        <a:lnTo>
                          <a:pt x="104" y="148"/>
                        </a:lnTo>
                        <a:lnTo>
                          <a:pt x="102" y="157"/>
                        </a:lnTo>
                        <a:lnTo>
                          <a:pt x="98" y="165"/>
                        </a:lnTo>
                        <a:lnTo>
                          <a:pt x="85" y="174"/>
                        </a:lnTo>
                        <a:lnTo>
                          <a:pt x="81" y="176"/>
                        </a:lnTo>
                        <a:lnTo>
                          <a:pt x="83" y="189"/>
                        </a:lnTo>
                        <a:lnTo>
                          <a:pt x="89" y="198"/>
                        </a:lnTo>
                        <a:lnTo>
                          <a:pt x="85" y="209"/>
                        </a:lnTo>
                        <a:lnTo>
                          <a:pt x="76" y="222"/>
                        </a:lnTo>
                        <a:lnTo>
                          <a:pt x="65" y="235"/>
                        </a:lnTo>
                        <a:lnTo>
                          <a:pt x="57" y="244"/>
                        </a:lnTo>
                        <a:lnTo>
                          <a:pt x="44" y="254"/>
                        </a:lnTo>
                        <a:lnTo>
                          <a:pt x="35" y="257"/>
                        </a:lnTo>
                        <a:lnTo>
                          <a:pt x="28" y="272"/>
                        </a:lnTo>
                        <a:lnTo>
                          <a:pt x="26" y="294"/>
                        </a:lnTo>
                        <a:lnTo>
                          <a:pt x="19" y="307"/>
                        </a:lnTo>
                        <a:lnTo>
                          <a:pt x="19" y="326"/>
                        </a:lnTo>
                        <a:lnTo>
                          <a:pt x="11" y="335"/>
                        </a:lnTo>
                        <a:lnTo>
                          <a:pt x="9" y="341"/>
                        </a:lnTo>
                        <a:lnTo>
                          <a:pt x="15" y="350"/>
                        </a:lnTo>
                        <a:lnTo>
                          <a:pt x="19" y="365"/>
                        </a:lnTo>
                        <a:lnTo>
                          <a:pt x="28" y="378"/>
                        </a:lnTo>
                        <a:lnTo>
                          <a:pt x="2" y="400"/>
                        </a:lnTo>
                        <a:lnTo>
                          <a:pt x="7" y="413"/>
                        </a:lnTo>
                        <a:lnTo>
                          <a:pt x="17" y="422"/>
                        </a:lnTo>
                        <a:lnTo>
                          <a:pt x="19" y="424"/>
                        </a:lnTo>
                        <a:lnTo>
                          <a:pt x="19" y="433"/>
                        </a:lnTo>
                        <a:lnTo>
                          <a:pt x="6" y="442"/>
                        </a:lnTo>
                        <a:lnTo>
                          <a:pt x="0" y="455"/>
                        </a:lnTo>
                        <a:lnTo>
                          <a:pt x="6" y="472"/>
                        </a:lnTo>
                        <a:lnTo>
                          <a:pt x="13" y="483"/>
                        </a:lnTo>
                        <a:lnTo>
                          <a:pt x="28" y="489"/>
                        </a:lnTo>
                        <a:lnTo>
                          <a:pt x="46" y="492"/>
                        </a:lnTo>
                        <a:lnTo>
                          <a:pt x="65" y="494"/>
                        </a:lnTo>
                        <a:lnTo>
                          <a:pt x="80" y="496"/>
                        </a:lnTo>
                        <a:lnTo>
                          <a:pt x="91" y="504"/>
                        </a:lnTo>
                        <a:lnTo>
                          <a:pt x="102" y="513"/>
                        </a:lnTo>
                        <a:lnTo>
                          <a:pt x="89" y="520"/>
                        </a:lnTo>
                        <a:lnTo>
                          <a:pt x="78" y="531"/>
                        </a:lnTo>
                        <a:lnTo>
                          <a:pt x="67" y="541"/>
                        </a:lnTo>
                        <a:lnTo>
                          <a:pt x="65" y="553"/>
                        </a:lnTo>
                        <a:lnTo>
                          <a:pt x="59" y="580"/>
                        </a:lnTo>
                        <a:lnTo>
                          <a:pt x="50" y="597"/>
                        </a:lnTo>
                        <a:lnTo>
                          <a:pt x="44" y="608"/>
                        </a:lnTo>
                        <a:lnTo>
                          <a:pt x="59" y="628"/>
                        </a:lnTo>
                        <a:lnTo>
                          <a:pt x="63" y="634"/>
                        </a:lnTo>
                        <a:lnTo>
                          <a:pt x="72" y="641"/>
                        </a:lnTo>
                        <a:lnTo>
                          <a:pt x="81" y="640"/>
                        </a:lnTo>
                        <a:lnTo>
                          <a:pt x="93" y="634"/>
                        </a:lnTo>
                        <a:lnTo>
                          <a:pt x="98" y="628"/>
                        </a:lnTo>
                        <a:lnTo>
                          <a:pt x="100" y="625"/>
                        </a:lnTo>
                        <a:lnTo>
                          <a:pt x="117" y="628"/>
                        </a:lnTo>
                        <a:lnTo>
                          <a:pt x="124" y="638"/>
                        </a:lnTo>
                        <a:lnTo>
                          <a:pt x="130" y="649"/>
                        </a:lnTo>
                        <a:lnTo>
                          <a:pt x="137" y="658"/>
                        </a:lnTo>
                        <a:lnTo>
                          <a:pt x="148" y="660"/>
                        </a:lnTo>
                        <a:lnTo>
                          <a:pt x="170" y="658"/>
                        </a:lnTo>
                        <a:lnTo>
                          <a:pt x="181" y="656"/>
                        </a:lnTo>
                        <a:lnTo>
                          <a:pt x="196" y="667"/>
                        </a:lnTo>
                        <a:lnTo>
                          <a:pt x="208" y="662"/>
                        </a:lnTo>
                        <a:lnTo>
                          <a:pt x="219" y="665"/>
                        </a:lnTo>
                        <a:lnTo>
                          <a:pt x="229" y="673"/>
                        </a:lnTo>
                        <a:lnTo>
                          <a:pt x="247" y="665"/>
                        </a:lnTo>
                        <a:lnTo>
                          <a:pt x="264" y="665"/>
                        </a:lnTo>
                        <a:lnTo>
                          <a:pt x="277" y="673"/>
                        </a:lnTo>
                        <a:lnTo>
                          <a:pt x="286" y="677"/>
                        </a:lnTo>
                        <a:lnTo>
                          <a:pt x="297" y="669"/>
                        </a:lnTo>
                        <a:lnTo>
                          <a:pt x="308" y="669"/>
                        </a:lnTo>
                        <a:lnTo>
                          <a:pt x="327" y="665"/>
                        </a:lnTo>
                        <a:lnTo>
                          <a:pt x="340" y="673"/>
                        </a:lnTo>
                        <a:lnTo>
                          <a:pt x="342" y="669"/>
                        </a:lnTo>
                        <a:lnTo>
                          <a:pt x="356" y="678"/>
                        </a:lnTo>
                        <a:lnTo>
                          <a:pt x="368" y="684"/>
                        </a:lnTo>
                        <a:lnTo>
                          <a:pt x="382" y="678"/>
                        </a:lnTo>
                        <a:lnTo>
                          <a:pt x="384" y="669"/>
                        </a:lnTo>
                        <a:lnTo>
                          <a:pt x="375" y="656"/>
                        </a:lnTo>
                        <a:lnTo>
                          <a:pt x="373" y="649"/>
                        </a:lnTo>
                        <a:lnTo>
                          <a:pt x="368" y="627"/>
                        </a:lnTo>
                        <a:lnTo>
                          <a:pt x="419" y="593"/>
                        </a:lnTo>
                        <a:lnTo>
                          <a:pt x="432" y="593"/>
                        </a:lnTo>
                        <a:lnTo>
                          <a:pt x="434" y="588"/>
                        </a:lnTo>
                        <a:lnTo>
                          <a:pt x="416" y="581"/>
                        </a:lnTo>
                        <a:lnTo>
                          <a:pt x="403" y="567"/>
                        </a:lnTo>
                        <a:lnTo>
                          <a:pt x="370" y="538"/>
                        </a:lnTo>
                        <a:lnTo>
                          <a:pt x="366" y="515"/>
                        </a:lnTo>
                        <a:lnTo>
                          <a:pt x="347" y="511"/>
                        </a:lnTo>
                        <a:lnTo>
                          <a:pt x="345" y="489"/>
                        </a:lnTo>
                        <a:lnTo>
                          <a:pt x="341" y="470"/>
                        </a:lnTo>
                        <a:lnTo>
                          <a:pt x="333" y="461"/>
                        </a:lnTo>
                        <a:lnTo>
                          <a:pt x="338" y="452"/>
                        </a:lnTo>
                        <a:lnTo>
                          <a:pt x="342" y="448"/>
                        </a:lnTo>
                        <a:lnTo>
                          <a:pt x="352" y="449"/>
                        </a:lnTo>
                        <a:lnTo>
                          <a:pt x="383" y="440"/>
                        </a:lnTo>
                        <a:lnTo>
                          <a:pt x="449" y="406"/>
                        </a:lnTo>
                        <a:lnTo>
                          <a:pt x="463" y="400"/>
                        </a:lnTo>
                        <a:lnTo>
                          <a:pt x="477" y="391"/>
                        </a:lnTo>
                        <a:lnTo>
                          <a:pt x="488" y="403"/>
                        </a:lnTo>
                        <a:lnTo>
                          <a:pt x="503" y="397"/>
                        </a:lnTo>
                        <a:lnTo>
                          <a:pt x="507" y="382"/>
                        </a:lnTo>
                        <a:lnTo>
                          <a:pt x="506" y="373"/>
                        </a:lnTo>
                        <a:lnTo>
                          <a:pt x="512" y="363"/>
                        </a:lnTo>
                        <a:lnTo>
                          <a:pt x="504" y="351"/>
                        </a:lnTo>
                        <a:lnTo>
                          <a:pt x="495" y="330"/>
                        </a:lnTo>
                        <a:lnTo>
                          <a:pt x="501" y="300"/>
                        </a:lnTo>
                        <a:lnTo>
                          <a:pt x="491" y="285"/>
                        </a:lnTo>
                        <a:lnTo>
                          <a:pt x="487" y="270"/>
                        </a:lnTo>
                        <a:lnTo>
                          <a:pt x="492" y="256"/>
                        </a:lnTo>
                        <a:lnTo>
                          <a:pt x="489" y="244"/>
                        </a:lnTo>
                        <a:lnTo>
                          <a:pt x="468" y="221"/>
                        </a:lnTo>
                        <a:lnTo>
                          <a:pt x="479" y="207"/>
                        </a:lnTo>
                        <a:lnTo>
                          <a:pt x="479" y="183"/>
                        </a:lnTo>
                        <a:lnTo>
                          <a:pt x="481" y="155"/>
                        </a:lnTo>
                        <a:lnTo>
                          <a:pt x="458" y="130"/>
                        </a:lnTo>
                        <a:lnTo>
                          <a:pt x="447" y="115"/>
                        </a:lnTo>
                        <a:lnTo>
                          <a:pt x="434" y="102"/>
                        </a:lnTo>
                        <a:lnTo>
                          <a:pt x="414" y="85"/>
                        </a:lnTo>
                        <a:lnTo>
                          <a:pt x="401" y="76"/>
                        </a:lnTo>
                        <a:lnTo>
                          <a:pt x="392" y="74"/>
                        </a:lnTo>
                        <a:lnTo>
                          <a:pt x="379" y="83"/>
                        </a:lnTo>
                        <a:lnTo>
                          <a:pt x="369" y="89"/>
                        </a:lnTo>
                        <a:lnTo>
                          <a:pt x="340" y="111"/>
                        </a:lnTo>
                        <a:lnTo>
                          <a:pt x="319" y="106"/>
                        </a:lnTo>
                        <a:lnTo>
                          <a:pt x="310" y="106"/>
                        </a:lnTo>
                        <a:lnTo>
                          <a:pt x="310" y="98"/>
                        </a:lnTo>
                        <a:lnTo>
                          <a:pt x="314" y="87"/>
                        </a:lnTo>
                        <a:lnTo>
                          <a:pt x="319" y="78"/>
                        </a:lnTo>
                        <a:lnTo>
                          <a:pt x="292" y="61"/>
                        </a:lnTo>
                        <a:lnTo>
                          <a:pt x="284" y="59"/>
                        </a:lnTo>
                        <a:lnTo>
                          <a:pt x="271" y="48"/>
                        </a:lnTo>
                        <a:lnTo>
                          <a:pt x="266" y="28"/>
                        </a:lnTo>
                        <a:lnTo>
                          <a:pt x="260" y="15"/>
                        </a:lnTo>
                        <a:lnTo>
                          <a:pt x="251" y="17"/>
                        </a:lnTo>
                        <a:lnTo>
                          <a:pt x="240" y="4"/>
                        </a:lnTo>
                        <a:lnTo>
                          <a:pt x="225" y="2"/>
                        </a:lnTo>
                        <a:lnTo>
                          <a:pt x="212"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sp>
              <p:nvSpPr>
                <p:cNvPr id="221" name="Freeform 37">
                  <a:extLst>
                    <a:ext uri="{FF2B5EF4-FFF2-40B4-BE49-F238E27FC236}">
                      <a16:creationId xmlns:a16="http://schemas.microsoft.com/office/drawing/2014/main" xmlns="" id="{3444D9F6-11E3-4348-A60B-052E49E2BD80}"/>
                    </a:ext>
                  </a:extLst>
                </p:cNvPr>
                <p:cNvSpPr>
                  <a:spLocks/>
                </p:cNvSpPr>
                <p:nvPr/>
              </p:nvSpPr>
              <p:spPr bwMode="gray">
                <a:xfrm>
                  <a:off x="2704990" y="4147537"/>
                  <a:ext cx="701531" cy="659516"/>
                </a:xfrm>
                <a:custGeom>
                  <a:avLst/>
                  <a:gdLst>
                    <a:gd name="T0" fmla="*/ 11 w 551"/>
                    <a:gd name="T1" fmla="*/ 130 h 518"/>
                    <a:gd name="T2" fmla="*/ 0 w 551"/>
                    <a:gd name="T3" fmla="*/ 165 h 518"/>
                    <a:gd name="T4" fmla="*/ 24 w 551"/>
                    <a:gd name="T5" fmla="*/ 198 h 518"/>
                    <a:gd name="T6" fmla="*/ 20 w 551"/>
                    <a:gd name="T7" fmla="*/ 226 h 518"/>
                    <a:gd name="T8" fmla="*/ 30 w 551"/>
                    <a:gd name="T9" fmla="*/ 250 h 518"/>
                    <a:gd name="T10" fmla="*/ 37 w 551"/>
                    <a:gd name="T11" fmla="*/ 297 h 518"/>
                    <a:gd name="T12" fmla="*/ 39 w 551"/>
                    <a:gd name="T13" fmla="*/ 315 h 518"/>
                    <a:gd name="T14" fmla="*/ 33 w 551"/>
                    <a:gd name="T15" fmla="*/ 332 h 518"/>
                    <a:gd name="T16" fmla="*/ 48 w 551"/>
                    <a:gd name="T17" fmla="*/ 341 h 518"/>
                    <a:gd name="T18" fmla="*/ 63 w 551"/>
                    <a:gd name="T19" fmla="*/ 352 h 518"/>
                    <a:gd name="T20" fmla="*/ 78 w 551"/>
                    <a:gd name="T21" fmla="*/ 380 h 518"/>
                    <a:gd name="T22" fmla="*/ 94 w 551"/>
                    <a:gd name="T23" fmla="*/ 399 h 518"/>
                    <a:gd name="T24" fmla="*/ 126 w 551"/>
                    <a:gd name="T25" fmla="*/ 408 h 518"/>
                    <a:gd name="T26" fmla="*/ 148 w 551"/>
                    <a:gd name="T27" fmla="*/ 406 h 518"/>
                    <a:gd name="T28" fmla="*/ 180 w 551"/>
                    <a:gd name="T29" fmla="*/ 436 h 518"/>
                    <a:gd name="T30" fmla="*/ 218 w 551"/>
                    <a:gd name="T31" fmla="*/ 452 h 518"/>
                    <a:gd name="T32" fmla="*/ 246 w 551"/>
                    <a:gd name="T33" fmla="*/ 447 h 518"/>
                    <a:gd name="T34" fmla="*/ 276 w 551"/>
                    <a:gd name="T35" fmla="*/ 467 h 518"/>
                    <a:gd name="T36" fmla="*/ 291 w 551"/>
                    <a:gd name="T37" fmla="*/ 469 h 518"/>
                    <a:gd name="T38" fmla="*/ 314 w 551"/>
                    <a:gd name="T39" fmla="*/ 478 h 518"/>
                    <a:gd name="T40" fmla="*/ 340 w 551"/>
                    <a:gd name="T41" fmla="*/ 498 h 518"/>
                    <a:gd name="T42" fmla="*/ 362 w 551"/>
                    <a:gd name="T43" fmla="*/ 501 h 518"/>
                    <a:gd name="T44" fmla="*/ 379 w 551"/>
                    <a:gd name="T45" fmla="*/ 490 h 518"/>
                    <a:gd name="T46" fmla="*/ 482 w 551"/>
                    <a:gd name="T47" fmla="*/ 518 h 518"/>
                    <a:gd name="T48" fmla="*/ 486 w 551"/>
                    <a:gd name="T49" fmla="*/ 490 h 518"/>
                    <a:gd name="T50" fmla="*/ 536 w 551"/>
                    <a:gd name="T51" fmla="*/ 408 h 518"/>
                    <a:gd name="T52" fmla="*/ 551 w 551"/>
                    <a:gd name="T53" fmla="*/ 374 h 518"/>
                    <a:gd name="T54" fmla="*/ 532 w 551"/>
                    <a:gd name="T55" fmla="*/ 324 h 518"/>
                    <a:gd name="T56" fmla="*/ 505 w 551"/>
                    <a:gd name="T57" fmla="*/ 287 h 518"/>
                    <a:gd name="T58" fmla="*/ 505 w 551"/>
                    <a:gd name="T59" fmla="*/ 254 h 518"/>
                    <a:gd name="T60" fmla="*/ 503 w 551"/>
                    <a:gd name="T61" fmla="*/ 226 h 518"/>
                    <a:gd name="T62" fmla="*/ 503 w 551"/>
                    <a:gd name="T63" fmla="*/ 208 h 518"/>
                    <a:gd name="T64" fmla="*/ 523 w 551"/>
                    <a:gd name="T65" fmla="*/ 182 h 518"/>
                    <a:gd name="T66" fmla="*/ 514 w 551"/>
                    <a:gd name="T67" fmla="*/ 128 h 518"/>
                    <a:gd name="T68" fmla="*/ 508 w 551"/>
                    <a:gd name="T69" fmla="*/ 91 h 518"/>
                    <a:gd name="T70" fmla="*/ 482 w 551"/>
                    <a:gd name="T71" fmla="*/ 59 h 518"/>
                    <a:gd name="T72" fmla="*/ 418 w 551"/>
                    <a:gd name="T73" fmla="*/ 56 h 518"/>
                    <a:gd name="T74" fmla="*/ 344 w 551"/>
                    <a:gd name="T75" fmla="*/ 50 h 518"/>
                    <a:gd name="T76" fmla="*/ 304 w 551"/>
                    <a:gd name="T77" fmla="*/ 39 h 518"/>
                    <a:gd name="T78" fmla="*/ 280 w 551"/>
                    <a:gd name="T79" fmla="*/ 52 h 518"/>
                    <a:gd name="T80" fmla="*/ 257 w 551"/>
                    <a:gd name="T81" fmla="*/ 37 h 518"/>
                    <a:gd name="T82" fmla="*/ 239 w 551"/>
                    <a:gd name="T83" fmla="*/ 32 h 518"/>
                    <a:gd name="T84" fmla="*/ 218 w 551"/>
                    <a:gd name="T85" fmla="*/ 2 h 518"/>
                    <a:gd name="T86" fmla="*/ 183 w 551"/>
                    <a:gd name="T87" fmla="*/ 6 h 518"/>
                    <a:gd name="T88" fmla="*/ 150 w 551"/>
                    <a:gd name="T89" fmla="*/ 20 h 518"/>
                    <a:gd name="T90" fmla="*/ 98 w 551"/>
                    <a:gd name="T91" fmla="*/ 43 h 518"/>
                    <a:gd name="T92" fmla="*/ 52 w 551"/>
                    <a:gd name="T93" fmla="*/ 63 h 518"/>
                    <a:gd name="T94" fmla="*/ 24 w 551"/>
                    <a:gd name="T95" fmla="*/ 9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1" h="518">
                      <a:moveTo>
                        <a:pt x="13" y="98"/>
                      </a:moveTo>
                      <a:lnTo>
                        <a:pt x="11" y="130"/>
                      </a:lnTo>
                      <a:lnTo>
                        <a:pt x="11" y="150"/>
                      </a:lnTo>
                      <a:lnTo>
                        <a:pt x="0" y="165"/>
                      </a:lnTo>
                      <a:lnTo>
                        <a:pt x="22" y="191"/>
                      </a:lnTo>
                      <a:lnTo>
                        <a:pt x="24" y="198"/>
                      </a:lnTo>
                      <a:lnTo>
                        <a:pt x="19" y="215"/>
                      </a:lnTo>
                      <a:lnTo>
                        <a:pt x="20" y="226"/>
                      </a:lnTo>
                      <a:lnTo>
                        <a:pt x="31" y="241"/>
                      </a:lnTo>
                      <a:lnTo>
                        <a:pt x="30" y="250"/>
                      </a:lnTo>
                      <a:lnTo>
                        <a:pt x="28" y="278"/>
                      </a:lnTo>
                      <a:lnTo>
                        <a:pt x="37" y="297"/>
                      </a:lnTo>
                      <a:lnTo>
                        <a:pt x="44" y="308"/>
                      </a:lnTo>
                      <a:lnTo>
                        <a:pt x="39" y="315"/>
                      </a:lnTo>
                      <a:lnTo>
                        <a:pt x="39" y="326"/>
                      </a:lnTo>
                      <a:lnTo>
                        <a:pt x="33" y="332"/>
                      </a:lnTo>
                      <a:lnTo>
                        <a:pt x="33" y="339"/>
                      </a:lnTo>
                      <a:lnTo>
                        <a:pt x="48" y="341"/>
                      </a:lnTo>
                      <a:lnTo>
                        <a:pt x="59" y="345"/>
                      </a:lnTo>
                      <a:lnTo>
                        <a:pt x="63" y="352"/>
                      </a:lnTo>
                      <a:lnTo>
                        <a:pt x="63" y="365"/>
                      </a:lnTo>
                      <a:lnTo>
                        <a:pt x="78" y="380"/>
                      </a:lnTo>
                      <a:lnTo>
                        <a:pt x="91" y="386"/>
                      </a:lnTo>
                      <a:lnTo>
                        <a:pt x="94" y="399"/>
                      </a:lnTo>
                      <a:lnTo>
                        <a:pt x="111" y="421"/>
                      </a:lnTo>
                      <a:lnTo>
                        <a:pt x="126" y="408"/>
                      </a:lnTo>
                      <a:lnTo>
                        <a:pt x="139" y="404"/>
                      </a:lnTo>
                      <a:lnTo>
                        <a:pt x="148" y="406"/>
                      </a:lnTo>
                      <a:lnTo>
                        <a:pt x="174" y="434"/>
                      </a:lnTo>
                      <a:lnTo>
                        <a:pt x="180" y="436"/>
                      </a:lnTo>
                      <a:lnTo>
                        <a:pt x="211" y="450"/>
                      </a:lnTo>
                      <a:lnTo>
                        <a:pt x="218" y="452"/>
                      </a:lnTo>
                      <a:lnTo>
                        <a:pt x="231" y="449"/>
                      </a:lnTo>
                      <a:lnTo>
                        <a:pt x="246" y="447"/>
                      </a:lnTo>
                      <a:lnTo>
                        <a:pt x="259" y="452"/>
                      </a:lnTo>
                      <a:lnTo>
                        <a:pt x="276" y="467"/>
                      </a:lnTo>
                      <a:lnTo>
                        <a:pt x="283" y="475"/>
                      </a:lnTo>
                      <a:lnTo>
                        <a:pt x="291" y="469"/>
                      </a:lnTo>
                      <a:lnTo>
                        <a:pt x="300" y="467"/>
                      </a:lnTo>
                      <a:lnTo>
                        <a:pt x="314" y="478"/>
                      </a:lnTo>
                      <a:lnTo>
                        <a:pt x="329" y="490"/>
                      </a:lnTo>
                      <a:lnTo>
                        <a:pt x="340" y="498"/>
                      </a:lnTo>
                      <a:lnTo>
                        <a:pt x="355" y="503"/>
                      </a:lnTo>
                      <a:lnTo>
                        <a:pt x="362" y="501"/>
                      </a:lnTo>
                      <a:lnTo>
                        <a:pt x="369" y="494"/>
                      </a:lnTo>
                      <a:lnTo>
                        <a:pt x="379" y="490"/>
                      </a:lnTo>
                      <a:lnTo>
                        <a:pt x="397" y="496"/>
                      </a:lnTo>
                      <a:lnTo>
                        <a:pt x="482" y="518"/>
                      </a:lnTo>
                      <a:lnTo>
                        <a:pt x="495" y="507"/>
                      </a:lnTo>
                      <a:lnTo>
                        <a:pt x="486" y="490"/>
                      </a:lnTo>
                      <a:lnTo>
                        <a:pt x="477" y="462"/>
                      </a:lnTo>
                      <a:lnTo>
                        <a:pt x="536" y="408"/>
                      </a:lnTo>
                      <a:lnTo>
                        <a:pt x="547" y="395"/>
                      </a:lnTo>
                      <a:lnTo>
                        <a:pt x="551" y="374"/>
                      </a:lnTo>
                      <a:lnTo>
                        <a:pt x="542" y="347"/>
                      </a:lnTo>
                      <a:lnTo>
                        <a:pt x="532" y="324"/>
                      </a:lnTo>
                      <a:lnTo>
                        <a:pt x="516" y="298"/>
                      </a:lnTo>
                      <a:lnTo>
                        <a:pt x="505" y="287"/>
                      </a:lnTo>
                      <a:lnTo>
                        <a:pt x="503" y="271"/>
                      </a:lnTo>
                      <a:lnTo>
                        <a:pt x="505" y="254"/>
                      </a:lnTo>
                      <a:lnTo>
                        <a:pt x="510" y="237"/>
                      </a:lnTo>
                      <a:lnTo>
                        <a:pt x="503" y="226"/>
                      </a:lnTo>
                      <a:lnTo>
                        <a:pt x="494" y="219"/>
                      </a:lnTo>
                      <a:lnTo>
                        <a:pt x="503" y="208"/>
                      </a:lnTo>
                      <a:lnTo>
                        <a:pt x="518" y="187"/>
                      </a:lnTo>
                      <a:lnTo>
                        <a:pt x="523" y="182"/>
                      </a:lnTo>
                      <a:lnTo>
                        <a:pt x="520" y="146"/>
                      </a:lnTo>
                      <a:lnTo>
                        <a:pt x="514" y="128"/>
                      </a:lnTo>
                      <a:lnTo>
                        <a:pt x="508" y="109"/>
                      </a:lnTo>
                      <a:lnTo>
                        <a:pt x="508" y="91"/>
                      </a:lnTo>
                      <a:lnTo>
                        <a:pt x="497" y="74"/>
                      </a:lnTo>
                      <a:lnTo>
                        <a:pt x="482" y="59"/>
                      </a:lnTo>
                      <a:lnTo>
                        <a:pt x="466" y="57"/>
                      </a:lnTo>
                      <a:lnTo>
                        <a:pt x="418" y="56"/>
                      </a:lnTo>
                      <a:lnTo>
                        <a:pt x="392" y="54"/>
                      </a:lnTo>
                      <a:lnTo>
                        <a:pt x="344" y="50"/>
                      </a:lnTo>
                      <a:lnTo>
                        <a:pt x="325" y="41"/>
                      </a:lnTo>
                      <a:lnTo>
                        <a:pt x="304" y="39"/>
                      </a:lnTo>
                      <a:lnTo>
                        <a:pt x="293" y="43"/>
                      </a:lnTo>
                      <a:lnTo>
                        <a:pt x="280" y="52"/>
                      </a:lnTo>
                      <a:lnTo>
                        <a:pt x="268" y="48"/>
                      </a:lnTo>
                      <a:lnTo>
                        <a:pt x="257" y="37"/>
                      </a:lnTo>
                      <a:lnTo>
                        <a:pt x="244" y="37"/>
                      </a:lnTo>
                      <a:lnTo>
                        <a:pt x="239" y="32"/>
                      </a:lnTo>
                      <a:lnTo>
                        <a:pt x="235" y="15"/>
                      </a:lnTo>
                      <a:lnTo>
                        <a:pt x="218" y="2"/>
                      </a:lnTo>
                      <a:lnTo>
                        <a:pt x="206" y="0"/>
                      </a:lnTo>
                      <a:lnTo>
                        <a:pt x="183" y="6"/>
                      </a:lnTo>
                      <a:lnTo>
                        <a:pt x="165" y="11"/>
                      </a:lnTo>
                      <a:lnTo>
                        <a:pt x="150" y="20"/>
                      </a:lnTo>
                      <a:lnTo>
                        <a:pt x="124" y="35"/>
                      </a:lnTo>
                      <a:lnTo>
                        <a:pt x="98" y="43"/>
                      </a:lnTo>
                      <a:lnTo>
                        <a:pt x="76" y="52"/>
                      </a:lnTo>
                      <a:lnTo>
                        <a:pt x="52" y="63"/>
                      </a:lnTo>
                      <a:lnTo>
                        <a:pt x="39" y="78"/>
                      </a:lnTo>
                      <a:lnTo>
                        <a:pt x="24" y="91"/>
                      </a:lnTo>
                      <a:lnTo>
                        <a:pt x="13" y="98"/>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22" name="Freeform 38">
                  <a:extLst>
                    <a:ext uri="{FF2B5EF4-FFF2-40B4-BE49-F238E27FC236}">
                      <a16:creationId xmlns:a16="http://schemas.microsoft.com/office/drawing/2014/main" xmlns="" id="{2C9678BC-64FB-41FF-8DB4-8BE99733C3B9}"/>
                    </a:ext>
                  </a:extLst>
                </p:cNvPr>
                <p:cNvSpPr>
                  <a:spLocks/>
                </p:cNvSpPr>
                <p:nvPr/>
              </p:nvSpPr>
              <p:spPr bwMode="gray">
                <a:xfrm>
                  <a:off x="3176072" y="3982022"/>
                  <a:ext cx="365408" cy="286470"/>
                </a:xfrm>
                <a:custGeom>
                  <a:avLst/>
                  <a:gdLst>
                    <a:gd name="T0" fmla="*/ 2 w 287"/>
                    <a:gd name="T1" fmla="*/ 24 h 225"/>
                    <a:gd name="T2" fmla="*/ 0 w 287"/>
                    <a:gd name="T3" fmla="*/ 31 h 225"/>
                    <a:gd name="T4" fmla="*/ 4 w 287"/>
                    <a:gd name="T5" fmla="*/ 58 h 225"/>
                    <a:gd name="T6" fmla="*/ 17 w 287"/>
                    <a:gd name="T7" fmla="*/ 97 h 225"/>
                    <a:gd name="T8" fmla="*/ 28 w 287"/>
                    <a:gd name="T9" fmla="*/ 108 h 225"/>
                    <a:gd name="T10" fmla="*/ 54 w 287"/>
                    <a:gd name="T11" fmla="*/ 118 h 225"/>
                    <a:gd name="T12" fmla="*/ 65 w 287"/>
                    <a:gd name="T13" fmla="*/ 121 h 225"/>
                    <a:gd name="T14" fmla="*/ 67 w 287"/>
                    <a:gd name="T15" fmla="*/ 134 h 225"/>
                    <a:gd name="T16" fmla="*/ 67 w 287"/>
                    <a:gd name="T17" fmla="*/ 156 h 225"/>
                    <a:gd name="T18" fmla="*/ 93 w 287"/>
                    <a:gd name="T19" fmla="*/ 182 h 225"/>
                    <a:gd name="T20" fmla="*/ 109 w 287"/>
                    <a:gd name="T21" fmla="*/ 190 h 225"/>
                    <a:gd name="T22" fmla="*/ 117 w 287"/>
                    <a:gd name="T23" fmla="*/ 194 h 225"/>
                    <a:gd name="T24" fmla="*/ 139 w 287"/>
                    <a:gd name="T25" fmla="*/ 221 h 225"/>
                    <a:gd name="T26" fmla="*/ 146 w 287"/>
                    <a:gd name="T27" fmla="*/ 216 h 225"/>
                    <a:gd name="T28" fmla="*/ 161 w 287"/>
                    <a:gd name="T29" fmla="*/ 214 h 225"/>
                    <a:gd name="T30" fmla="*/ 178 w 287"/>
                    <a:gd name="T31" fmla="*/ 225 h 225"/>
                    <a:gd name="T32" fmla="*/ 191 w 287"/>
                    <a:gd name="T33" fmla="*/ 218 h 225"/>
                    <a:gd name="T34" fmla="*/ 209 w 287"/>
                    <a:gd name="T35" fmla="*/ 197 h 225"/>
                    <a:gd name="T36" fmla="*/ 222 w 287"/>
                    <a:gd name="T37" fmla="*/ 190 h 225"/>
                    <a:gd name="T38" fmla="*/ 235 w 287"/>
                    <a:gd name="T39" fmla="*/ 195 h 225"/>
                    <a:gd name="T40" fmla="*/ 243 w 287"/>
                    <a:gd name="T41" fmla="*/ 192 h 225"/>
                    <a:gd name="T42" fmla="*/ 244 w 287"/>
                    <a:gd name="T43" fmla="*/ 184 h 225"/>
                    <a:gd name="T44" fmla="*/ 246 w 287"/>
                    <a:gd name="T45" fmla="*/ 142 h 225"/>
                    <a:gd name="T46" fmla="*/ 254 w 287"/>
                    <a:gd name="T47" fmla="*/ 129 h 225"/>
                    <a:gd name="T48" fmla="*/ 254 w 287"/>
                    <a:gd name="T49" fmla="*/ 110 h 225"/>
                    <a:gd name="T50" fmla="*/ 257 w 287"/>
                    <a:gd name="T51" fmla="*/ 103 h 225"/>
                    <a:gd name="T52" fmla="*/ 272 w 287"/>
                    <a:gd name="T53" fmla="*/ 92 h 225"/>
                    <a:gd name="T54" fmla="*/ 287 w 287"/>
                    <a:gd name="T55" fmla="*/ 90 h 225"/>
                    <a:gd name="T56" fmla="*/ 287 w 287"/>
                    <a:gd name="T57" fmla="*/ 69 h 225"/>
                    <a:gd name="T58" fmla="*/ 283 w 287"/>
                    <a:gd name="T59" fmla="*/ 53 h 225"/>
                    <a:gd name="T60" fmla="*/ 272 w 287"/>
                    <a:gd name="T61" fmla="*/ 47 h 225"/>
                    <a:gd name="T62" fmla="*/ 267 w 287"/>
                    <a:gd name="T63" fmla="*/ 49 h 225"/>
                    <a:gd name="T64" fmla="*/ 248 w 287"/>
                    <a:gd name="T65" fmla="*/ 31 h 225"/>
                    <a:gd name="T66" fmla="*/ 237 w 287"/>
                    <a:gd name="T67" fmla="*/ 19 h 225"/>
                    <a:gd name="T68" fmla="*/ 224 w 287"/>
                    <a:gd name="T69" fmla="*/ 19 h 225"/>
                    <a:gd name="T70" fmla="*/ 198 w 287"/>
                    <a:gd name="T71" fmla="*/ 19 h 225"/>
                    <a:gd name="T72" fmla="*/ 193 w 287"/>
                    <a:gd name="T73" fmla="*/ 15 h 225"/>
                    <a:gd name="T74" fmla="*/ 187 w 287"/>
                    <a:gd name="T75" fmla="*/ 2 h 225"/>
                    <a:gd name="T76" fmla="*/ 180 w 287"/>
                    <a:gd name="T77" fmla="*/ 0 h 225"/>
                    <a:gd name="T78" fmla="*/ 157 w 287"/>
                    <a:gd name="T79" fmla="*/ 0 h 225"/>
                    <a:gd name="T80" fmla="*/ 148 w 287"/>
                    <a:gd name="T81" fmla="*/ 11 h 225"/>
                    <a:gd name="T82" fmla="*/ 139 w 287"/>
                    <a:gd name="T83" fmla="*/ 9 h 225"/>
                    <a:gd name="T84" fmla="*/ 124 w 287"/>
                    <a:gd name="T85" fmla="*/ 6 h 225"/>
                    <a:gd name="T86" fmla="*/ 117 w 287"/>
                    <a:gd name="T87" fmla="*/ 4 h 225"/>
                    <a:gd name="T88" fmla="*/ 106 w 287"/>
                    <a:gd name="T89" fmla="*/ 7 h 225"/>
                    <a:gd name="T90" fmla="*/ 98 w 287"/>
                    <a:gd name="T91" fmla="*/ 13 h 225"/>
                    <a:gd name="T92" fmla="*/ 83 w 287"/>
                    <a:gd name="T93" fmla="*/ 7 h 225"/>
                    <a:gd name="T94" fmla="*/ 52 w 287"/>
                    <a:gd name="T95" fmla="*/ 2 h 225"/>
                    <a:gd name="T96" fmla="*/ 44 w 287"/>
                    <a:gd name="T97" fmla="*/ 0 h 225"/>
                    <a:gd name="T98" fmla="*/ 35 w 287"/>
                    <a:gd name="T99" fmla="*/ 7 h 225"/>
                    <a:gd name="T100" fmla="*/ 20 w 287"/>
                    <a:gd name="T101" fmla="*/ 17 h 225"/>
                    <a:gd name="T102" fmla="*/ 2 w 287"/>
                    <a:gd name="T103" fmla="*/ 2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7" h="225">
                      <a:moveTo>
                        <a:pt x="2" y="24"/>
                      </a:moveTo>
                      <a:lnTo>
                        <a:pt x="0" y="31"/>
                      </a:lnTo>
                      <a:lnTo>
                        <a:pt x="4" y="58"/>
                      </a:lnTo>
                      <a:lnTo>
                        <a:pt x="17" y="97"/>
                      </a:lnTo>
                      <a:lnTo>
                        <a:pt x="28" y="108"/>
                      </a:lnTo>
                      <a:lnTo>
                        <a:pt x="54" y="118"/>
                      </a:lnTo>
                      <a:lnTo>
                        <a:pt x="65" y="121"/>
                      </a:lnTo>
                      <a:lnTo>
                        <a:pt x="67" y="134"/>
                      </a:lnTo>
                      <a:lnTo>
                        <a:pt x="67" y="156"/>
                      </a:lnTo>
                      <a:lnTo>
                        <a:pt x="93" y="182"/>
                      </a:lnTo>
                      <a:lnTo>
                        <a:pt x="109" y="190"/>
                      </a:lnTo>
                      <a:lnTo>
                        <a:pt x="117" y="194"/>
                      </a:lnTo>
                      <a:lnTo>
                        <a:pt x="139" y="221"/>
                      </a:lnTo>
                      <a:lnTo>
                        <a:pt x="146" y="216"/>
                      </a:lnTo>
                      <a:lnTo>
                        <a:pt x="161" y="214"/>
                      </a:lnTo>
                      <a:lnTo>
                        <a:pt x="178" y="225"/>
                      </a:lnTo>
                      <a:lnTo>
                        <a:pt x="191" y="218"/>
                      </a:lnTo>
                      <a:lnTo>
                        <a:pt x="209" y="197"/>
                      </a:lnTo>
                      <a:lnTo>
                        <a:pt x="222" y="190"/>
                      </a:lnTo>
                      <a:lnTo>
                        <a:pt x="235" y="195"/>
                      </a:lnTo>
                      <a:lnTo>
                        <a:pt x="243" y="192"/>
                      </a:lnTo>
                      <a:lnTo>
                        <a:pt x="244" y="184"/>
                      </a:lnTo>
                      <a:lnTo>
                        <a:pt x="246" y="142"/>
                      </a:lnTo>
                      <a:lnTo>
                        <a:pt x="254" y="129"/>
                      </a:lnTo>
                      <a:lnTo>
                        <a:pt x="254" y="110"/>
                      </a:lnTo>
                      <a:lnTo>
                        <a:pt x="257" y="103"/>
                      </a:lnTo>
                      <a:lnTo>
                        <a:pt x="272" y="92"/>
                      </a:lnTo>
                      <a:lnTo>
                        <a:pt x="287" y="90"/>
                      </a:lnTo>
                      <a:lnTo>
                        <a:pt x="287" y="69"/>
                      </a:lnTo>
                      <a:lnTo>
                        <a:pt x="283" y="53"/>
                      </a:lnTo>
                      <a:lnTo>
                        <a:pt x="272" y="47"/>
                      </a:lnTo>
                      <a:lnTo>
                        <a:pt x="267" y="49"/>
                      </a:lnTo>
                      <a:lnTo>
                        <a:pt x="248" y="31"/>
                      </a:lnTo>
                      <a:lnTo>
                        <a:pt x="237" y="19"/>
                      </a:lnTo>
                      <a:lnTo>
                        <a:pt x="224" y="19"/>
                      </a:lnTo>
                      <a:lnTo>
                        <a:pt x="198" y="19"/>
                      </a:lnTo>
                      <a:lnTo>
                        <a:pt x="193" y="15"/>
                      </a:lnTo>
                      <a:lnTo>
                        <a:pt x="187" y="2"/>
                      </a:lnTo>
                      <a:lnTo>
                        <a:pt x="180" y="0"/>
                      </a:lnTo>
                      <a:lnTo>
                        <a:pt x="157" y="0"/>
                      </a:lnTo>
                      <a:lnTo>
                        <a:pt x="148" y="11"/>
                      </a:lnTo>
                      <a:lnTo>
                        <a:pt x="139" y="9"/>
                      </a:lnTo>
                      <a:lnTo>
                        <a:pt x="124" y="6"/>
                      </a:lnTo>
                      <a:lnTo>
                        <a:pt x="117" y="4"/>
                      </a:lnTo>
                      <a:lnTo>
                        <a:pt x="106" y="7"/>
                      </a:lnTo>
                      <a:lnTo>
                        <a:pt x="98" y="13"/>
                      </a:lnTo>
                      <a:lnTo>
                        <a:pt x="83" y="7"/>
                      </a:lnTo>
                      <a:lnTo>
                        <a:pt x="52" y="2"/>
                      </a:lnTo>
                      <a:lnTo>
                        <a:pt x="44" y="0"/>
                      </a:lnTo>
                      <a:lnTo>
                        <a:pt x="35" y="7"/>
                      </a:lnTo>
                      <a:lnTo>
                        <a:pt x="20" y="17"/>
                      </a:lnTo>
                      <a:lnTo>
                        <a:pt x="2" y="24"/>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nvGrpSpPr>
                <p:cNvPr id="223" name="Group 42">
                  <a:extLst>
                    <a:ext uri="{FF2B5EF4-FFF2-40B4-BE49-F238E27FC236}">
                      <a16:creationId xmlns:a16="http://schemas.microsoft.com/office/drawing/2014/main" xmlns="" id="{EE4EAB17-1A9E-435A-A227-D44852105382}"/>
                    </a:ext>
                  </a:extLst>
                </p:cNvPr>
                <p:cNvGrpSpPr>
                  <a:grpSpLocks/>
                </p:cNvGrpSpPr>
                <p:nvPr/>
              </p:nvGrpSpPr>
              <p:grpSpPr bwMode="gray">
                <a:xfrm>
                  <a:off x="3204082" y="3594970"/>
                  <a:ext cx="367954" cy="243181"/>
                  <a:chOff x="2671" y="1532"/>
                  <a:chExt cx="289" cy="191"/>
                </a:xfrm>
              </p:grpSpPr>
              <p:sp>
                <p:nvSpPr>
                  <p:cNvPr id="224" name="Freeform 39">
                    <a:extLst>
                      <a:ext uri="{FF2B5EF4-FFF2-40B4-BE49-F238E27FC236}">
                        <a16:creationId xmlns:a16="http://schemas.microsoft.com/office/drawing/2014/main" xmlns="" id="{AF6A971A-E601-4CA0-A979-1712AC19E373}"/>
                      </a:ext>
                    </a:extLst>
                  </p:cNvPr>
                  <p:cNvSpPr>
                    <a:spLocks/>
                  </p:cNvSpPr>
                  <p:nvPr/>
                </p:nvSpPr>
                <p:spPr bwMode="gray">
                  <a:xfrm>
                    <a:off x="2684" y="1595"/>
                    <a:ext cx="44" cy="37"/>
                  </a:xfrm>
                  <a:custGeom>
                    <a:avLst/>
                    <a:gdLst>
                      <a:gd name="T0" fmla="*/ 26 w 44"/>
                      <a:gd name="T1" fmla="*/ 0 h 37"/>
                      <a:gd name="T2" fmla="*/ 6 w 44"/>
                      <a:gd name="T3" fmla="*/ 13 h 37"/>
                      <a:gd name="T4" fmla="*/ 0 w 44"/>
                      <a:gd name="T5" fmla="*/ 20 h 37"/>
                      <a:gd name="T6" fmla="*/ 13 w 44"/>
                      <a:gd name="T7" fmla="*/ 24 h 37"/>
                      <a:gd name="T8" fmla="*/ 24 w 44"/>
                      <a:gd name="T9" fmla="*/ 37 h 37"/>
                      <a:gd name="T10" fmla="*/ 33 w 44"/>
                      <a:gd name="T11" fmla="*/ 28 h 37"/>
                      <a:gd name="T12" fmla="*/ 44 w 44"/>
                      <a:gd name="T13" fmla="*/ 20 h 37"/>
                      <a:gd name="T14" fmla="*/ 35 w 44"/>
                      <a:gd name="T15" fmla="*/ 11 h 37"/>
                      <a:gd name="T16" fmla="*/ 26 w 44"/>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7">
                        <a:moveTo>
                          <a:pt x="26" y="0"/>
                        </a:moveTo>
                        <a:lnTo>
                          <a:pt x="6" y="13"/>
                        </a:lnTo>
                        <a:lnTo>
                          <a:pt x="0" y="20"/>
                        </a:lnTo>
                        <a:lnTo>
                          <a:pt x="13" y="24"/>
                        </a:lnTo>
                        <a:lnTo>
                          <a:pt x="24" y="37"/>
                        </a:lnTo>
                        <a:lnTo>
                          <a:pt x="33" y="28"/>
                        </a:lnTo>
                        <a:lnTo>
                          <a:pt x="44" y="20"/>
                        </a:lnTo>
                        <a:lnTo>
                          <a:pt x="35" y="11"/>
                        </a:lnTo>
                        <a:lnTo>
                          <a:pt x="26" y="0"/>
                        </a:lnTo>
                        <a:close/>
                      </a:path>
                    </a:pathLst>
                  </a:custGeom>
                  <a:solidFill>
                    <a:srgbClr val="EAEAEA"/>
                  </a:solidFill>
                  <a:ln w="9525">
                    <a:solidFill>
                      <a:schemeClr val="accent5"/>
                    </a:solidFill>
                    <a:prstDash val="solid"/>
                    <a:round/>
                    <a:headEnd/>
                    <a:tailEnd/>
                  </a:ln>
                </p:spPr>
                <p:txBody>
                  <a:bodyPr/>
                  <a:lstStyle/>
                  <a:p>
                    <a:endParaRPr lang="de-DE" dirty="0"/>
                  </a:p>
                </p:txBody>
              </p:sp>
              <p:sp>
                <p:nvSpPr>
                  <p:cNvPr id="225" name="Freeform 40">
                    <a:extLst>
                      <a:ext uri="{FF2B5EF4-FFF2-40B4-BE49-F238E27FC236}">
                        <a16:creationId xmlns:a16="http://schemas.microsoft.com/office/drawing/2014/main" xmlns="" id="{06EC2FD0-4578-4E3B-8209-E9AA3A5E9E03}"/>
                      </a:ext>
                    </a:extLst>
                  </p:cNvPr>
                  <p:cNvSpPr>
                    <a:spLocks/>
                  </p:cNvSpPr>
                  <p:nvPr/>
                </p:nvSpPr>
                <p:spPr bwMode="gray">
                  <a:xfrm>
                    <a:off x="2671" y="1638"/>
                    <a:ext cx="65" cy="67"/>
                  </a:xfrm>
                  <a:custGeom>
                    <a:avLst/>
                    <a:gdLst>
                      <a:gd name="T0" fmla="*/ 54 w 65"/>
                      <a:gd name="T1" fmla="*/ 0 h 67"/>
                      <a:gd name="T2" fmla="*/ 32 w 65"/>
                      <a:gd name="T3" fmla="*/ 4 h 67"/>
                      <a:gd name="T4" fmla="*/ 24 w 65"/>
                      <a:gd name="T5" fmla="*/ 0 h 67"/>
                      <a:gd name="T6" fmla="*/ 11 w 65"/>
                      <a:gd name="T7" fmla="*/ 17 h 67"/>
                      <a:gd name="T8" fmla="*/ 6 w 65"/>
                      <a:gd name="T9" fmla="*/ 13 h 67"/>
                      <a:gd name="T10" fmla="*/ 0 w 65"/>
                      <a:gd name="T11" fmla="*/ 24 h 67"/>
                      <a:gd name="T12" fmla="*/ 7 w 65"/>
                      <a:gd name="T13" fmla="*/ 30 h 67"/>
                      <a:gd name="T14" fmla="*/ 7 w 65"/>
                      <a:gd name="T15" fmla="*/ 58 h 67"/>
                      <a:gd name="T16" fmla="*/ 13 w 65"/>
                      <a:gd name="T17" fmla="*/ 67 h 67"/>
                      <a:gd name="T18" fmla="*/ 46 w 65"/>
                      <a:gd name="T19" fmla="*/ 30 h 67"/>
                      <a:gd name="T20" fmla="*/ 59 w 65"/>
                      <a:gd name="T21" fmla="*/ 30 h 67"/>
                      <a:gd name="T22" fmla="*/ 65 w 65"/>
                      <a:gd name="T23" fmla="*/ 20 h 67"/>
                      <a:gd name="T24" fmla="*/ 63 w 65"/>
                      <a:gd name="T25" fmla="*/ 15 h 67"/>
                      <a:gd name="T26" fmla="*/ 54 w 65"/>
                      <a:gd name="T2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7">
                        <a:moveTo>
                          <a:pt x="54" y="0"/>
                        </a:moveTo>
                        <a:lnTo>
                          <a:pt x="32" y="4"/>
                        </a:lnTo>
                        <a:lnTo>
                          <a:pt x="24" y="0"/>
                        </a:lnTo>
                        <a:lnTo>
                          <a:pt x="11" y="17"/>
                        </a:lnTo>
                        <a:lnTo>
                          <a:pt x="6" y="13"/>
                        </a:lnTo>
                        <a:lnTo>
                          <a:pt x="0" y="24"/>
                        </a:lnTo>
                        <a:lnTo>
                          <a:pt x="7" y="30"/>
                        </a:lnTo>
                        <a:lnTo>
                          <a:pt x="7" y="58"/>
                        </a:lnTo>
                        <a:lnTo>
                          <a:pt x="13" y="67"/>
                        </a:lnTo>
                        <a:lnTo>
                          <a:pt x="46" y="30"/>
                        </a:lnTo>
                        <a:lnTo>
                          <a:pt x="59" y="30"/>
                        </a:lnTo>
                        <a:lnTo>
                          <a:pt x="65" y="20"/>
                        </a:lnTo>
                        <a:lnTo>
                          <a:pt x="63" y="15"/>
                        </a:lnTo>
                        <a:lnTo>
                          <a:pt x="54" y="0"/>
                        </a:lnTo>
                        <a:close/>
                      </a:path>
                    </a:pathLst>
                  </a:custGeom>
                  <a:solidFill>
                    <a:srgbClr val="EAEAEA"/>
                  </a:solidFill>
                  <a:ln w="9525">
                    <a:solidFill>
                      <a:schemeClr val="accent5"/>
                    </a:solidFill>
                    <a:prstDash val="solid"/>
                    <a:round/>
                    <a:headEnd/>
                    <a:tailEnd/>
                  </a:ln>
                </p:spPr>
                <p:txBody>
                  <a:bodyPr/>
                  <a:lstStyle/>
                  <a:p>
                    <a:endParaRPr lang="de-DE" dirty="0"/>
                  </a:p>
                </p:txBody>
              </p:sp>
              <p:sp>
                <p:nvSpPr>
                  <p:cNvPr id="226" name="Freeform 41">
                    <a:extLst>
                      <a:ext uri="{FF2B5EF4-FFF2-40B4-BE49-F238E27FC236}">
                        <a16:creationId xmlns:a16="http://schemas.microsoft.com/office/drawing/2014/main" xmlns="" id="{426D0FFC-256B-4614-B6DC-771FD6E93AF2}"/>
                      </a:ext>
                    </a:extLst>
                  </p:cNvPr>
                  <p:cNvSpPr>
                    <a:spLocks/>
                  </p:cNvSpPr>
                  <p:nvPr/>
                </p:nvSpPr>
                <p:spPr bwMode="gray">
                  <a:xfrm>
                    <a:off x="2746" y="1532"/>
                    <a:ext cx="214" cy="191"/>
                  </a:xfrm>
                  <a:custGeom>
                    <a:avLst/>
                    <a:gdLst>
                      <a:gd name="T0" fmla="*/ 207 w 214"/>
                      <a:gd name="T1" fmla="*/ 180 h 191"/>
                      <a:gd name="T2" fmla="*/ 205 w 214"/>
                      <a:gd name="T3" fmla="*/ 169 h 191"/>
                      <a:gd name="T4" fmla="*/ 212 w 214"/>
                      <a:gd name="T5" fmla="*/ 159 h 191"/>
                      <a:gd name="T6" fmla="*/ 212 w 214"/>
                      <a:gd name="T7" fmla="*/ 145 h 191"/>
                      <a:gd name="T8" fmla="*/ 197 w 214"/>
                      <a:gd name="T9" fmla="*/ 134 h 191"/>
                      <a:gd name="T10" fmla="*/ 192 w 214"/>
                      <a:gd name="T11" fmla="*/ 128 h 191"/>
                      <a:gd name="T12" fmla="*/ 188 w 214"/>
                      <a:gd name="T13" fmla="*/ 109 h 191"/>
                      <a:gd name="T14" fmla="*/ 179 w 214"/>
                      <a:gd name="T15" fmla="*/ 93 h 191"/>
                      <a:gd name="T16" fmla="*/ 169 w 214"/>
                      <a:gd name="T17" fmla="*/ 80 h 191"/>
                      <a:gd name="T18" fmla="*/ 169 w 214"/>
                      <a:gd name="T19" fmla="*/ 69 h 191"/>
                      <a:gd name="T20" fmla="*/ 175 w 214"/>
                      <a:gd name="T21" fmla="*/ 61 h 191"/>
                      <a:gd name="T22" fmla="*/ 199 w 214"/>
                      <a:gd name="T23" fmla="*/ 63 h 191"/>
                      <a:gd name="T24" fmla="*/ 208 w 214"/>
                      <a:gd name="T25" fmla="*/ 52 h 191"/>
                      <a:gd name="T26" fmla="*/ 214 w 214"/>
                      <a:gd name="T27" fmla="*/ 24 h 191"/>
                      <a:gd name="T28" fmla="*/ 212 w 214"/>
                      <a:gd name="T29" fmla="*/ 15 h 191"/>
                      <a:gd name="T30" fmla="*/ 201 w 214"/>
                      <a:gd name="T31" fmla="*/ 13 h 191"/>
                      <a:gd name="T32" fmla="*/ 181 w 214"/>
                      <a:gd name="T33" fmla="*/ 15 h 191"/>
                      <a:gd name="T34" fmla="*/ 153 w 214"/>
                      <a:gd name="T35" fmla="*/ 15 h 191"/>
                      <a:gd name="T36" fmla="*/ 132 w 214"/>
                      <a:gd name="T37" fmla="*/ 6 h 191"/>
                      <a:gd name="T38" fmla="*/ 117 w 214"/>
                      <a:gd name="T39" fmla="*/ 2 h 191"/>
                      <a:gd name="T40" fmla="*/ 104 w 214"/>
                      <a:gd name="T41" fmla="*/ 0 h 191"/>
                      <a:gd name="T42" fmla="*/ 91 w 214"/>
                      <a:gd name="T43" fmla="*/ 17 h 191"/>
                      <a:gd name="T44" fmla="*/ 76 w 214"/>
                      <a:gd name="T45" fmla="*/ 28 h 191"/>
                      <a:gd name="T46" fmla="*/ 54 w 214"/>
                      <a:gd name="T47" fmla="*/ 26 h 191"/>
                      <a:gd name="T48" fmla="*/ 41 w 214"/>
                      <a:gd name="T49" fmla="*/ 35 h 191"/>
                      <a:gd name="T50" fmla="*/ 20 w 214"/>
                      <a:gd name="T51" fmla="*/ 56 h 191"/>
                      <a:gd name="T52" fmla="*/ 4 w 214"/>
                      <a:gd name="T53" fmla="*/ 69 h 191"/>
                      <a:gd name="T54" fmla="*/ 0 w 214"/>
                      <a:gd name="T55" fmla="*/ 78 h 191"/>
                      <a:gd name="T56" fmla="*/ 9 w 214"/>
                      <a:gd name="T57" fmla="*/ 95 h 191"/>
                      <a:gd name="T58" fmla="*/ 19 w 214"/>
                      <a:gd name="T59" fmla="*/ 117 h 191"/>
                      <a:gd name="T60" fmla="*/ 30 w 214"/>
                      <a:gd name="T61" fmla="*/ 130 h 191"/>
                      <a:gd name="T62" fmla="*/ 41 w 214"/>
                      <a:gd name="T63" fmla="*/ 126 h 191"/>
                      <a:gd name="T64" fmla="*/ 60 w 214"/>
                      <a:gd name="T65" fmla="*/ 119 h 191"/>
                      <a:gd name="T66" fmla="*/ 58 w 214"/>
                      <a:gd name="T67" fmla="*/ 137 h 191"/>
                      <a:gd name="T68" fmla="*/ 52 w 214"/>
                      <a:gd name="T69" fmla="*/ 159 h 191"/>
                      <a:gd name="T70" fmla="*/ 54 w 214"/>
                      <a:gd name="T71" fmla="*/ 163 h 191"/>
                      <a:gd name="T72" fmla="*/ 63 w 214"/>
                      <a:gd name="T73" fmla="*/ 163 h 191"/>
                      <a:gd name="T74" fmla="*/ 76 w 214"/>
                      <a:gd name="T75" fmla="*/ 159 h 191"/>
                      <a:gd name="T76" fmla="*/ 104 w 214"/>
                      <a:gd name="T77" fmla="*/ 162 h 191"/>
                      <a:gd name="T78" fmla="*/ 112 w 214"/>
                      <a:gd name="T79" fmla="*/ 172 h 191"/>
                      <a:gd name="T80" fmla="*/ 128 w 214"/>
                      <a:gd name="T81" fmla="*/ 178 h 191"/>
                      <a:gd name="T82" fmla="*/ 141 w 214"/>
                      <a:gd name="T83" fmla="*/ 191 h 191"/>
                      <a:gd name="T84" fmla="*/ 150 w 214"/>
                      <a:gd name="T85" fmla="*/ 189 h 191"/>
                      <a:gd name="T86" fmla="*/ 167 w 214"/>
                      <a:gd name="T87" fmla="*/ 180 h 191"/>
                      <a:gd name="T88" fmla="*/ 184 w 214"/>
                      <a:gd name="T89" fmla="*/ 178 h 191"/>
                      <a:gd name="T90" fmla="*/ 207 w 214"/>
                      <a:gd name="T91"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 h="191">
                        <a:moveTo>
                          <a:pt x="207" y="180"/>
                        </a:moveTo>
                        <a:lnTo>
                          <a:pt x="205" y="169"/>
                        </a:lnTo>
                        <a:lnTo>
                          <a:pt x="212" y="159"/>
                        </a:lnTo>
                        <a:lnTo>
                          <a:pt x="212" y="145"/>
                        </a:lnTo>
                        <a:lnTo>
                          <a:pt x="197" y="134"/>
                        </a:lnTo>
                        <a:lnTo>
                          <a:pt x="192" y="128"/>
                        </a:lnTo>
                        <a:lnTo>
                          <a:pt x="188" y="109"/>
                        </a:lnTo>
                        <a:lnTo>
                          <a:pt x="179" y="93"/>
                        </a:lnTo>
                        <a:lnTo>
                          <a:pt x="169" y="80"/>
                        </a:lnTo>
                        <a:lnTo>
                          <a:pt x="169" y="69"/>
                        </a:lnTo>
                        <a:lnTo>
                          <a:pt x="175" y="61"/>
                        </a:lnTo>
                        <a:lnTo>
                          <a:pt x="199" y="63"/>
                        </a:lnTo>
                        <a:lnTo>
                          <a:pt x="208" y="52"/>
                        </a:lnTo>
                        <a:lnTo>
                          <a:pt x="214" y="24"/>
                        </a:lnTo>
                        <a:lnTo>
                          <a:pt x="212" y="15"/>
                        </a:lnTo>
                        <a:lnTo>
                          <a:pt x="201" y="13"/>
                        </a:lnTo>
                        <a:lnTo>
                          <a:pt x="181" y="15"/>
                        </a:lnTo>
                        <a:lnTo>
                          <a:pt x="153" y="15"/>
                        </a:lnTo>
                        <a:lnTo>
                          <a:pt x="132" y="6"/>
                        </a:lnTo>
                        <a:lnTo>
                          <a:pt x="117" y="2"/>
                        </a:lnTo>
                        <a:lnTo>
                          <a:pt x="104" y="0"/>
                        </a:lnTo>
                        <a:lnTo>
                          <a:pt x="91" y="17"/>
                        </a:lnTo>
                        <a:lnTo>
                          <a:pt x="76" y="28"/>
                        </a:lnTo>
                        <a:lnTo>
                          <a:pt x="54" y="26"/>
                        </a:lnTo>
                        <a:lnTo>
                          <a:pt x="41" y="35"/>
                        </a:lnTo>
                        <a:lnTo>
                          <a:pt x="20" y="56"/>
                        </a:lnTo>
                        <a:lnTo>
                          <a:pt x="4" y="69"/>
                        </a:lnTo>
                        <a:lnTo>
                          <a:pt x="0" y="78"/>
                        </a:lnTo>
                        <a:lnTo>
                          <a:pt x="9" y="95"/>
                        </a:lnTo>
                        <a:lnTo>
                          <a:pt x="19" y="117"/>
                        </a:lnTo>
                        <a:lnTo>
                          <a:pt x="30" y="130"/>
                        </a:lnTo>
                        <a:lnTo>
                          <a:pt x="41" y="126"/>
                        </a:lnTo>
                        <a:lnTo>
                          <a:pt x="60" y="119"/>
                        </a:lnTo>
                        <a:lnTo>
                          <a:pt x="58" y="137"/>
                        </a:lnTo>
                        <a:lnTo>
                          <a:pt x="52" y="159"/>
                        </a:lnTo>
                        <a:lnTo>
                          <a:pt x="54" y="163"/>
                        </a:lnTo>
                        <a:lnTo>
                          <a:pt x="63" y="163"/>
                        </a:lnTo>
                        <a:lnTo>
                          <a:pt x="76" y="159"/>
                        </a:lnTo>
                        <a:lnTo>
                          <a:pt x="104" y="162"/>
                        </a:lnTo>
                        <a:lnTo>
                          <a:pt x="112" y="172"/>
                        </a:lnTo>
                        <a:lnTo>
                          <a:pt x="128" y="178"/>
                        </a:lnTo>
                        <a:lnTo>
                          <a:pt x="141" y="191"/>
                        </a:lnTo>
                        <a:lnTo>
                          <a:pt x="150" y="189"/>
                        </a:lnTo>
                        <a:lnTo>
                          <a:pt x="167" y="180"/>
                        </a:lnTo>
                        <a:lnTo>
                          <a:pt x="184" y="178"/>
                        </a:lnTo>
                        <a:lnTo>
                          <a:pt x="207" y="18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grpSp>
              <p:nvGrpSpPr>
                <p:cNvPr id="227" name="Group 502">
                  <a:extLst>
                    <a:ext uri="{FF2B5EF4-FFF2-40B4-BE49-F238E27FC236}">
                      <a16:creationId xmlns:a16="http://schemas.microsoft.com/office/drawing/2014/main" xmlns="" id="{0573C425-DC9F-4503-A07F-9CE5AEBD54B2}"/>
                    </a:ext>
                  </a:extLst>
                </p:cNvPr>
                <p:cNvGrpSpPr>
                  <a:grpSpLocks/>
                </p:cNvGrpSpPr>
                <p:nvPr/>
              </p:nvGrpSpPr>
              <p:grpSpPr bwMode="gray">
                <a:xfrm>
                  <a:off x="3089495" y="2442728"/>
                  <a:ext cx="593309" cy="1149697"/>
                  <a:chOff x="3405" y="763"/>
                  <a:chExt cx="466" cy="903"/>
                </a:xfrm>
              </p:grpSpPr>
              <p:grpSp>
                <p:nvGrpSpPr>
                  <p:cNvPr id="228" name="Group 45">
                    <a:extLst>
                      <a:ext uri="{FF2B5EF4-FFF2-40B4-BE49-F238E27FC236}">
                        <a16:creationId xmlns:a16="http://schemas.microsoft.com/office/drawing/2014/main" xmlns="" id="{AEE757FB-BF71-43D4-94E3-5FA779DE584F}"/>
                      </a:ext>
                    </a:extLst>
                  </p:cNvPr>
                  <p:cNvGrpSpPr>
                    <a:grpSpLocks/>
                  </p:cNvGrpSpPr>
                  <p:nvPr/>
                </p:nvGrpSpPr>
                <p:grpSpPr bwMode="gray">
                  <a:xfrm>
                    <a:off x="3405" y="763"/>
                    <a:ext cx="466" cy="903"/>
                    <a:chOff x="2581" y="627"/>
                    <a:chExt cx="466" cy="903"/>
                  </a:xfrm>
                </p:grpSpPr>
                <p:sp>
                  <p:nvSpPr>
                    <p:cNvPr id="242" name="Freeform 43">
                      <a:extLst>
                        <a:ext uri="{FF2B5EF4-FFF2-40B4-BE49-F238E27FC236}">
                          <a16:creationId xmlns:a16="http://schemas.microsoft.com/office/drawing/2014/main" xmlns="" id="{CCF2204C-0863-4CA0-A788-8364828DD8C5}"/>
                        </a:ext>
                      </a:extLst>
                    </p:cNvPr>
                    <p:cNvSpPr>
                      <a:spLocks/>
                    </p:cNvSpPr>
                    <p:nvPr/>
                  </p:nvSpPr>
                  <p:spPr bwMode="gray">
                    <a:xfrm>
                      <a:off x="2581" y="1475"/>
                      <a:ext cx="29" cy="26"/>
                    </a:xfrm>
                    <a:custGeom>
                      <a:avLst/>
                      <a:gdLst>
                        <a:gd name="T0" fmla="*/ 25 w 29"/>
                        <a:gd name="T1" fmla="*/ 0 h 26"/>
                        <a:gd name="T2" fmla="*/ 14 w 29"/>
                        <a:gd name="T3" fmla="*/ 6 h 26"/>
                        <a:gd name="T4" fmla="*/ 0 w 29"/>
                        <a:gd name="T5" fmla="*/ 17 h 26"/>
                        <a:gd name="T6" fmla="*/ 2 w 29"/>
                        <a:gd name="T7" fmla="*/ 26 h 26"/>
                        <a:gd name="T8" fmla="*/ 10 w 29"/>
                        <a:gd name="T9" fmla="*/ 26 h 26"/>
                        <a:gd name="T10" fmla="*/ 29 w 29"/>
                        <a:gd name="T11" fmla="*/ 13 h 26"/>
                        <a:gd name="T12" fmla="*/ 25 w 29"/>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9" h="26">
                          <a:moveTo>
                            <a:pt x="25" y="0"/>
                          </a:moveTo>
                          <a:lnTo>
                            <a:pt x="14" y="6"/>
                          </a:lnTo>
                          <a:lnTo>
                            <a:pt x="0" y="17"/>
                          </a:lnTo>
                          <a:lnTo>
                            <a:pt x="2" y="26"/>
                          </a:lnTo>
                          <a:lnTo>
                            <a:pt x="10" y="26"/>
                          </a:lnTo>
                          <a:lnTo>
                            <a:pt x="29" y="13"/>
                          </a:lnTo>
                          <a:lnTo>
                            <a:pt x="25"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43" name="Freeform 44">
                      <a:extLst>
                        <a:ext uri="{FF2B5EF4-FFF2-40B4-BE49-F238E27FC236}">
                          <a16:creationId xmlns:a16="http://schemas.microsoft.com/office/drawing/2014/main" xmlns="" id="{01B3A027-F701-40AC-8DA2-71FD9632BF7F}"/>
                        </a:ext>
                      </a:extLst>
                    </p:cNvPr>
                    <p:cNvSpPr>
                      <a:spLocks/>
                    </p:cNvSpPr>
                    <p:nvPr/>
                  </p:nvSpPr>
                  <p:spPr bwMode="gray">
                    <a:xfrm>
                      <a:off x="2610" y="627"/>
                      <a:ext cx="437" cy="903"/>
                    </a:xfrm>
                    <a:custGeom>
                      <a:avLst/>
                      <a:gdLst>
                        <a:gd name="T0" fmla="*/ 119 w 437"/>
                        <a:gd name="T1" fmla="*/ 873 h 903"/>
                        <a:gd name="T2" fmla="*/ 93 w 437"/>
                        <a:gd name="T3" fmla="*/ 851 h 903"/>
                        <a:gd name="T4" fmla="*/ 59 w 437"/>
                        <a:gd name="T5" fmla="*/ 844 h 903"/>
                        <a:gd name="T6" fmla="*/ 59 w 437"/>
                        <a:gd name="T7" fmla="*/ 773 h 903"/>
                        <a:gd name="T8" fmla="*/ 44 w 437"/>
                        <a:gd name="T9" fmla="*/ 725 h 903"/>
                        <a:gd name="T10" fmla="*/ 41 w 437"/>
                        <a:gd name="T11" fmla="*/ 688 h 903"/>
                        <a:gd name="T12" fmla="*/ 30 w 437"/>
                        <a:gd name="T13" fmla="*/ 655 h 903"/>
                        <a:gd name="T14" fmla="*/ 52 w 437"/>
                        <a:gd name="T15" fmla="*/ 622 h 903"/>
                        <a:gd name="T16" fmla="*/ 63 w 437"/>
                        <a:gd name="T17" fmla="*/ 592 h 903"/>
                        <a:gd name="T18" fmla="*/ 107 w 437"/>
                        <a:gd name="T19" fmla="*/ 555 h 903"/>
                        <a:gd name="T20" fmla="*/ 137 w 437"/>
                        <a:gd name="T21" fmla="*/ 511 h 903"/>
                        <a:gd name="T22" fmla="*/ 159 w 437"/>
                        <a:gd name="T23" fmla="*/ 474 h 903"/>
                        <a:gd name="T24" fmla="*/ 178 w 437"/>
                        <a:gd name="T25" fmla="*/ 448 h 903"/>
                        <a:gd name="T26" fmla="*/ 181 w 437"/>
                        <a:gd name="T27" fmla="*/ 422 h 903"/>
                        <a:gd name="T28" fmla="*/ 174 w 437"/>
                        <a:gd name="T29" fmla="*/ 396 h 903"/>
                        <a:gd name="T30" fmla="*/ 152 w 437"/>
                        <a:gd name="T31" fmla="*/ 385 h 903"/>
                        <a:gd name="T32" fmla="*/ 119 w 437"/>
                        <a:gd name="T33" fmla="*/ 314 h 903"/>
                        <a:gd name="T34" fmla="*/ 122 w 437"/>
                        <a:gd name="T35" fmla="*/ 255 h 903"/>
                        <a:gd name="T36" fmla="*/ 107 w 437"/>
                        <a:gd name="T37" fmla="*/ 196 h 903"/>
                        <a:gd name="T38" fmla="*/ 81 w 437"/>
                        <a:gd name="T39" fmla="*/ 158 h 903"/>
                        <a:gd name="T40" fmla="*/ 30 w 437"/>
                        <a:gd name="T41" fmla="*/ 129 h 903"/>
                        <a:gd name="T42" fmla="*/ 11 w 437"/>
                        <a:gd name="T43" fmla="*/ 99 h 903"/>
                        <a:gd name="T44" fmla="*/ 15 w 437"/>
                        <a:gd name="T45" fmla="*/ 78 h 903"/>
                        <a:gd name="T46" fmla="*/ 48 w 437"/>
                        <a:gd name="T47" fmla="*/ 95 h 903"/>
                        <a:gd name="T48" fmla="*/ 107 w 437"/>
                        <a:gd name="T49" fmla="*/ 110 h 903"/>
                        <a:gd name="T50" fmla="*/ 130 w 437"/>
                        <a:gd name="T51" fmla="*/ 125 h 903"/>
                        <a:gd name="T52" fmla="*/ 159 w 437"/>
                        <a:gd name="T53" fmla="*/ 99 h 903"/>
                        <a:gd name="T54" fmla="*/ 178 w 437"/>
                        <a:gd name="T55" fmla="*/ 78 h 903"/>
                        <a:gd name="T56" fmla="*/ 174 w 437"/>
                        <a:gd name="T57" fmla="*/ 37 h 903"/>
                        <a:gd name="T58" fmla="*/ 204 w 437"/>
                        <a:gd name="T59" fmla="*/ 19 h 903"/>
                        <a:gd name="T60" fmla="*/ 244 w 437"/>
                        <a:gd name="T61" fmla="*/ 26 h 903"/>
                        <a:gd name="T62" fmla="*/ 244 w 437"/>
                        <a:gd name="T63" fmla="*/ 59 h 903"/>
                        <a:gd name="T64" fmla="*/ 211 w 437"/>
                        <a:gd name="T65" fmla="*/ 92 h 903"/>
                        <a:gd name="T66" fmla="*/ 248 w 437"/>
                        <a:gd name="T67" fmla="*/ 85 h 903"/>
                        <a:gd name="T68" fmla="*/ 252 w 437"/>
                        <a:gd name="T69" fmla="*/ 30 h 903"/>
                        <a:gd name="T70" fmla="*/ 274 w 437"/>
                        <a:gd name="T71" fmla="*/ 63 h 903"/>
                        <a:gd name="T72" fmla="*/ 267 w 437"/>
                        <a:gd name="T73" fmla="*/ 114 h 903"/>
                        <a:gd name="T74" fmla="*/ 296 w 437"/>
                        <a:gd name="T75" fmla="*/ 158 h 903"/>
                        <a:gd name="T76" fmla="*/ 315 w 437"/>
                        <a:gd name="T77" fmla="*/ 199 h 903"/>
                        <a:gd name="T78" fmla="*/ 318 w 437"/>
                        <a:gd name="T79" fmla="*/ 262 h 903"/>
                        <a:gd name="T80" fmla="*/ 348 w 437"/>
                        <a:gd name="T81" fmla="*/ 351 h 903"/>
                        <a:gd name="T82" fmla="*/ 359 w 437"/>
                        <a:gd name="T83" fmla="*/ 448 h 903"/>
                        <a:gd name="T84" fmla="*/ 374 w 437"/>
                        <a:gd name="T85" fmla="*/ 518 h 903"/>
                        <a:gd name="T86" fmla="*/ 418 w 437"/>
                        <a:gd name="T87" fmla="*/ 566 h 903"/>
                        <a:gd name="T88" fmla="*/ 437 w 437"/>
                        <a:gd name="T89" fmla="*/ 604 h 903"/>
                        <a:gd name="T90" fmla="*/ 415 w 437"/>
                        <a:gd name="T91" fmla="*/ 680 h 903"/>
                        <a:gd name="T92" fmla="*/ 404 w 437"/>
                        <a:gd name="T93" fmla="*/ 721 h 903"/>
                        <a:gd name="T94" fmla="*/ 381 w 437"/>
                        <a:gd name="T95" fmla="*/ 744 h 903"/>
                        <a:gd name="T96" fmla="*/ 326 w 437"/>
                        <a:gd name="T97" fmla="*/ 799 h 903"/>
                        <a:gd name="T98" fmla="*/ 300 w 437"/>
                        <a:gd name="T99" fmla="*/ 825 h 903"/>
                        <a:gd name="T100" fmla="*/ 267 w 437"/>
                        <a:gd name="T101" fmla="*/ 840 h 903"/>
                        <a:gd name="T102" fmla="*/ 215 w 437"/>
                        <a:gd name="T103" fmla="*/ 855 h 903"/>
                        <a:gd name="T104" fmla="*/ 163 w 437"/>
                        <a:gd name="T105" fmla="*/ 877 h 903"/>
                        <a:gd name="T106" fmla="*/ 122 w 437"/>
                        <a:gd name="T107"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7" h="903">
                          <a:moveTo>
                            <a:pt x="122" y="903"/>
                          </a:moveTo>
                          <a:lnTo>
                            <a:pt x="119" y="873"/>
                          </a:lnTo>
                          <a:lnTo>
                            <a:pt x="104" y="858"/>
                          </a:lnTo>
                          <a:lnTo>
                            <a:pt x="93" y="851"/>
                          </a:lnTo>
                          <a:lnTo>
                            <a:pt x="74" y="844"/>
                          </a:lnTo>
                          <a:lnTo>
                            <a:pt x="59" y="844"/>
                          </a:lnTo>
                          <a:lnTo>
                            <a:pt x="52" y="829"/>
                          </a:lnTo>
                          <a:lnTo>
                            <a:pt x="59" y="773"/>
                          </a:lnTo>
                          <a:lnTo>
                            <a:pt x="56" y="740"/>
                          </a:lnTo>
                          <a:lnTo>
                            <a:pt x="44" y="725"/>
                          </a:lnTo>
                          <a:lnTo>
                            <a:pt x="37" y="718"/>
                          </a:lnTo>
                          <a:lnTo>
                            <a:pt x="41" y="688"/>
                          </a:lnTo>
                          <a:lnTo>
                            <a:pt x="37" y="669"/>
                          </a:lnTo>
                          <a:lnTo>
                            <a:pt x="30" y="655"/>
                          </a:lnTo>
                          <a:lnTo>
                            <a:pt x="41" y="622"/>
                          </a:lnTo>
                          <a:lnTo>
                            <a:pt x="52" y="622"/>
                          </a:lnTo>
                          <a:lnTo>
                            <a:pt x="59" y="615"/>
                          </a:lnTo>
                          <a:lnTo>
                            <a:pt x="63" y="592"/>
                          </a:lnTo>
                          <a:lnTo>
                            <a:pt x="85" y="574"/>
                          </a:lnTo>
                          <a:lnTo>
                            <a:pt x="107" y="555"/>
                          </a:lnTo>
                          <a:lnTo>
                            <a:pt x="111" y="533"/>
                          </a:lnTo>
                          <a:lnTo>
                            <a:pt x="137" y="511"/>
                          </a:lnTo>
                          <a:lnTo>
                            <a:pt x="163" y="485"/>
                          </a:lnTo>
                          <a:lnTo>
                            <a:pt x="159" y="474"/>
                          </a:lnTo>
                          <a:lnTo>
                            <a:pt x="159" y="459"/>
                          </a:lnTo>
                          <a:lnTo>
                            <a:pt x="178" y="448"/>
                          </a:lnTo>
                          <a:lnTo>
                            <a:pt x="185" y="444"/>
                          </a:lnTo>
                          <a:lnTo>
                            <a:pt x="181" y="422"/>
                          </a:lnTo>
                          <a:lnTo>
                            <a:pt x="181" y="400"/>
                          </a:lnTo>
                          <a:lnTo>
                            <a:pt x="174" y="396"/>
                          </a:lnTo>
                          <a:lnTo>
                            <a:pt x="163" y="400"/>
                          </a:lnTo>
                          <a:lnTo>
                            <a:pt x="152" y="385"/>
                          </a:lnTo>
                          <a:lnTo>
                            <a:pt x="141" y="344"/>
                          </a:lnTo>
                          <a:lnTo>
                            <a:pt x="119" y="314"/>
                          </a:lnTo>
                          <a:lnTo>
                            <a:pt x="126" y="273"/>
                          </a:lnTo>
                          <a:lnTo>
                            <a:pt x="122" y="255"/>
                          </a:lnTo>
                          <a:lnTo>
                            <a:pt x="96" y="229"/>
                          </a:lnTo>
                          <a:lnTo>
                            <a:pt x="107" y="196"/>
                          </a:lnTo>
                          <a:lnTo>
                            <a:pt x="100" y="177"/>
                          </a:lnTo>
                          <a:lnTo>
                            <a:pt x="81" y="158"/>
                          </a:lnTo>
                          <a:lnTo>
                            <a:pt x="70" y="170"/>
                          </a:lnTo>
                          <a:lnTo>
                            <a:pt x="30" y="129"/>
                          </a:lnTo>
                          <a:lnTo>
                            <a:pt x="19" y="114"/>
                          </a:lnTo>
                          <a:lnTo>
                            <a:pt x="11" y="99"/>
                          </a:lnTo>
                          <a:lnTo>
                            <a:pt x="0" y="92"/>
                          </a:lnTo>
                          <a:lnTo>
                            <a:pt x="15" y="78"/>
                          </a:lnTo>
                          <a:lnTo>
                            <a:pt x="37" y="78"/>
                          </a:lnTo>
                          <a:lnTo>
                            <a:pt x="48" y="95"/>
                          </a:lnTo>
                          <a:lnTo>
                            <a:pt x="78" y="129"/>
                          </a:lnTo>
                          <a:lnTo>
                            <a:pt x="107" y="110"/>
                          </a:lnTo>
                          <a:lnTo>
                            <a:pt x="126" y="114"/>
                          </a:lnTo>
                          <a:lnTo>
                            <a:pt x="130" y="125"/>
                          </a:lnTo>
                          <a:lnTo>
                            <a:pt x="152" y="129"/>
                          </a:lnTo>
                          <a:lnTo>
                            <a:pt x="159" y="99"/>
                          </a:lnTo>
                          <a:lnTo>
                            <a:pt x="170" y="89"/>
                          </a:lnTo>
                          <a:lnTo>
                            <a:pt x="178" y="78"/>
                          </a:lnTo>
                          <a:lnTo>
                            <a:pt x="178" y="67"/>
                          </a:lnTo>
                          <a:lnTo>
                            <a:pt x="174" y="37"/>
                          </a:lnTo>
                          <a:lnTo>
                            <a:pt x="193" y="19"/>
                          </a:lnTo>
                          <a:lnTo>
                            <a:pt x="204" y="19"/>
                          </a:lnTo>
                          <a:lnTo>
                            <a:pt x="222" y="0"/>
                          </a:lnTo>
                          <a:lnTo>
                            <a:pt x="244" y="26"/>
                          </a:lnTo>
                          <a:lnTo>
                            <a:pt x="252" y="37"/>
                          </a:lnTo>
                          <a:lnTo>
                            <a:pt x="244" y="59"/>
                          </a:lnTo>
                          <a:lnTo>
                            <a:pt x="226" y="74"/>
                          </a:lnTo>
                          <a:lnTo>
                            <a:pt x="211" y="92"/>
                          </a:lnTo>
                          <a:lnTo>
                            <a:pt x="215" y="110"/>
                          </a:lnTo>
                          <a:lnTo>
                            <a:pt x="248" y="85"/>
                          </a:lnTo>
                          <a:lnTo>
                            <a:pt x="248" y="63"/>
                          </a:lnTo>
                          <a:lnTo>
                            <a:pt x="252" y="30"/>
                          </a:lnTo>
                          <a:lnTo>
                            <a:pt x="263" y="22"/>
                          </a:lnTo>
                          <a:lnTo>
                            <a:pt x="274" y="63"/>
                          </a:lnTo>
                          <a:lnTo>
                            <a:pt x="274" y="99"/>
                          </a:lnTo>
                          <a:lnTo>
                            <a:pt x="267" y="114"/>
                          </a:lnTo>
                          <a:lnTo>
                            <a:pt x="267" y="136"/>
                          </a:lnTo>
                          <a:lnTo>
                            <a:pt x="296" y="158"/>
                          </a:lnTo>
                          <a:lnTo>
                            <a:pt x="296" y="173"/>
                          </a:lnTo>
                          <a:lnTo>
                            <a:pt x="315" y="199"/>
                          </a:lnTo>
                          <a:lnTo>
                            <a:pt x="322" y="218"/>
                          </a:lnTo>
                          <a:lnTo>
                            <a:pt x="318" y="262"/>
                          </a:lnTo>
                          <a:lnTo>
                            <a:pt x="330" y="311"/>
                          </a:lnTo>
                          <a:lnTo>
                            <a:pt x="348" y="351"/>
                          </a:lnTo>
                          <a:lnTo>
                            <a:pt x="344" y="411"/>
                          </a:lnTo>
                          <a:lnTo>
                            <a:pt x="359" y="448"/>
                          </a:lnTo>
                          <a:lnTo>
                            <a:pt x="367" y="463"/>
                          </a:lnTo>
                          <a:lnTo>
                            <a:pt x="374" y="518"/>
                          </a:lnTo>
                          <a:lnTo>
                            <a:pt x="381" y="541"/>
                          </a:lnTo>
                          <a:lnTo>
                            <a:pt x="418" y="566"/>
                          </a:lnTo>
                          <a:lnTo>
                            <a:pt x="437" y="589"/>
                          </a:lnTo>
                          <a:lnTo>
                            <a:pt x="437" y="604"/>
                          </a:lnTo>
                          <a:lnTo>
                            <a:pt x="422" y="673"/>
                          </a:lnTo>
                          <a:lnTo>
                            <a:pt x="415" y="680"/>
                          </a:lnTo>
                          <a:lnTo>
                            <a:pt x="422" y="695"/>
                          </a:lnTo>
                          <a:lnTo>
                            <a:pt x="404" y="721"/>
                          </a:lnTo>
                          <a:lnTo>
                            <a:pt x="381" y="732"/>
                          </a:lnTo>
                          <a:lnTo>
                            <a:pt x="381" y="744"/>
                          </a:lnTo>
                          <a:lnTo>
                            <a:pt x="348" y="788"/>
                          </a:lnTo>
                          <a:lnTo>
                            <a:pt x="326" y="799"/>
                          </a:lnTo>
                          <a:lnTo>
                            <a:pt x="322" y="825"/>
                          </a:lnTo>
                          <a:lnTo>
                            <a:pt x="300" y="825"/>
                          </a:lnTo>
                          <a:lnTo>
                            <a:pt x="289" y="833"/>
                          </a:lnTo>
                          <a:lnTo>
                            <a:pt x="267" y="840"/>
                          </a:lnTo>
                          <a:lnTo>
                            <a:pt x="237" y="836"/>
                          </a:lnTo>
                          <a:lnTo>
                            <a:pt x="215" y="855"/>
                          </a:lnTo>
                          <a:lnTo>
                            <a:pt x="189" y="870"/>
                          </a:lnTo>
                          <a:lnTo>
                            <a:pt x="163" y="877"/>
                          </a:lnTo>
                          <a:lnTo>
                            <a:pt x="144" y="892"/>
                          </a:lnTo>
                          <a:lnTo>
                            <a:pt x="122" y="903"/>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grpSp>
                <p:nvGrpSpPr>
                  <p:cNvPr id="229" name="Group 58">
                    <a:extLst>
                      <a:ext uri="{FF2B5EF4-FFF2-40B4-BE49-F238E27FC236}">
                        <a16:creationId xmlns:a16="http://schemas.microsoft.com/office/drawing/2014/main" xmlns="" id="{503D240E-BFAC-4606-BA8D-DA2C134419EE}"/>
                      </a:ext>
                    </a:extLst>
                  </p:cNvPr>
                  <p:cNvGrpSpPr>
                    <a:grpSpLocks/>
                  </p:cNvGrpSpPr>
                  <p:nvPr/>
                </p:nvGrpSpPr>
                <p:grpSpPr bwMode="gray">
                  <a:xfrm>
                    <a:off x="3561" y="1084"/>
                    <a:ext cx="282" cy="460"/>
                    <a:chOff x="2737" y="948"/>
                    <a:chExt cx="282" cy="460"/>
                  </a:xfrm>
                </p:grpSpPr>
                <p:sp>
                  <p:nvSpPr>
                    <p:cNvPr id="230" name="Freeform 46">
                      <a:extLst>
                        <a:ext uri="{FF2B5EF4-FFF2-40B4-BE49-F238E27FC236}">
                          <a16:creationId xmlns:a16="http://schemas.microsoft.com/office/drawing/2014/main" xmlns="" id="{416B79D6-57CF-48B0-9C72-6B03AD7A6564}"/>
                        </a:ext>
                      </a:extLst>
                    </p:cNvPr>
                    <p:cNvSpPr>
                      <a:spLocks/>
                    </p:cNvSpPr>
                    <p:nvPr/>
                  </p:nvSpPr>
                  <p:spPr bwMode="gray">
                    <a:xfrm>
                      <a:off x="2896" y="948"/>
                      <a:ext cx="16" cy="22"/>
                    </a:xfrm>
                    <a:custGeom>
                      <a:avLst/>
                      <a:gdLst>
                        <a:gd name="T0" fmla="*/ 10 w 16"/>
                        <a:gd name="T1" fmla="*/ 2 h 22"/>
                        <a:gd name="T2" fmla="*/ 0 w 16"/>
                        <a:gd name="T3" fmla="*/ 0 h 22"/>
                        <a:gd name="T4" fmla="*/ 8 w 16"/>
                        <a:gd name="T5" fmla="*/ 22 h 22"/>
                        <a:gd name="T6" fmla="*/ 16 w 16"/>
                        <a:gd name="T7" fmla="*/ 17 h 22"/>
                        <a:gd name="T8" fmla="*/ 10 w 16"/>
                        <a:gd name="T9" fmla="*/ 2 h 22"/>
                      </a:gdLst>
                      <a:ahLst/>
                      <a:cxnLst>
                        <a:cxn ang="0">
                          <a:pos x="T0" y="T1"/>
                        </a:cxn>
                        <a:cxn ang="0">
                          <a:pos x="T2" y="T3"/>
                        </a:cxn>
                        <a:cxn ang="0">
                          <a:pos x="T4" y="T5"/>
                        </a:cxn>
                        <a:cxn ang="0">
                          <a:pos x="T6" y="T7"/>
                        </a:cxn>
                        <a:cxn ang="0">
                          <a:pos x="T8" y="T9"/>
                        </a:cxn>
                      </a:cxnLst>
                      <a:rect l="0" t="0" r="r" b="b"/>
                      <a:pathLst>
                        <a:path w="16" h="22">
                          <a:moveTo>
                            <a:pt x="10" y="2"/>
                          </a:moveTo>
                          <a:lnTo>
                            <a:pt x="0" y="0"/>
                          </a:lnTo>
                          <a:lnTo>
                            <a:pt x="8" y="22"/>
                          </a:lnTo>
                          <a:lnTo>
                            <a:pt x="16" y="17"/>
                          </a:lnTo>
                          <a:lnTo>
                            <a:pt x="10" y="2"/>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31" name="Freeform 47">
                      <a:extLst>
                        <a:ext uri="{FF2B5EF4-FFF2-40B4-BE49-F238E27FC236}">
                          <a16:creationId xmlns:a16="http://schemas.microsoft.com/office/drawing/2014/main" xmlns="" id="{0F64E872-67AA-466E-9D6C-85DE0F5456FE}"/>
                        </a:ext>
                      </a:extLst>
                    </p:cNvPr>
                    <p:cNvSpPr>
                      <a:spLocks/>
                    </p:cNvSpPr>
                    <p:nvPr/>
                  </p:nvSpPr>
                  <p:spPr bwMode="gray">
                    <a:xfrm>
                      <a:off x="2927" y="1031"/>
                      <a:ext cx="16" cy="45"/>
                    </a:xfrm>
                    <a:custGeom>
                      <a:avLst/>
                      <a:gdLst>
                        <a:gd name="T0" fmla="*/ 16 w 16"/>
                        <a:gd name="T1" fmla="*/ 0 h 45"/>
                        <a:gd name="T2" fmla="*/ 0 w 16"/>
                        <a:gd name="T3" fmla="*/ 9 h 45"/>
                        <a:gd name="T4" fmla="*/ 0 w 16"/>
                        <a:gd name="T5" fmla="*/ 45 h 45"/>
                        <a:gd name="T6" fmla="*/ 8 w 16"/>
                        <a:gd name="T7" fmla="*/ 28 h 45"/>
                        <a:gd name="T8" fmla="*/ 11 w 16"/>
                        <a:gd name="T9" fmla="*/ 9 h 45"/>
                        <a:gd name="T10" fmla="*/ 5 w 16"/>
                        <a:gd name="T11" fmla="*/ 8 h 45"/>
                        <a:gd name="T12" fmla="*/ 16 w 1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16" y="0"/>
                          </a:moveTo>
                          <a:lnTo>
                            <a:pt x="0" y="9"/>
                          </a:lnTo>
                          <a:lnTo>
                            <a:pt x="0" y="45"/>
                          </a:lnTo>
                          <a:lnTo>
                            <a:pt x="8" y="28"/>
                          </a:lnTo>
                          <a:lnTo>
                            <a:pt x="11" y="9"/>
                          </a:lnTo>
                          <a:lnTo>
                            <a:pt x="5" y="8"/>
                          </a:lnTo>
                          <a:lnTo>
                            <a:pt x="16" y="0"/>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32" name="Freeform 48">
                      <a:extLst>
                        <a:ext uri="{FF2B5EF4-FFF2-40B4-BE49-F238E27FC236}">
                          <a16:creationId xmlns:a16="http://schemas.microsoft.com/office/drawing/2014/main" xmlns="" id="{72F20A58-FA32-47C2-8D50-00825E37A6E8}"/>
                        </a:ext>
                      </a:extLst>
                    </p:cNvPr>
                    <p:cNvSpPr>
                      <a:spLocks/>
                    </p:cNvSpPr>
                    <p:nvPr/>
                  </p:nvSpPr>
                  <p:spPr bwMode="gray">
                    <a:xfrm>
                      <a:off x="2952" y="1096"/>
                      <a:ext cx="19" cy="26"/>
                    </a:xfrm>
                    <a:custGeom>
                      <a:avLst/>
                      <a:gdLst>
                        <a:gd name="T0" fmla="*/ 4 w 19"/>
                        <a:gd name="T1" fmla="*/ 0 h 26"/>
                        <a:gd name="T2" fmla="*/ 0 w 19"/>
                        <a:gd name="T3" fmla="*/ 7 h 26"/>
                        <a:gd name="T4" fmla="*/ 6 w 19"/>
                        <a:gd name="T5" fmla="*/ 26 h 26"/>
                        <a:gd name="T6" fmla="*/ 17 w 19"/>
                        <a:gd name="T7" fmla="*/ 20 h 26"/>
                        <a:gd name="T8" fmla="*/ 19 w 19"/>
                        <a:gd name="T9" fmla="*/ 11 h 26"/>
                        <a:gd name="T10" fmla="*/ 4 w 19"/>
                        <a:gd name="T11" fmla="*/ 0 h 26"/>
                      </a:gdLst>
                      <a:ahLst/>
                      <a:cxnLst>
                        <a:cxn ang="0">
                          <a:pos x="T0" y="T1"/>
                        </a:cxn>
                        <a:cxn ang="0">
                          <a:pos x="T2" y="T3"/>
                        </a:cxn>
                        <a:cxn ang="0">
                          <a:pos x="T4" y="T5"/>
                        </a:cxn>
                        <a:cxn ang="0">
                          <a:pos x="T6" y="T7"/>
                        </a:cxn>
                        <a:cxn ang="0">
                          <a:pos x="T8" y="T9"/>
                        </a:cxn>
                        <a:cxn ang="0">
                          <a:pos x="T10" y="T11"/>
                        </a:cxn>
                      </a:cxnLst>
                      <a:rect l="0" t="0" r="r" b="b"/>
                      <a:pathLst>
                        <a:path w="19" h="26">
                          <a:moveTo>
                            <a:pt x="4" y="0"/>
                          </a:moveTo>
                          <a:lnTo>
                            <a:pt x="0" y="7"/>
                          </a:lnTo>
                          <a:lnTo>
                            <a:pt x="6" y="26"/>
                          </a:lnTo>
                          <a:lnTo>
                            <a:pt x="17" y="20"/>
                          </a:lnTo>
                          <a:lnTo>
                            <a:pt x="19" y="11"/>
                          </a:lnTo>
                          <a:lnTo>
                            <a:pt x="4" y="0"/>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33" name="Freeform 49">
                      <a:extLst>
                        <a:ext uri="{FF2B5EF4-FFF2-40B4-BE49-F238E27FC236}">
                          <a16:creationId xmlns:a16="http://schemas.microsoft.com/office/drawing/2014/main" xmlns="" id="{45A4EF84-D9A0-405D-B46B-2DB09C6F0F66}"/>
                        </a:ext>
                      </a:extLst>
                    </p:cNvPr>
                    <p:cNvSpPr>
                      <a:spLocks/>
                    </p:cNvSpPr>
                    <p:nvPr/>
                  </p:nvSpPr>
                  <p:spPr bwMode="gray">
                    <a:xfrm>
                      <a:off x="2848" y="1092"/>
                      <a:ext cx="41" cy="39"/>
                    </a:xfrm>
                    <a:custGeom>
                      <a:avLst/>
                      <a:gdLst>
                        <a:gd name="T0" fmla="*/ 41 w 41"/>
                        <a:gd name="T1" fmla="*/ 17 h 39"/>
                        <a:gd name="T2" fmla="*/ 32 w 41"/>
                        <a:gd name="T3" fmla="*/ 17 h 39"/>
                        <a:gd name="T4" fmla="*/ 21 w 41"/>
                        <a:gd name="T5" fmla="*/ 0 h 39"/>
                        <a:gd name="T6" fmla="*/ 13 w 41"/>
                        <a:gd name="T7" fmla="*/ 11 h 39"/>
                        <a:gd name="T8" fmla="*/ 2 w 41"/>
                        <a:gd name="T9" fmla="*/ 7 h 39"/>
                        <a:gd name="T10" fmla="*/ 0 w 41"/>
                        <a:gd name="T11" fmla="*/ 17 h 39"/>
                        <a:gd name="T12" fmla="*/ 6 w 41"/>
                        <a:gd name="T13" fmla="*/ 24 h 39"/>
                        <a:gd name="T14" fmla="*/ 6 w 41"/>
                        <a:gd name="T15" fmla="*/ 32 h 39"/>
                        <a:gd name="T16" fmla="*/ 13 w 41"/>
                        <a:gd name="T17" fmla="*/ 39 h 39"/>
                        <a:gd name="T18" fmla="*/ 21 w 41"/>
                        <a:gd name="T19" fmla="*/ 33 h 39"/>
                        <a:gd name="T20" fmla="*/ 35 w 41"/>
                        <a:gd name="T21" fmla="*/ 37 h 39"/>
                        <a:gd name="T22" fmla="*/ 41 w 41"/>
                        <a:gd name="T23"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39">
                          <a:moveTo>
                            <a:pt x="41" y="17"/>
                          </a:moveTo>
                          <a:lnTo>
                            <a:pt x="32" y="17"/>
                          </a:lnTo>
                          <a:lnTo>
                            <a:pt x="21" y="0"/>
                          </a:lnTo>
                          <a:lnTo>
                            <a:pt x="13" y="11"/>
                          </a:lnTo>
                          <a:lnTo>
                            <a:pt x="2" y="7"/>
                          </a:lnTo>
                          <a:lnTo>
                            <a:pt x="0" y="17"/>
                          </a:lnTo>
                          <a:lnTo>
                            <a:pt x="6" y="24"/>
                          </a:lnTo>
                          <a:lnTo>
                            <a:pt x="6" y="32"/>
                          </a:lnTo>
                          <a:lnTo>
                            <a:pt x="13" y="39"/>
                          </a:lnTo>
                          <a:lnTo>
                            <a:pt x="21" y="33"/>
                          </a:lnTo>
                          <a:lnTo>
                            <a:pt x="35" y="37"/>
                          </a:lnTo>
                          <a:lnTo>
                            <a:pt x="41" y="17"/>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34" name="Freeform 50">
                      <a:extLst>
                        <a:ext uri="{FF2B5EF4-FFF2-40B4-BE49-F238E27FC236}">
                          <a16:creationId xmlns:a16="http://schemas.microsoft.com/office/drawing/2014/main" xmlns="" id="{236FCBA3-5DCE-495E-9A76-C8EB4374BDB2}"/>
                        </a:ext>
                      </a:extLst>
                    </p:cNvPr>
                    <p:cNvSpPr>
                      <a:spLocks/>
                    </p:cNvSpPr>
                    <p:nvPr/>
                  </p:nvSpPr>
                  <p:spPr bwMode="gray">
                    <a:xfrm>
                      <a:off x="2943" y="1189"/>
                      <a:ext cx="58" cy="40"/>
                    </a:xfrm>
                    <a:custGeom>
                      <a:avLst/>
                      <a:gdLst>
                        <a:gd name="T0" fmla="*/ 7 w 58"/>
                        <a:gd name="T1" fmla="*/ 0 h 40"/>
                        <a:gd name="T2" fmla="*/ 0 w 58"/>
                        <a:gd name="T3" fmla="*/ 4 h 40"/>
                        <a:gd name="T4" fmla="*/ 21 w 58"/>
                        <a:gd name="T5" fmla="*/ 24 h 40"/>
                        <a:gd name="T6" fmla="*/ 28 w 58"/>
                        <a:gd name="T7" fmla="*/ 24 h 40"/>
                        <a:gd name="T8" fmla="*/ 51 w 58"/>
                        <a:gd name="T9" fmla="*/ 40 h 40"/>
                        <a:gd name="T10" fmla="*/ 58 w 58"/>
                        <a:gd name="T11" fmla="*/ 33 h 40"/>
                        <a:gd name="T12" fmla="*/ 52 w 58"/>
                        <a:gd name="T13" fmla="*/ 16 h 40"/>
                        <a:gd name="T14" fmla="*/ 51 w 58"/>
                        <a:gd name="T15" fmla="*/ 7 h 40"/>
                        <a:gd name="T16" fmla="*/ 34 w 58"/>
                        <a:gd name="T17" fmla="*/ 7 h 40"/>
                        <a:gd name="T18" fmla="*/ 21 w 58"/>
                        <a:gd name="T19" fmla="*/ 0 h 40"/>
                        <a:gd name="T20" fmla="*/ 7 w 58"/>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40">
                          <a:moveTo>
                            <a:pt x="7" y="0"/>
                          </a:moveTo>
                          <a:lnTo>
                            <a:pt x="0" y="4"/>
                          </a:lnTo>
                          <a:lnTo>
                            <a:pt x="21" y="24"/>
                          </a:lnTo>
                          <a:lnTo>
                            <a:pt x="28" y="24"/>
                          </a:lnTo>
                          <a:lnTo>
                            <a:pt x="51" y="40"/>
                          </a:lnTo>
                          <a:lnTo>
                            <a:pt x="58" y="33"/>
                          </a:lnTo>
                          <a:lnTo>
                            <a:pt x="52" y="16"/>
                          </a:lnTo>
                          <a:lnTo>
                            <a:pt x="51" y="7"/>
                          </a:lnTo>
                          <a:lnTo>
                            <a:pt x="34" y="7"/>
                          </a:lnTo>
                          <a:lnTo>
                            <a:pt x="21" y="0"/>
                          </a:lnTo>
                          <a:lnTo>
                            <a:pt x="7" y="0"/>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35" name="Freeform 51">
                      <a:extLst>
                        <a:ext uri="{FF2B5EF4-FFF2-40B4-BE49-F238E27FC236}">
                          <a16:creationId xmlns:a16="http://schemas.microsoft.com/office/drawing/2014/main" xmlns="" id="{E522C8B3-85E9-4660-8E96-37A801436AB7}"/>
                        </a:ext>
                      </a:extLst>
                    </p:cNvPr>
                    <p:cNvSpPr>
                      <a:spLocks/>
                    </p:cNvSpPr>
                    <p:nvPr/>
                  </p:nvSpPr>
                  <p:spPr bwMode="gray">
                    <a:xfrm>
                      <a:off x="2821" y="1213"/>
                      <a:ext cx="37" cy="59"/>
                    </a:xfrm>
                    <a:custGeom>
                      <a:avLst/>
                      <a:gdLst>
                        <a:gd name="T0" fmla="*/ 33 w 37"/>
                        <a:gd name="T1" fmla="*/ 0 h 59"/>
                        <a:gd name="T2" fmla="*/ 37 w 37"/>
                        <a:gd name="T3" fmla="*/ 11 h 59"/>
                        <a:gd name="T4" fmla="*/ 19 w 37"/>
                        <a:gd name="T5" fmla="*/ 39 h 59"/>
                        <a:gd name="T6" fmla="*/ 20 w 37"/>
                        <a:gd name="T7" fmla="*/ 48 h 59"/>
                        <a:gd name="T8" fmla="*/ 9 w 37"/>
                        <a:gd name="T9" fmla="*/ 59 h 59"/>
                        <a:gd name="T10" fmla="*/ 0 w 37"/>
                        <a:gd name="T11" fmla="*/ 50 h 59"/>
                        <a:gd name="T12" fmla="*/ 4 w 37"/>
                        <a:gd name="T13" fmla="*/ 42 h 59"/>
                        <a:gd name="T14" fmla="*/ 6 w 37"/>
                        <a:gd name="T15" fmla="*/ 24 h 59"/>
                        <a:gd name="T16" fmla="*/ 15 w 37"/>
                        <a:gd name="T17" fmla="*/ 13 h 59"/>
                        <a:gd name="T18" fmla="*/ 4 w 37"/>
                        <a:gd name="T19" fmla="*/ 4 h 59"/>
                        <a:gd name="T20" fmla="*/ 11 w 37"/>
                        <a:gd name="T21" fmla="*/ 0 h 59"/>
                        <a:gd name="T22" fmla="*/ 22 w 37"/>
                        <a:gd name="T23" fmla="*/ 6 h 59"/>
                        <a:gd name="T24" fmla="*/ 33 w 37"/>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9">
                          <a:moveTo>
                            <a:pt x="33" y="0"/>
                          </a:moveTo>
                          <a:lnTo>
                            <a:pt x="37" y="11"/>
                          </a:lnTo>
                          <a:lnTo>
                            <a:pt x="19" y="39"/>
                          </a:lnTo>
                          <a:lnTo>
                            <a:pt x="20" y="48"/>
                          </a:lnTo>
                          <a:lnTo>
                            <a:pt x="9" y="59"/>
                          </a:lnTo>
                          <a:lnTo>
                            <a:pt x="0" y="50"/>
                          </a:lnTo>
                          <a:lnTo>
                            <a:pt x="4" y="42"/>
                          </a:lnTo>
                          <a:lnTo>
                            <a:pt x="6" y="24"/>
                          </a:lnTo>
                          <a:lnTo>
                            <a:pt x="15" y="13"/>
                          </a:lnTo>
                          <a:lnTo>
                            <a:pt x="4" y="4"/>
                          </a:lnTo>
                          <a:lnTo>
                            <a:pt x="11" y="0"/>
                          </a:lnTo>
                          <a:lnTo>
                            <a:pt x="22" y="6"/>
                          </a:lnTo>
                          <a:lnTo>
                            <a:pt x="33" y="0"/>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36" name="Freeform 52">
                      <a:extLst>
                        <a:ext uri="{FF2B5EF4-FFF2-40B4-BE49-F238E27FC236}">
                          <a16:creationId xmlns:a16="http://schemas.microsoft.com/office/drawing/2014/main" xmlns="" id="{09A68B63-0F57-4C22-A047-D403443F3E01}"/>
                        </a:ext>
                      </a:extLst>
                    </p:cNvPr>
                    <p:cNvSpPr>
                      <a:spLocks/>
                    </p:cNvSpPr>
                    <p:nvPr/>
                  </p:nvSpPr>
                  <p:spPr bwMode="gray">
                    <a:xfrm>
                      <a:off x="2839" y="1250"/>
                      <a:ext cx="32" cy="55"/>
                    </a:xfrm>
                    <a:custGeom>
                      <a:avLst/>
                      <a:gdLst>
                        <a:gd name="T0" fmla="*/ 28 w 32"/>
                        <a:gd name="T1" fmla="*/ 0 h 55"/>
                        <a:gd name="T2" fmla="*/ 21 w 32"/>
                        <a:gd name="T3" fmla="*/ 0 h 55"/>
                        <a:gd name="T4" fmla="*/ 21 w 32"/>
                        <a:gd name="T5" fmla="*/ 4 h 55"/>
                        <a:gd name="T6" fmla="*/ 21 w 32"/>
                        <a:gd name="T7" fmla="*/ 7 h 55"/>
                        <a:gd name="T8" fmla="*/ 21 w 32"/>
                        <a:gd name="T9" fmla="*/ 11 h 55"/>
                        <a:gd name="T10" fmla="*/ 15 w 32"/>
                        <a:gd name="T11" fmla="*/ 21 h 55"/>
                        <a:gd name="T12" fmla="*/ 6 w 32"/>
                        <a:gd name="T13" fmla="*/ 30 h 55"/>
                        <a:gd name="T14" fmla="*/ 8 w 32"/>
                        <a:gd name="T15" fmla="*/ 37 h 55"/>
                        <a:gd name="T16" fmla="*/ 0 w 32"/>
                        <a:gd name="T17" fmla="*/ 49 h 55"/>
                        <a:gd name="T18" fmla="*/ 8 w 32"/>
                        <a:gd name="T19" fmla="*/ 55 h 55"/>
                        <a:gd name="T20" fmla="*/ 28 w 32"/>
                        <a:gd name="T21" fmla="*/ 26 h 55"/>
                        <a:gd name="T22" fmla="*/ 28 w 32"/>
                        <a:gd name="T23" fmla="*/ 19 h 55"/>
                        <a:gd name="T24" fmla="*/ 32 w 32"/>
                        <a:gd name="T25" fmla="*/ 11 h 55"/>
                        <a:gd name="T26" fmla="*/ 28 w 32"/>
                        <a:gd name="T2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55">
                          <a:moveTo>
                            <a:pt x="28" y="0"/>
                          </a:moveTo>
                          <a:lnTo>
                            <a:pt x="21" y="0"/>
                          </a:lnTo>
                          <a:lnTo>
                            <a:pt x="21" y="4"/>
                          </a:lnTo>
                          <a:lnTo>
                            <a:pt x="21" y="7"/>
                          </a:lnTo>
                          <a:lnTo>
                            <a:pt x="21" y="11"/>
                          </a:lnTo>
                          <a:lnTo>
                            <a:pt x="15" y="21"/>
                          </a:lnTo>
                          <a:lnTo>
                            <a:pt x="6" y="30"/>
                          </a:lnTo>
                          <a:lnTo>
                            <a:pt x="8" y="37"/>
                          </a:lnTo>
                          <a:lnTo>
                            <a:pt x="0" y="49"/>
                          </a:lnTo>
                          <a:lnTo>
                            <a:pt x="8" y="55"/>
                          </a:lnTo>
                          <a:lnTo>
                            <a:pt x="28" y="26"/>
                          </a:lnTo>
                          <a:lnTo>
                            <a:pt x="28" y="19"/>
                          </a:lnTo>
                          <a:lnTo>
                            <a:pt x="32" y="11"/>
                          </a:lnTo>
                          <a:lnTo>
                            <a:pt x="28" y="0"/>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37" name="Freeform 53">
                      <a:extLst>
                        <a:ext uri="{FF2B5EF4-FFF2-40B4-BE49-F238E27FC236}">
                          <a16:creationId xmlns:a16="http://schemas.microsoft.com/office/drawing/2014/main" xmlns="" id="{BAF7FBBC-0792-4C16-AA91-C79362A6EB7C}"/>
                        </a:ext>
                      </a:extLst>
                    </p:cNvPr>
                    <p:cNvSpPr>
                      <a:spLocks/>
                    </p:cNvSpPr>
                    <p:nvPr/>
                  </p:nvSpPr>
                  <p:spPr bwMode="gray">
                    <a:xfrm>
                      <a:off x="2737" y="1318"/>
                      <a:ext cx="44" cy="79"/>
                    </a:xfrm>
                    <a:custGeom>
                      <a:avLst/>
                      <a:gdLst>
                        <a:gd name="T0" fmla="*/ 29 w 44"/>
                        <a:gd name="T1" fmla="*/ 2 h 79"/>
                        <a:gd name="T2" fmla="*/ 25 w 44"/>
                        <a:gd name="T3" fmla="*/ 4 h 79"/>
                        <a:gd name="T4" fmla="*/ 17 w 44"/>
                        <a:gd name="T5" fmla="*/ 0 h 79"/>
                        <a:gd name="T6" fmla="*/ 4 w 44"/>
                        <a:gd name="T7" fmla="*/ 2 h 79"/>
                        <a:gd name="T8" fmla="*/ 4 w 44"/>
                        <a:gd name="T9" fmla="*/ 20 h 79"/>
                        <a:gd name="T10" fmla="*/ 11 w 44"/>
                        <a:gd name="T11" fmla="*/ 22 h 79"/>
                        <a:gd name="T12" fmla="*/ 11 w 44"/>
                        <a:gd name="T13" fmla="*/ 15 h 79"/>
                        <a:gd name="T14" fmla="*/ 23 w 44"/>
                        <a:gd name="T15" fmla="*/ 28 h 79"/>
                        <a:gd name="T16" fmla="*/ 19 w 44"/>
                        <a:gd name="T17" fmla="*/ 39 h 79"/>
                        <a:gd name="T18" fmla="*/ 10 w 44"/>
                        <a:gd name="T19" fmla="*/ 46 h 79"/>
                        <a:gd name="T20" fmla="*/ 6 w 44"/>
                        <a:gd name="T21" fmla="*/ 62 h 79"/>
                        <a:gd name="T22" fmla="*/ 0 w 44"/>
                        <a:gd name="T23" fmla="*/ 70 h 79"/>
                        <a:gd name="T24" fmla="*/ 8 w 44"/>
                        <a:gd name="T25" fmla="*/ 79 h 79"/>
                        <a:gd name="T26" fmla="*/ 31 w 44"/>
                        <a:gd name="T27" fmla="*/ 64 h 79"/>
                        <a:gd name="T28" fmla="*/ 23 w 44"/>
                        <a:gd name="T29" fmla="*/ 53 h 79"/>
                        <a:gd name="T30" fmla="*/ 29 w 44"/>
                        <a:gd name="T31" fmla="*/ 35 h 79"/>
                        <a:gd name="T32" fmla="*/ 42 w 44"/>
                        <a:gd name="T33" fmla="*/ 26 h 79"/>
                        <a:gd name="T34" fmla="*/ 44 w 44"/>
                        <a:gd name="T35" fmla="*/ 13 h 79"/>
                        <a:gd name="T36" fmla="*/ 29 w 44"/>
                        <a:gd name="T37"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79">
                          <a:moveTo>
                            <a:pt x="29" y="2"/>
                          </a:moveTo>
                          <a:lnTo>
                            <a:pt x="25" y="4"/>
                          </a:lnTo>
                          <a:lnTo>
                            <a:pt x="17" y="0"/>
                          </a:lnTo>
                          <a:lnTo>
                            <a:pt x="4" y="2"/>
                          </a:lnTo>
                          <a:lnTo>
                            <a:pt x="4" y="20"/>
                          </a:lnTo>
                          <a:lnTo>
                            <a:pt x="11" y="22"/>
                          </a:lnTo>
                          <a:lnTo>
                            <a:pt x="11" y="15"/>
                          </a:lnTo>
                          <a:lnTo>
                            <a:pt x="23" y="28"/>
                          </a:lnTo>
                          <a:lnTo>
                            <a:pt x="19" y="39"/>
                          </a:lnTo>
                          <a:lnTo>
                            <a:pt x="10" y="46"/>
                          </a:lnTo>
                          <a:lnTo>
                            <a:pt x="6" y="62"/>
                          </a:lnTo>
                          <a:lnTo>
                            <a:pt x="0" y="70"/>
                          </a:lnTo>
                          <a:lnTo>
                            <a:pt x="8" y="79"/>
                          </a:lnTo>
                          <a:lnTo>
                            <a:pt x="31" y="64"/>
                          </a:lnTo>
                          <a:lnTo>
                            <a:pt x="23" y="53"/>
                          </a:lnTo>
                          <a:lnTo>
                            <a:pt x="29" y="35"/>
                          </a:lnTo>
                          <a:lnTo>
                            <a:pt x="42" y="26"/>
                          </a:lnTo>
                          <a:lnTo>
                            <a:pt x="44" y="13"/>
                          </a:lnTo>
                          <a:lnTo>
                            <a:pt x="29" y="2"/>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38" name="Freeform 54">
                      <a:extLst>
                        <a:ext uri="{FF2B5EF4-FFF2-40B4-BE49-F238E27FC236}">
                          <a16:creationId xmlns:a16="http://schemas.microsoft.com/office/drawing/2014/main" xmlns="" id="{A008BDFC-88F4-40A5-A4BD-6BDDB0734574}"/>
                        </a:ext>
                      </a:extLst>
                    </p:cNvPr>
                    <p:cNvSpPr>
                      <a:spLocks/>
                    </p:cNvSpPr>
                    <p:nvPr/>
                  </p:nvSpPr>
                  <p:spPr bwMode="gray">
                    <a:xfrm>
                      <a:off x="2763" y="1361"/>
                      <a:ext cx="27" cy="47"/>
                    </a:xfrm>
                    <a:custGeom>
                      <a:avLst/>
                      <a:gdLst>
                        <a:gd name="T0" fmla="*/ 17 w 27"/>
                        <a:gd name="T1" fmla="*/ 0 h 47"/>
                        <a:gd name="T2" fmla="*/ 27 w 27"/>
                        <a:gd name="T3" fmla="*/ 11 h 47"/>
                        <a:gd name="T4" fmla="*/ 21 w 27"/>
                        <a:gd name="T5" fmla="*/ 23 h 47"/>
                        <a:gd name="T6" fmla="*/ 19 w 27"/>
                        <a:gd name="T7" fmla="*/ 34 h 47"/>
                        <a:gd name="T8" fmla="*/ 6 w 27"/>
                        <a:gd name="T9" fmla="*/ 47 h 47"/>
                        <a:gd name="T10" fmla="*/ 0 w 27"/>
                        <a:gd name="T11" fmla="*/ 38 h 47"/>
                        <a:gd name="T12" fmla="*/ 6 w 27"/>
                        <a:gd name="T13" fmla="*/ 21 h 47"/>
                        <a:gd name="T14" fmla="*/ 17 w 27"/>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7">
                          <a:moveTo>
                            <a:pt x="17" y="0"/>
                          </a:moveTo>
                          <a:lnTo>
                            <a:pt x="27" y="11"/>
                          </a:lnTo>
                          <a:lnTo>
                            <a:pt x="21" y="23"/>
                          </a:lnTo>
                          <a:lnTo>
                            <a:pt x="19" y="34"/>
                          </a:lnTo>
                          <a:lnTo>
                            <a:pt x="6" y="47"/>
                          </a:lnTo>
                          <a:lnTo>
                            <a:pt x="0" y="38"/>
                          </a:lnTo>
                          <a:lnTo>
                            <a:pt x="6" y="21"/>
                          </a:lnTo>
                          <a:lnTo>
                            <a:pt x="17" y="0"/>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39" name="Freeform 55">
                      <a:extLst>
                        <a:ext uri="{FF2B5EF4-FFF2-40B4-BE49-F238E27FC236}">
                          <a16:creationId xmlns:a16="http://schemas.microsoft.com/office/drawing/2014/main" xmlns="" id="{697B5744-C77F-4456-A24C-CC9339B9C43F}"/>
                        </a:ext>
                      </a:extLst>
                    </p:cNvPr>
                    <p:cNvSpPr>
                      <a:spLocks/>
                    </p:cNvSpPr>
                    <p:nvPr/>
                  </p:nvSpPr>
                  <p:spPr bwMode="gray">
                    <a:xfrm>
                      <a:off x="2811" y="1318"/>
                      <a:ext cx="28" cy="70"/>
                    </a:xfrm>
                    <a:custGeom>
                      <a:avLst/>
                      <a:gdLst>
                        <a:gd name="T0" fmla="*/ 13 w 28"/>
                        <a:gd name="T1" fmla="*/ 0 h 70"/>
                        <a:gd name="T2" fmla="*/ 26 w 28"/>
                        <a:gd name="T3" fmla="*/ 13 h 70"/>
                        <a:gd name="T4" fmla="*/ 24 w 28"/>
                        <a:gd name="T5" fmla="*/ 22 h 70"/>
                        <a:gd name="T6" fmla="*/ 19 w 28"/>
                        <a:gd name="T7" fmla="*/ 29 h 70"/>
                        <a:gd name="T8" fmla="*/ 26 w 28"/>
                        <a:gd name="T9" fmla="*/ 48 h 70"/>
                        <a:gd name="T10" fmla="*/ 28 w 28"/>
                        <a:gd name="T11" fmla="*/ 57 h 70"/>
                        <a:gd name="T12" fmla="*/ 21 w 28"/>
                        <a:gd name="T13" fmla="*/ 68 h 70"/>
                        <a:gd name="T14" fmla="*/ 9 w 28"/>
                        <a:gd name="T15" fmla="*/ 70 h 70"/>
                        <a:gd name="T16" fmla="*/ 0 w 28"/>
                        <a:gd name="T17" fmla="*/ 55 h 70"/>
                        <a:gd name="T18" fmla="*/ 6 w 28"/>
                        <a:gd name="T19" fmla="*/ 42 h 70"/>
                        <a:gd name="T20" fmla="*/ 13 w 28"/>
                        <a:gd name="T21" fmla="*/ 29 h 70"/>
                        <a:gd name="T22" fmla="*/ 13 w 28"/>
                        <a:gd name="T23" fmla="*/ 15 h 70"/>
                        <a:gd name="T24" fmla="*/ 13 w 28"/>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0">
                          <a:moveTo>
                            <a:pt x="13" y="0"/>
                          </a:moveTo>
                          <a:lnTo>
                            <a:pt x="26" y="13"/>
                          </a:lnTo>
                          <a:lnTo>
                            <a:pt x="24" y="22"/>
                          </a:lnTo>
                          <a:lnTo>
                            <a:pt x="19" y="29"/>
                          </a:lnTo>
                          <a:lnTo>
                            <a:pt x="26" y="48"/>
                          </a:lnTo>
                          <a:lnTo>
                            <a:pt x="28" y="57"/>
                          </a:lnTo>
                          <a:lnTo>
                            <a:pt x="21" y="68"/>
                          </a:lnTo>
                          <a:lnTo>
                            <a:pt x="9" y="70"/>
                          </a:lnTo>
                          <a:lnTo>
                            <a:pt x="0" y="55"/>
                          </a:lnTo>
                          <a:lnTo>
                            <a:pt x="6" y="42"/>
                          </a:lnTo>
                          <a:lnTo>
                            <a:pt x="13" y="29"/>
                          </a:lnTo>
                          <a:lnTo>
                            <a:pt x="13" y="15"/>
                          </a:lnTo>
                          <a:lnTo>
                            <a:pt x="13" y="0"/>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40" name="Freeform 56">
                      <a:extLst>
                        <a:ext uri="{FF2B5EF4-FFF2-40B4-BE49-F238E27FC236}">
                          <a16:creationId xmlns:a16="http://schemas.microsoft.com/office/drawing/2014/main" xmlns="" id="{AA8C8229-C8A7-43F3-A57B-32D5596549D2}"/>
                        </a:ext>
                      </a:extLst>
                    </p:cNvPr>
                    <p:cNvSpPr>
                      <a:spLocks/>
                    </p:cNvSpPr>
                    <p:nvPr/>
                  </p:nvSpPr>
                  <p:spPr bwMode="gray">
                    <a:xfrm>
                      <a:off x="2867" y="1209"/>
                      <a:ext cx="152" cy="199"/>
                    </a:xfrm>
                    <a:custGeom>
                      <a:avLst/>
                      <a:gdLst>
                        <a:gd name="T0" fmla="*/ 44 w 152"/>
                        <a:gd name="T1" fmla="*/ 2 h 199"/>
                        <a:gd name="T2" fmla="*/ 28 w 152"/>
                        <a:gd name="T3" fmla="*/ 19 h 199"/>
                        <a:gd name="T4" fmla="*/ 20 w 152"/>
                        <a:gd name="T5" fmla="*/ 7 h 199"/>
                        <a:gd name="T6" fmla="*/ 19 w 152"/>
                        <a:gd name="T7" fmla="*/ 0 h 199"/>
                        <a:gd name="T8" fmla="*/ 6 w 152"/>
                        <a:gd name="T9" fmla="*/ 2 h 199"/>
                        <a:gd name="T10" fmla="*/ 0 w 152"/>
                        <a:gd name="T11" fmla="*/ 15 h 199"/>
                        <a:gd name="T12" fmla="*/ 11 w 152"/>
                        <a:gd name="T13" fmla="*/ 31 h 199"/>
                        <a:gd name="T14" fmla="*/ 13 w 152"/>
                        <a:gd name="T15" fmla="*/ 50 h 199"/>
                        <a:gd name="T16" fmla="*/ 28 w 152"/>
                        <a:gd name="T17" fmla="*/ 74 h 199"/>
                        <a:gd name="T18" fmla="*/ 41 w 152"/>
                        <a:gd name="T19" fmla="*/ 85 h 199"/>
                        <a:gd name="T20" fmla="*/ 39 w 152"/>
                        <a:gd name="T21" fmla="*/ 93 h 199"/>
                        <a:gd name="T22" fmla="*/ 41 w 152"/>
                        <a:gd name="T23" fmla="*/ 99 h 199"/>
                        <a:gd name="T24" fmla="*/ 41 w 152"/>
                        <a:gd name="T25" fmla="*/ 108 h 199"/>
                        <a:gd name="T26" fmla="*/ 59 w 152"/>
                        <a:gd name="T27" fmla="*/ 108 h 199"/>
                        <a:gd name="T28" fmla="*/ 74 w 152"/>
                        <a:gd name="T29" fmla="*/ 127 h 199"/>
                        <a:gd name="T30" fmla="*/ 72 w 152"/>
                        <a:gd name="T31" fmla="*/ 130 h 199"/>
                        <a:gd name="T32" fmla="*/ 67 w 152"/>
                        <a:gd name="T33" fmla="*/ 143 h 199"/>
                        <a:gd name="T34" fmla="*/ 57 w 152"/>
                        <a:gd name="T35" fmla="*/ 142 h 199"/>
                        <a:gd name="T36" fmla="*/ 44 w 152"/>
                        <a:gd name="T37" fmla="*/ 140 h 199"/>
                        <a:gd name="T38" fmla="*/ 35 w 152"/>
                        <a:gd name="T39" fmla="*/ 147 h 199"/>
                        <a:gd name="T40" fmla="*/ 39 w 152"/>
                        <a:gd name="T41" fmla="*/ 162 h 199"/>
                        <a:gd name="T42" fmla="*/ 48 w 152"/>
                        <a:gd name="T43" fmla="*/ 182 h 199"/>
                        <a:gd name="T44" fmla="*/ 72 w 152"/>
                        <a:gd name="T45" fmla="*/ 199 h 199"/>
                        <a:gd name="T46" fmla="*/ 93 w 152"/>
                        <a:gd name="T47" fmla="*/ 184 h 199"/>
                        <a:gd name="T48" fmla="*/ 91 w 152"/>
                        <a:gd name="T49" fmla="*/ 169 h 199"/>
                        <a:gd name="T50" fmla="*/ 89 w 152"/>
                        <a:gd name="T51" fmla="*/ 158 h 199"/>
                        <a:gd name="T52" fmla="*/ 91 w 152"/>
                        <a:gd name="T53" fmla="*/ 145 h 199"/>
                        <a:gd name="T54" fmla="*/ 100 w 152"/>
                        <a:gd name="T55" fmla="*/ 147 h 199"/>
                        <a:gd name="T56" fmla="*/ 108 w 152"/>
                        <a:gd name="T57" fmla="*/ 136 h 199"/>
                        <a:gd name="T58" fmla="*/ 119 w 152"/>
                        <a:gd name="T59" fmla="*/ 134 h 199"/>
                        <a:gd name="T60" fmla="*/ 130 w 152"/>
                        <a:gd name="T61" fmla="*/ 119 h 199"/>
                        <a:gd name="T62" fmla="*/ 115 w 152"/>
                        <a:gd name="T63" fmla="*/ 105 h 199"/>
                        <a:gd name="T64" fmla="*/ 104 w 152"/>
                        <a:gd name="T65" fmla="*/ 116 h 199"/>
                        <a:gd name="T66" fmla="*/ 100 w 152"/>
                        <a:gd name="T67" fmla="*/ 119 h 199"/>
                        <a:gd name="T68" fmla="*/ 89 w 152"/>
                        <a:gd name="T69" fmla="*/ 106 h 199"/>
                        <a:gd name="T70" fmla="*/ 96 w 152"/>
                        <a:gd name="T71" fmla="*/ 97 h 199"/>
                        <a:gd name="T72" fmla="*/ 104 w 152"/>
                        <a:gd name="T73" fmla="*/ 105 h 199"/>
                        <a:gd name="T74" fmla="*/ 113 w 152"/>
                        <a:gd name="T75" fmla="*/ 93 h 199"/>
                        <a:gd name="T76" fmla="*/ 126 w 152"/>
                        <a:gd name="T77" fmla="*/ 92 h 199"/>
                        <a:gd name="T78" fmla="*/ 132 w 152"/>
                        <a:gd name="T79" fmla="*/ 108 h 199"/>
                        <a:gd name="T80" fmla="*/ 143 w 152"/>
                        <a:gd name="T81" fmla="*/ 112 h 199"/>
                        <a:gd name="T82" fmla="*/ 152 w 152"/>
                        <a:gd name="T83" fmla="*/ 101 h 199"/>
                        <a:gd name="T84" fmla="*/ 130 w 152"/>
                        <a:gd name="T85" fmla="*/ 78 h 199"/>
                        <a:gd name="T86" fmla="*/ 133 w 152"/>
                        <a:gd name="T87" fmla="*/ 69 h 199"/>
                        <a:gd name="T88" fmla="*/ 126 w 152"/>
                        <a:gd name="T89" fmla="*/ 67 h 199"/>
                        <a:gd name="T90" fmla="*/ 133 w 152"/>
                        <a:gd name="T91" fmla="*/ 50 h 199"/>
                        <a:gd name="T92" fmla="*/ 122 w 152"/>
                        <a:gd name="T93" fmla="*/ 52 h 199"/>
                        <a:gd name="T94" fmla="*/ 98 w 152"/>
                        <a:gd name="T95" fmla="*/ 61 h 199"/>
                        <a:gd name="T96" fmla="*/ 98 w 152"/>
                        <a:gd name="T97" fmla="*/ 81 h 199"/>
                        <a:gd name="T98" fmla="*/ 89 w 152"/>
                        <a:gd name="T99" fmla="*/ 76 h 199"/>
                        <a:gd name="T100" fmla="*/ 80 w 152"/>
                        <a:gd name="T101" fmla="*/ 83 h 199"/>
                        <a:gd name="T102" fmla="*/ 61 w 152"/>
                        <a:gd name="T103" fmla="*/ 80 h 199"/>
                        <a:gd name="T104" fmla="*/ 57 w 152"/>
                        <a:gd name="T105" fmla="*/ 67 h 199"/>
                        <a:gd name="T106" fmla="*/ 52 w 152"/>
                        <a:gd name="T107" fmla="*/ 52 h 199"/>
                        <a:gd name="T108" fmla="*/ 65 w 152"/>
                        <a:gd name="T109" fmla="*/ 63 h 199"/>
                        <a:gd name="T110" fmla="*/ 80 w 152"/>
                        <a:gd name="T111" fmla="*/ 56 h 199"/>
                        <a:gd name="T112" fmla="*/ 82 w 152"/>
                        <a:gd name="T113" fmla="*/ 52 h 199"/>
                        <a:gd name="T114" fmla="*/ 80 w 152"/>
                        <a:gd name="T115" fmla="*/ 41 h 199"/>
                        <a:gd name="T116" fmla="*/ 63 w 152"/>
                        <a:gd name="T117" fmla="*/ 31 h 199"/>
                        <a:gd name="T118" fmla="*/ 54 w 152"/>
                        <a:gd name="T119" fmla="*/ 28 h 199"/>
                        <a:gd name="T120" fmla="*/ 57 w 152"/>
                        <a:gd name="T121" fmla="*/ 17 h 199"/>
                        <a:gd name="T122" fmla="*/ 57 w 152"/>
                        <a:gd name="T123" fmla="*/ 6 h 199"/>
                        <a:gd name="T124" fmla="*/ 44 w 152"/>
                        <a:gd name="T125" fmla="*/ 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99">
                          <a:moveTo>
                            <a:pt x="44" y="2"/>
                          </a:moveTo>
                          <a:lnTo>
                            <a:pt x="28" y="19"/>
                          </a:lnTo>
                          <a:lnTo>
                            <a:pt x="20" y="7"/>
                          </a:lnTo>
                          <a:lnTo>
                            <a:pt x="19" y="0"/>
                          </a:lnTo>
                          <a:lnTo>
                            <a:pt x="6" y="2"/>
                          </a:lnTo>
                          <a:lnTo>
                            <a:pt x="0" y="15"/>
                          </a:lnTo>
                          <a:lnTo>
                            <a:pt x="11" y="31"/>
                          </a:lnTo>
                          <a:lnTo>
                            <a:pt x="13" y="50"/>
                          </a:lnTo>
                          <a:lnTo>
                            <a:pt x="28" y="74"/>
                          </a:lnTo>
                          <a:lnTo>
                            <a:pt x="41" y="85"/>
                          </a:lnTo>
                          <a:lnTo>
                            <a:pt x="39" y="93"/>
                          </a:lnTo>
                          <a:lnTo>
                            <a:pt x="41" y="99"/>
                          </a:lnTo>
                          <a:lnTo>
                            <a:pt x="41" y="108"/>
                          </a:lnTo>
                          <a:lnTo>
                            <a:pt x="59" y="108"/>
                          </a:lnTo>
                          <a:lnTo>
                            <a:pt x="74" y="127"/>
                          </a:lnTo>
                          <a:lnTo>
                            <a:pt x="72" y="130"/>
                          </a:lnTo>
                          <a:lnTo>
                            <a:pt x="67" y="143"/>
                          </a:lnTo>
                          <a:lnTo>
                            <a:pt x="57" y="142"/>
                          </a:lnTo>
                          <a:lnTo>
                            <a:pt x="44" y="140"/>
                          </a:lnTo>
                          <a:lnTo>
                            <a:pt x="35" y="147"/>
                          </a:lnTo>
                          <a:lnTo>
                            <a:pt x="39" y="162"/>
                          </a:lnTo>
                          <a:lnTo>
                            <a:pt x="48" y="182"/>
                          </a:lnTo>
                          <a:lnTo>
                            <a:pt x="72" y="199"/>
                          </a:lnTo>
                          <a:lnTo>
                            <a:pt x="93" y="184"/>
                          </a:lnTo>
                          <a:lnTo>
                            <a:pt x="91" y="169"/>
                          </a:lnTo>
                          <a:lnTo>
                            <a:pt x="89" y="158"/>
                          </a:lnTo>
                          <a:lnTo>
                            <a:pt x="91" y="145"/>
                          </a:lnTo>
                          <a:lnTo>
                            <a:pt x="100" y="147"/>
                          </a:lnTo>
                          <a:lnTo>
                            <a:pt x="108" y="136"/>
                          </a:lnTo>
                          <a:lnTo>
                            <a:pt x="119" y="134"/>
                          </a:lnTo>
                          <a:lnTo>
                            <a:pt x="130" y="119"/>
                          </a:lnTo>
                          <a:lnTo>
                            <a:pt x="115" y="105"/>
                          </a:lnTo>
                          <a:lnTo>
                            <a:pt x="104" y="116"/>
                          </a:lnTo>
                          <a:lnTo>
                            <a:pt x="100" y="119"/>
                          </a:lnTo>
                          <a:lnTo>
                            <a:pt x="89" y="106"/>
                          </a:lnTo>
                          <a:lnTo>
                            <a:pt x="96" y="97"/>
                          </a:lnTo>
                          <a:lnTo>
                            <a:pt x="104" y="105"/>
                          </a:lnTo>
                          <a:lnTo>
                            <a:pt x="113" y="93"/>
                          </a:lnTo>
                          <a:lnTo>
                            <a:pt x="126" y="92"/>
                          </a:lnTo>
                          <a:lnTo>
                            <a:pt x="132" y="108"/>
                          </a:lnTo>
                          <a:lnTo>
                            <a:pt x="143" y="112"/>
                          </a:lnTo>
                          <a:lnTo>
                            <a:pt x="152" y="101"/>
                          </a:lnTo>
                          <a:lnTo>
                            <a:pt x="130" y="78"/>
                          </a:lnTo>
                          <a:lnTo>
                            <a:pt x="133" y="69"/>
                          </a:lnTo>
                          <a:lnTo>
                            <a:pt x="126" y="67"/>
                          </a:lnTo>
                          <a:lnTo>
                            <a:pt x="133" y="50"/>
                          </a:lnTo>
                          <a:lnTo>
                            <a:pt x="122" y="52"/>
                          </a:lnTo>
                          <a:lnTo>
                            <a:pt x="98" y="61"/>
                          </a:lnTo>
                          <a:lnTo>
                            <a:pt x="98" y="81"/>
                          </a:lnTo>
                          <a:lnTo>
                            <a:pt x="89" y="76"/>
                          </a:lnTo>
                          <a:lnTo>
                            <a:pt x="80" y="83"/>
                          </a:lnTo>
                          <a:lnTo>
                            <a:pt x="61" y="80"/>
                          </a:lnTo>
                          <a:lnTo>
                            <a:pt x="57" y="67"/>
                          </a:lnTo>
                          <a:lnTo>
                            <a:pt x="52" y="52"/>
                          </a:lnTo>
                          <a:lnTo>
                            <a:pt x="65" y="63"/>
                          </a:lnTo>
                          <a:lnTo>
                            <a:pt x="80" y="56"/>
                          </a:lnTo>
                          <a:lnTo>
                            <a:pt x="82" y="52"/>
                          </a:lnTo>
                          <a:lnTo>
                            <a:pt x="80" y="41"/>
                          </a:lnTo>
                          <a:lnTo>
                            <a:pt x="63" y="31"/>
                          </a:lnTo>
                          <a:lnTo>
                            <a:pt x="54" y="28"/>
                          </a:lnTo>
                          <a:lnTo>
                            <a:pt x="57" y="17"/>
                          </a:lnTo>
                          <a:lnTo>
                            <a:pt x="57" y="6"/>
                          </a:lnTo>
                          <a:lnTo>
                            <a:pt x="44" y="2"/>
                          </a:lnTo>
                          <a:close/>
                        </a:path>
                      </a:pathLst>
                    </a:custGeom>
                    <a:solidFill>
                      <a:schemeClr val="bg1"/>
                    </a:solidFill>
                    <a:ln w="9525">
                      <a:solidFill>
                        <a:schemeClr val="accent5"/>
                      </a:solidFill>
                      <a:prstDash val="solid"/>
                      <a:round/>
                      <a:headEnd/>
                      <a:tailEnd/>
                    </a:ln>
                  </p:spPr>
                  <p:txBody>
                    <a:bodyPr/>
                    <a:lstStyle/>
                    <a:p>
                      <a:endParaRPr lang="de-DE" dirty="0"/>
                    </a:p>
                  </p:txBody>
                </p:sp>
                <p:sp>
                  <p:nvSpPr>
                    <p:cNvPr id="241" name="Freeform 57">
                      <a:extLst>
                        <a:ext uri="{FF2B5EF4-FFF2-40B4-BE49-F238E27FC236}">
                          <a16:creationId xmlns:a16="http://schemas.microsoft.com/office/drawing/2014/main" xmlns="" id="{FDD99980-6A1B-41B3-BBDC-E254B9962F4B}"/>
                        </a:ext>
                      </a:extLst>
                    </p:cNvPr>
                    <p:cNvSpPr>
                      <a:spLocks/>
                    </p:cNvSpPr>
                    <p:nvPr/>
                  </p:nvSpPr>
                  <p:spPr bwMode="gray">
                    <a:xfrm>
                      <a:off x="2846" y="1314"/>
                      <a:ext cx="49" cy="50"/>
                    </a:xfrm>
                    <a:custGeom>
                      <a:avLst/>
                      <a:gdLst>
                        <a:gd name="T0" fmla="*/ 44 w 49"/>
                        <a:gd name="T1" fmla="*/ 0 h 50"/>
                        <a:gd name="T2" fmla="*/ 49 w 49"/>
                        <a:gd name="T3" fmla="*/ 6 h 50"/>
                        <a:gd name="T4" fmla="*/ 49 w 49"/>
                        <a:gd name="T5" fmla="*/ 17 h 50"/>
                        <a:gd name="T6" fmla="*/ 47 w 49"/>
                        <a:gd name="T7" fmla="*/ 26 h 50"/>
                        <a:gd name="T8" fmla="*/ 24 w 49"/>
                        <a:gd name="T9" fmla="*/ 43 h 50"/>
                        <a:gd name="T10" fmla="*/ 11 w 49"/>
                        <a:gd name="T11" fmla="*/ 50 h 50"/>
                        <a:gd name="T12" fmla="*/ 0 w 49"/>
                        <a:gd name="T13" fmla="*/ 39 h 50"/>
                        <a:gd name="T14" fmla="*/ 9 w 49"/>
                        <a:gd name="T15" fmla="*/ 24 h 50"/>
                        <a:gd name="T16" fmla="*/ 20 w 49"/>
                        <a:gd name="T17" fmla="*/ 17 h 50"/>
                        <a:gd name="T18" fmla="*/ 44 w 4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44" y="0"/>
                          </a:moveTo>
                          <a:lnTo>
                            <a:pt x="49" y="6"/>
                          </a:lnTo>
                          <a:lnTo>
                            <a:pt x="49" y="17"/>
                          </a:lnTo>
                          <a:lnTo>
                            <a:pt x="47" y="26"/>
                          </a:lnTo>
                          <a:lnTo>
                            <a:pt x="24" y="43"/>
                          </a:lnTo>
                          <a:lnTo>
                            <a:pt x="11" y="50"/>
                          </a:lnTo>
                          <a:lnTo>
                            <a:pt x="0" y="39"/>
                          </a:lnTo>
                          <a:lnTo>
                            <a:pt x="9" y="24"/>
                          </a:lnTo>
                          <a:lnTo>
                            <a:pt x="20" y="17"/>
                          </a:lnTo>
                          <a:lnTo>
                            <a:pt x="44" y="0"/>
                          </a:lnTo>
                          <a:close/>
                        </a:path>
                      </a:pathLst>
                    </a:custGeom>
                    <a:solidFill>
                      <a:schemeClr val="bg1"/>
                    </a:solidFill>
                    <a:ln w="9525">
                      <a:solidFill>
                        <a:schemeClr val="accent5"/>
                      </a:solidFill>
                      <a:prstDash val="solid"/>
                      <a:round/>
                      <a:headEnd/>
                      <a:tailEnd/>
                    </a:ln>
                  </p:spPr>
                  <p:txBody>
                    <a:bodyPr/>
                    <a:lstStyle/>
                    <a:p>
                      <a:endParaRPr lang="de-DE" dirty="0"/>
                    </a:p>
                  </p:txBody>
                </p:sp>
              </p:grpSp>
            </p:grpSp>
            <p:sp>
              <p:nvSpPr>
                <p:cNvPr id="244" name="Freeform 60">
                  <a:extLst>
                    <a:ext uri="{FF2B5EF4-FFF2-40B4-BE49-F238E27FC236}">
                      <a16:creationId xmlns:a16="http://schemas.microsoft.com/office/drawing/2014/main" xmlns="" id="{D7F2D232-1E46-46C4-95C8-DA1C00CD23A8}"/>
                    </a:ext>
                  </a:extLst>
                </p:cNvPr>
                <p:cNvSpPr>
                  <a:spLocks/>
                </p:cNvSpPr>
                <p:nvPr/>
              </p:nvSpPr>
              <p:spPr bwMode="gray">
                <a:xfrm>
                  <a:off x="2534381" y="4574058"/>
                  <a:ext cx="511825" cy="280103"/>
                </a:xfrm>
                <a:custGeom>
                  <a:avLst/>
                  <a:gdLst>
                    <a:gd name="T0" fmla="*/ 99 w 402"/>
                    <a:gd name="T1" fmla="*/ 211 h 220"/>
                    <a:gd name="T2" fmla="*/ 96 w 402"/>
                    <a:gd name="T3" fmla="*/ 199 h 220"/>
                    <a:gd name="T4" fmla="*/ 83 w 402"/>
                    <a:gd name="T5" fmla="*/ 192 h 220"/>
                    <a:gd name="T6" fmla="*/ 36 w 402"/>
                    <a:gd name="T7" fmla="*/ 149 h 220"/>
                    <a:gd name="T8" fmla="*/ 33 w 402"/>
                    <a:gd name="T9" fmla="*/ 126 h 220"/>
                    <a:gd name="T10" fmla="*/ 12 w 402"/>
                    <a:gd name="T11" fmla="*/ 123 h 220"/>
                    <a:gd name="T12" fmla="*/ 13 w 402"/>
                    <a:gd name="T13" fmla="*/ 102 h 220"/>
                    <a:gd name="T14" fmla="*/ 6 w 402"/>
                    <a:gd name="T15" fmla="*/ 82 h 220"/>
                    <a:gd name="T16" fmla="*/ 0 w 402"/>
                    <a:gd name="T17" fmla="*/ 71 h 220"/>
                    <a:gd name="T18" fmla="*/ 4 w 402"/>
                    <a:gd name="T19" fmla="*/ 59 h 220"/>
                    <a:gd name="T20" fmla="*/ 19 w 402"/>
                    <a:gd name="T21" fmla="*/ 59 h 220"/>
                    <a:gd name="T22" fmla="*/ 45 w 402"/>
                    <a:gd name="T23" fmla="*/ 53 h 220"/>
                    <a:gd name="T24" fmla="*/ 126 w 402"/>
                    <a:gd name="T25" fmla="*/ 11 h 220"/>
                    <a:gd name="T26" fmla="*/ 143 w 402"/>
                    <a:gd name="T27" fmla="*/ 0 h 220"/>
                    <a:gd name="T28" fmla="*/ 154 w 402"/>
                    <a:gd name="T29" fmla="*/ 13 h 220"/>
                    <a:gd name="T30" fmla="*/ 171 w 402"/>
                    <a:gd name="T31" fmla="*/ 6 h 220"/>
                    <a:gd name="T32" fmla="*/ 187 w 402"/>
                    <a:gd name="T33" fmla="*/ 7 h 220"/>
                    <a:gd name="T34" fmla="*/ 197 w 402"/>
                    <a:gd name="T35" fmla="*/ 14 h 220"/>
                    <a:gd name="T36" fmla="*/ 197 w 402"/>
                    <a:gd name="T37" fmla="*/ 33 h 220"/>
                    <a:gd name="T38" fmla="*/ 226 w 402"/>
                    <a:gd name="T39" fmla="*/ 52 h 220"/>
                    <a:gd name="T40" fmla="*/ 228 w 402"/>
                    <a:gd name="T41" fmla="*/ 65 h 220"/>
                    <a:gd name="T42" fmla="*/ 239 w 402"/>
                    <a:gd name="T43" fmla="*/ 80 h 220"/>
                    <a:gd name="T44" fmla="*/ 247 w 402"/>
                    <a:gd name="T45" fmla="*/ 86 h 220"/>
                    <a:gd name="T46" fmla="*/ 252 w 402"/>
                    <a:gd name="T47" fmla="*/ 80 h 220"/>
                    <a:gd name="T48" fmla="*/ 273 w 402"/>
                    <a:gd name="T49" fmla="*/ 69 h 220"/>
                    <a:gd name="T50" fmla="*/ 282 w 402"/>
                    <a:gd name="T51" fmla="*/ 71 h 220"/>
                    <a:gd name="T52" fmla="*/ 308 w 402"/>
                    <a:gd name="T53" fmla="*/ 100 h 220"/>
                    <a:gd name="T54" fmla="*/ 314 w 402"/>
                    <a:gd name="T55" fmla="*/ 99 h 220"/>
                    <a:gd name="T56" fmla="*/ 341 w 402"/>
                    <a:gd name="T57" fmla="*/ 115 h 220"/>
                    <a:gd name="T58" fmla="*/ 381 w 402"/>
                    <a:gd name="T59" fmla="*/ 113 h 220"/>
                    <a:gd name="T60" fmla="*/ 402 w 402"/>
                    <a:gd name="T61" fmla="*/ 126 h 220"/>
                    <a:gd name="T62" fmla="*/ 358 w 402"/>
                    <a:gd name="T63" fmla="*/ 151 h 220"/>
                    <a:gd name="T64" fmla="*/ 356 w 402"/>
                    <a:gd name="T65" fmla="*/ 181 h 220"/>
                    <a:gd name="T66" fmla="*/ 329 w 402"/>
                    <a:gd name="T67" fmla="*/ 206 h 220"/>
                    <a:gd name="T68" fmla="*/ 300 w 402"/>
                    <a:gd name="T69" fmla="*/ 205 h 220"/>
                    <a:gd name="T70" fmla="*/ 284 w 402"/>
                    <a:gd name="T71" fmla="*/ 212 h 220"/>
                    <a:gd name="T72" fmla="*/ 264 w 402"/>
                    <a:gd name="T73" fmla="*/ 220 h 220"/>
                    <a:gd name="T74" fmla="*/ 239 w 402"/>
                    <a:gd name="T75" fmla="*/ 204 h 220"/>
                    <a:gd name="T76" fmla="*/ 223 w 402"/>
                    <a:gd name="T77" fmla="*/ 212 h 220"/>
                    <a:gd name="T78" fmla="*/ 209 w 402"/>
                    <a:gd name="T79" fmla="*/ 215 h 220"/>
                    <a:gd name="T80" fmla="*/ 197 w 402"/>
                    <a:gd name="T81" fmla="*/ 196 h 220"/>
                    <a:gd name="T82" fmla="*/ 162 w 402"/>
                    <a:gd name="T83" fmla="*/ 197 h 220"/>
                    <a:gd name="T84" fmla="*/ 151 w 402"/>
                    <a:gd name="T85" fmla="*/ 205 h 220"/>
                    <a:gd name="T86" fmla="*/ 143 w 402"/>
                    <a:gd name="T87" fmla="*/ 213 h 220"/>
                    <a:gd name="T88" fmla="*/ 128 w 402"/>
                    <a:gd name="T89" fmla="*/ 213 h 220"/>
                    <a:gd name="T90" fmla="*/ 112 w 402"/>
                    <a:gd name="T91" fmla="*/ 216 h 220"/>
                    <a:gd name="T92" fmla="*/ 99 w 402"/>
                    <a:gd name="T93" fmla="*/ 2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2" h="220">
                      <a:moveTo>
                        <a:pt x="99" y="211"/>
                      </a:moveTo>
                      <a:lnTo>
                        <a:pt x="96" y="199"/>
                      </a:lnTo>
                      <a:lnTo>
                        <a:pt x="83" y="192"/>
                      </a:lnTo>
                      <a:lnTo>
                        <a:pt x="36" y="149"/>
                      </a:lnTo>
                      <a:lnTo>
                        <a:pt x="33" y="126"/>
                      </a:lnTo>
                      <a:lnTo>
                        <a:pt x="12" y="123"/>
                      </a:lnTo>
                      <a:lnTo>
                        <a:pt x="13" y="102"/>
                      </a:lnTo>
                      <a:lnTo>
                        <a:pt x="6" y="82"/>
                      </a:lnTo>
                      <a:lnTo>
                        <a:pt x="0" y="71"/>
                      </a:lnTo>
                      <a:lnTo>
                        <a:pt x="4" y="59"/>
                      </a:lnTo>
                      <a:lnTo>
                        <a:pt x="19" y="59"/>
                      </a:lnTo>
                      <a:lnTo>
                        <a:pt x="45" y="53"/>
                      </a:lnTo>
                      <a:lnTo>
                        <a:pt x="126" y="11"/>
                      </a:lnTo>
                      <a:lnTo>
                        <a:pt x="143" y="0"/>
                      </a:lnTo>
                      <a:lnTo>
                        <a:pt x="154" y="13"/>
                      </a:lnTo>
                      <a:lnTo>
                        <a:pt x="171" y="6"/>
                      </a:lnTo>
                      <a:lnTo>
                        <a:pt x="187" y="7"/>
                      </a:lnTo>
                      <a:lnTo>
                        <a:pt x="197" y="14"/>
                      </a:lnTo>
                      <a:lnTo>
                        <a:pt x="197" y="33"/>
                      </a:lnTo>
                      <a:lnTo>
                        <a:pt x="226" y="52"/>
                      </a:lnTo>
                      <a:lnTo>
                        <a:pt x="228" y="65"/>
                      </a:lnTo>
                      <a:lnTo>
                        <a:pt x="239" y="80"/>
                      </a:lnTo>
                      <a:lnTo>
                        <a:pt x="247" y="86"/>
                      </a:lnTo>
                      <a:lnTo>
                        <a:pt x="252" y="80"/>
                      </a:lnTo>
                      <a:lnTo>
                        <a:pt x="273" y="69"/>
                      </a:lnTo>
                      <a:lnTo>
                        <a:pt x="282" y="71"/>
                      </a:lnTo>
                      <a:lnTo>
                        <a:pt x="308" y="100"/>
                      </a:lnTo>
                      <a:lnTo>
                        <a:pt x="314" y="99"/>
                      </a:lnTo>
                      <a:lnTo>
                        <a:pt x="341" y="115"/>
                      </a:lnTo>
                      <a:lnTo>
                        <a:pt x="381" y="113"/>
                      </a:lnTo>
                      <a:lnTo>
                        <a:pt x="402" y="126"/>
                      </a:lnTo>
                      <a:lnTo>
                        <a:pt x="358" y="151"/>
                      </a:lnTo>
                      <a:lnTo>
                        <a:pt x="356" y="181"/>
                      </a:lnTo>
                      <a:lnTo>
                        <a:pt x="329" y="206"/>
                      </a:lnTo>
                      <a:lnTo>
                        <a:pt x="300" y="205"/>
                      </a:lnTo>
                      <a:lnTo>
                        <a:pt x="284" y="212"/>
                      </a:lnTo>
                      <a:lnTo>
                        <a:pt x="264" y="220"/>
                      </a:lnTo>
                      <a:lnTo>
                        <a:pt x="239" y="204"/>
                      </a:lnTo>
                      <a:lnTo>
                        <a:pt x="223" y="212"/>
                      </a:lnTo>
                      <a:lnTo>
                        <a:pt x="209" y="215"/>
                      </a:lnTo>
                      <a:lnTo>
                        <a:pt x="197" y="196"/>
                      </a:lnTo>
                      <a:lnTo>
                        <a:pt x="162" y="197"/>
                      </a:lnTo>
                      <a:lnTo>
                        <a:pt x="151" y="205"/>
                      </a:lnTo>
                      <a:lnTo>
                        <a:pt x="143" y="213"/>
                      </a:lnTo>
                      <a:lnTo>
                        <a:pt x="128" y="213"/>
                      </a:lnTo>
                      <a:lnTo>
                        <a:pt x="112" y="216"/>
                      </a:lnTo>
                      <a:lnTo>
                        <a:pt x="99" y="211"/>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45" name="Freeform 61">
                  <a:extLst>
                    <a:ext uri="{FF2B5EF4-FFF2-40B4-BE49-F238E27FC236}">
                      <a16:creationId xmlns:a16="http://schemas.microsoft.com/office/drawing/2014/main" xmlns="" id="{E163D8BD-8855-4308-BF75-5D2ECEA10212}"/>
                    </a:ext>
                  </a:extLst>
                </p:cNvPr>
                <p:cNvSpPr>
                  <a:spLocks/>
                </p:cNvSpPr>
                <p:nvPr/>
              </p:nvSpPr>
              <p:spPr bwMode="gray">
                <a:xfrm>
                  <a:off x="2585309" y="5094795"/>
                  <a:ext cx="462171" cy="454531"/>
                </a:xfrm>
                <a:custGeom>
                  <a:avLst/>
                  <a:gdLst>
                    <a:gd name="T0" fmla="*/ 7 w 363"/>
                    <a:gd name="T1" fmla="*/ 102 h 357"/>
                    <a:gd name="T2" fmla="*/ 22 w 363"/>
                    <a:gd name="T3" fmla="*/ 130 h 357"/>
                    <a:gd name="T4" fmla="*/ 41 w 363"/>
                    <a:gd name="T5" fmla="*/ 126 h 357"/>
                    <a:gd name="T6" fmla="*/ 56 w 363"/>
                    <a:gd name="T7" fmla="*/ 98 h 357"/>
                    <a:gd name="T8" fmla="*/ 82 w 363"/>
                    <a:gd name="T9" fmla="*/ 111 h 357"/>
                    <a:gd name="T10" fmla="*/ 89 w 363"/>
                    <a:gd name="T11" fmla="*/ 135 h 357"/>
                    <a:gd name="T12" fmla="*/ 102 w 363"/>
                    <a:gd name="T13" fmla="*/ 167 h 357"/>
                    <a:gd name="T14" fmla="*/ 115 w 363"/>
                    <a:gd name="T15" fmla="*/ 189 h 357"/>
                    <a:gd name="T16" fmla="*/ 106 w 363"/>
                    <a:gd name="T17" fmla="*/ 199 h 357"/>
                    <a:gd name="T18" fmla="*/ 161 w 363"/>
                    <a:gd name="T19" fmla="*/ 260 h 357"/>
                    <a:gd name="T20" fmla="*/ 187 w 363"/>
                    <a:gd name="T21" fmla="*/ 263 h 357"/>
                    <a:gd name="T22" fmla="*/ 228 w 363"/>
                    <a:gd name="T23" fmla="*/ 291 h 357"/>
                    <a:gd name="T24" fmla="*/ 239 w 363"/>
                    <a:gd name="T25" fmla="*/ 314 h 357"/>
                    <a:gd name="T26" fmla="*/ 250 w 363"/>
                    <a:gd name="T27" fmla="*/ 313 h 357"/>
                    <a:gd name="T28" fmla="*/ 274 w 363"/>
                    <a:gd name="T29" fmla="*/ 326 h 357"/>
                    <a:gd name="T30" fmla="*/ 290 w 363"/>
                    <a:gd name="T31" fmla="*/ 325 h 357"/>
                    <a:gd name="T32" fmla="*/ 289 w 363"/>
                    <a:gd name="T33" fmla="*/ 301 h 357"/>
                    <a:gd name="T34" fmla="*/ 271 w 363"/>
                    <a:gd name="T35" fmla="*/ 275 h 357"/>
                    <a:gd name="T36" fmla="*/ 228 w 363"/>
                    <a:gd name="T37" fmla="*/ 232 h 357"/>
                    <a:gd name="T38" fmla="*/ 213 w 363"/>
                    <a:gd name="T39" fmla="*/ 228 h 357"/>
                    <a:gd name="T40" fmla="*/ 198 w 363"/>
                    <a:gd name="T41" fmla="*/ 217 h 357"/>
                    <a:gd name="T42" fmla="*/ 187 w 363"/>
                    <a:gd name="T43" fmla="*/ 197 h 357"/>
                    <a:gd name="T44" fmla="*/ 169 w 363"/>
                    <a:gd name="T45" fmla="*/ 165 h 357"/>
                    <a:gd name="T46" fmla="*/ 137 w 363"/>
                    <a:gd name="T47" fmla="*/ 126 h 357"/>
                    <a:gd name="T48" fmla="*/ 154 w 363"/>
                    <a:gd name="T49" fmla="*/ 119 h 357"/>
                    <a:gd name="T50" fmla="*/ 222 w 363"/>
                    <a:gd name="T51" fmla="*/ 102 h 357"/>
                    <a:gd name="T52" fmla="*/ 254 w 363"/>
                    <a:gd name="T53" fmla="*/ 122 h 357"/>
                    <a:gd name="T54" fmla="*/ 267 w 363"/>
                    <a:gd name="T55" fmla="*/ 122 h 357"/>
                    <a:gd name="T56" fmla="*/ 295 w 363"/>
                    <a:gd name="T57" fmla="*/ 124 h 357"/>
                    <a:gd name="T58" fmla="*/ 332 w 363"/>
                    <a:gd name="T59" fmla="*/ 122 h 357"/>
                    <a:gd name="T60" fmla="*/ 356 w 363"/>
                    <a:gd name="T61" fmla="*/ 135 h 357"/>
                    <a:gd name="T62" fmla="*/ 363 w 363"/>
                    <a:gd name="T63" fmla="*/ 111 h 357"/>
                    <a:gd name="T64" fmla="*/ 344 w 363"/>
                    <a:gd name="T65" fmla="*/ 91 h 357"/>
                    <a:gd name="T66" fmla="*/ 343 w 363"/>
                    <a:gd name="T67" fmla="*/ 69 h 357"/>
                    <a:gd name="T68" fmla="*/ 328 w 363"/>
                    <a:gd name="T69" fmla="*/ 54 h 357"/>
                    <a:gd name="T70" fmla="*/ 312 w 363"/>
                    <a:gd name="T71" fmla="*/ 58 h 357"/>
                    <a:gd name="T72" fmla="*/ 293 w 363"/>
                    <a:gd name="T73" fmla="*/ 65 h 357"/>
                    <a:gd name="T74" fmla="*/ 265 w 363"/>
                    <a:gd name="T75" fmla="*/ 43 h 357"/>
                    <a:gd name="T76" fmla="*/ 241 w 363"/>
                    <a:gd name="T77" fmla="*/ 33 h 357"/>
                    <a:gd name="T78" fmla="*/ 198 w 363"/>
                    <a:gd name="T79" fmla="*/ 0 h 357"/>
                    <a:gd name="T80" fmla="*/ 157 w 363"/>
                    <a:gd name="T81" fmla="*/ 24 h 357"/>
                    <a:gd name="T82" fmla="*/ 145 w 363"/>
                    <a:gd name="T83" fmla="*/ 45 h 357"/>
                    <a:gd name="T84" fmla="*/ 80 w 363"/>
                    <a:gd name="T85" fmla="*/ 80 h 357"/>
                    <a:gd name="T86" fmla="*/ 41 w 363"/>
                    <a:gd name="T87" fmla="*/ 80 h 357"/>
                    <a:gd name="T88" fmla="*/ 0 w 363"/>
                    <a:gd name="T89"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3" h="357">
                      <a:moveTo>
                        <a:pt x="0" y="80"/>
                      </a:moveTo>
                      <a:lnTo>
                        <a:pt x="7" y="102"/>
                      </a:lnTo>
                      <a:lnTo>
                        <a:pt x="15" y="119"/>
                      </a:lnTo>
                      <a:lnTo>
                        <a:pt x="22" y="130"/>
                      </a:lnTo>
                      <a:lnTo>
                        <a:pt x="31" y="132"/>
                      </a:lnTo>
                      <a:lnTo>
                        <a:pt x="41" y="126"/>
                      </a:lnTo>
                      <a:lnTo>
                        <a:pt x="46" y="115"/>
                      </a:lnTo>
                      <a:lnTo>
                        <a:pt x="56" y="98"/>
                      </a:lnTo>
                      <a:lnTo>
                        <a:pt x="69" y="108"/>
                      </a:lnTo>
                      <a:lnTo>
                        <a:pt x="82" y="111"/>
                      </a:lnTo>
                      <a:lnTo>
                        <a:pt x="91" y="117"/>
                      </a:lnTo>
                      <a:lnTo>
                        <a:pt x="89" y="135"/>
                      </a:lnTo>
                      <a:lnTo>
                        <a:pt x="89" y="147"/>
                      </a:lnTo>
                      <a:lnTo>
                        <a:pt x="102" y="167"/>
                      </a:lnTo>
                      <a:lnTo>
                        <a:pt x="117" y="184"/>
                      </a:lnTo>
                      <a:lnTo>
                        <a:pt x="115" y="189"/>
                      </a:lnTo>
                      <a:lnTo>
                        <a:pt x="98" y="189"/>
                      </a:lnTo>
                      <a:lnTo>
                        <a:pt x="106" y="199"/>
                      </a:lnTo>
                      <a:lnTo>
                        <a:pt x="156" y="256"/>
                      </a:lnTo>
                      <a:lnTo>
                        <a:pt x="161" y="260"/>
                      </a:lnTo>
                      <a:lnTo>
                        <a:pt x="176" y="260"/>
                      </a:lnTo>
                      <a:lnTo>
                        <a:pt x="187" y="263"/>
                      </a:lnTo>
                      <a:lnTo>
                        <a:pt x="209" y="273"/>
                      </a:lnTo>
                      <a:lnTo>
                        <a:pt x="228" y="291"/>
                      </a:lnTo>
                      <a:lnTo>
                        <a:pt x="232" y="299"/>
                      </a:lnTo>
                      <a:lnTo>
                        <a:pt x="239" y="314"/>
                      </a:lnTo>
                      <a:lnTo>
                        <a:pt x="245" y="313"/>
                      </a:lnTo>
                      <a:lnTo>
                        <a:pt x="250" y="313"/>
                      </a:lnTo>
                      <a:lnTo>
                        <a:pt x="265" y="319"/>
                      </a:lnTo>
                      <a:lnTo>
                        <a:pt x="274" y="326"/>
                      </a:lnTo>
                      <a:lnTo>
                        <a:pt x="302" y="357"/>
                      </a:lnTo>
                      <a:lnTo>
                        <a:pt x="290" y="325"/>
                      </a:lnTo>
                      <a:lnTo>
                        <a:pt x="283" y="313"/>
                      </a:lnTo>
                      <a:lnTo>
                        <a:pt x="289" y="301"/>
                      </a:lnTo>
                      <a:lnTo>
                        <a:pt x="285" y="291"/>
                      </a:lnTo>
                      <a:lnTo>
                        <a:pt x="271" y="275"/>
                      </a:lnTo>
                      <a:lnTo>
                        <a:pt x="245" y="245"/>
                      </a:lnTo>
                      <a:lnTo>
                        <a:pt x="228" y="232"/>
                      </a:lnTo>
                      <a:lnTo>
                        <a:pt x="222" y="226"/>
                      </a:lnTo>
                      <a:lnTo>
                        <a:pt x="213" y="228"/>
                      </a:lnTo>
                      <a:lnTo>
                        <a:pt x="200" y="217"/>
                      </a:lnTo>
                      <a:lnTo>
                        <a:pt x="198" y="217"/>
                      </a:lnTo>
                      <a:lnTo>
                        <a:pt x="191" y="210"/>
                      </a:lnTo>
                      <a:lnTo>
                        <a:pt x="187" y="197"/>
                      </a:lnTo>
                      <a:lnTo>
                        <a:pt x="183" y="184"/>
                      </a:lnTo>
                      <a:lnTo>
                        <a:pt x="169" y="165"/>
                      </a:lnTo>
                      <a:lnTo>
                        <a:pt x="139" y="134"/>
                      </a:lnTo>
                      <a:lnTo>
                        <a:pt x="137" y="126"/>
                      </a:lnTo>
                      <a:lnTo>
                        <a:pt x="139" y="122"/>
                      </a:lnTo>
                      <a:lnTo>
                        <a:pt x="154" y="119"/>
                      </a:lnTo>
                      <a:lnTo>
                        <a:pt x="195" y="132"/>
                      </a:lnTo>
                      <a:lnTo>
                        <a:pt x="222" y="102"/>
                      </a:lnTo>
                      <a:lnTo>
                        <a:pt x="245" y="121"/>
                      </a:lnTo>
                      <a:lnTo>
                        <a:pt x="254" y="122"/>
                      </a:lnTo>
                      <a:lnTo>
                        <a:pt x="259" y="130"/>
                      </a:lnTo>
                      <a:lnTo>
                        <a:pt x="267" y="122"/>
                      </a:lnTo>
                      <a:lnTo>
                        <a:pt x="282" y="122"/>
                      </a:lnTo>
                      <a:lnTo>
                        <a:pt x="295" y="124"/>
                      </a:lnTo>
                      <a:lnTo>
                        <a:pt x="313" y="115"/>
                      </a:lnTo>
                      <a:lnTo>
                        <a:pt x="332" y="122"/>
                      </a:lnTo>
                      <a:lnTo>
                        <a:pt x="343" y="132"/>
                      </a:lnTo>
                      <a:lnTo>
                        <a:pt x="356" y="135"/>
                      </a:lnTo>
                      <a:lnTo>
                        <a:pt x="357" y="126"/>
                      </a:lnTo>
                      <a:lnTo>
                        <a:pt x="363" y="111"/>
                      </a:lnTo>
                      <a:lnTo>
                        <a:pt x="356" y="104"/>
                      </a:lnTo>
                      <a:lnTo>
                        <a:pt x="344" y="91"/>
                      </a:lnTo>
                      <a:lnTo>
                        <a:pt x="343" y="78"/>
                      </a:lnTo>
                      <a:lnTo>
                        <a:pt x="343" y="69"/>
                      </a:lnTo>
                      <a:lnTo>
                        <a:pt x="344" y="58"/>
                      </a:lnTo>
                      <a:lnTo>
                        <a:pt x="328" y="54"/>
                      </a:lnTo>
                      <a:lnTo>
                        <a:pt x="320" y="52"/>
                      </a:lnTo>
                      <a:lnTo>
                        <a:pt x="312" y="58"/>
                      </a:lnTo>
                      <a:lnTo>
                        <a:pt x="302" y="65"/>
                      </a:lnTo>
                      <a:lnTo>
                        <a:pt x="293" y="65"/>
                      </a:lnTo>
                      <a:lnTo>
                        <a:pt x="278" y="50"/>
                      </a:lnTo>
                      <a:lnTo>
                        <a:pt x="265" y="43"/>
                      </a:lnTo>
                      <a:lnTo>
                        <a:pt x="252" y="45"/>
                      </a:lnTo>
                      <a:lnTo>
                        <a:pt x="241" y="33"/>
                      </a:lnTo>
                      <a:lnTo>
                        <a:pt x="211" y="2"/>
                      </a:lnTo>
                      <a:lnTo>
                        <a:pt x="198" y="0"/>
                      </a:lnTo>
                      <a:lnTo>
                        <a:pt x="178" y="26"/>
                      </a:lnTo>
                      <a:lnTo>
                        <a:pt x="157" y="24"/>
                      </a:lnTo>
                      <a:lnTo>
                        <a:pt x="148" y="33"/>
                      </a:lnTo>
                      <a:lnTo>
                        <a:pt x="145" y="45"/>
                      </a:lnTo>
                      <a:lnTo>
                        <a:pt x="106" y="87"/>
                      </a:lnTo>
                      <a:lnTo>
                        <a:pt x="80" y="80"/>
                      </a:lnTo>
                      <a:lnTo>
                        <a:pt x="54" y="74"/>
                      </a:lnTo>
                      <a:lnTo>
                        <a:pt x="41" y="80"/>
                      </a:lnTo>
                      <a:lnTo>
                        <a:pt x="24" y="87"/>
                      </a:lnTo>
                      <a:lnTo>
                        <a:pt x="0" y="8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nvGrpSpPr>
                <p:cNvPr id="246" name="Group 71">
                  <a:extLst>
                    <a:ext uri="{FF2B5EF4-FFF2-40B4-BE49-F238E27FC236}">
                      <a16:creationId xmlns:a16="http://schemas.microsoft.com/office/drawing/2014/main" xmlns="" id="{FC743CAF-C49E-4688-83CC-485C6EC42925}"/>
                    </a:ext>
                  </a:extLst>
                </p:cNvPr>
                <p:cNvGrpSpPr>
                  <a:grpSpLocks/>
                </p:cNvGrpSpPr>
                <p:nvPr/>
              </p:nvGrpSpPr>
              <p:grpSpPr bwMode="gray">
                <a:xfrm>
                  <a:off x="3126415" y="5602802"/>
                  <a:ext cx="546201" cy="627686"/>
                  <a:chOff x="2610" y="3109"/>
                  <a:chExt cx="429" cy="493"/>
                </a:xfrm>
              </p:grpSpPr>
              <p:sp>
                <p:nvSpPr>
                  <p:cNvPr id="247" name="Freeform 62">
                    <a:extLst>
                      <a:ext uri="{FF2B5EF4-FFF2-40B4-BE49-F238E27FC236}">
                        <a16:creationId xmlns:a16="http://schemas.microsoft.com/office/drawing/2014/main" xmlns="" id="{9D02D8BB-D483-4826-98E2-D15E3D09C1A8}"/>
                      </a:ext>
                    </a:extLst>
                  </p:cNvPr>
                  <p:cNvSpPr>
                    <a:spLocks/>
                  </p:cNvSpPr>
                  <p:nvPr/>
                </p:nvSpPr>
                <p:spPr bwMode="gray">
                  <a:xfrm>
                    <a:off x="2623" y="3429"/>
                    <a:ext cx="24" cy="25"/>
                  </a:xfrm>
                  <a:custGeom>
                    <a:avLst/>
                    <a:gdLst>
                      <a:gd name="T0" fmla="*/ 18 w 24"/>
                      <a:gd name="T1" fmla="*/ 0 h 25"/>
                      <a:gd name="T2" fmla="*/ 24 w 24"/>
                      <a:gd name="T3" fmla="*/ 7 h 25"/>
                      <a:gd name="T4" fmla="*/ 22 w 24"/>
                      <a:gd name="T5" fmla="*/ 16 h 25"/>
                      <a:gd name="T6" fmla="*/ 24 w 24"/>
                      <a:gd name="T7" fmla="*/ 23 h 25"/>
                      <a:gd name="T8" fmla="*/ 18 w 24"/>
                      <a:gd name="T9" fmla="*/ 25 h 25"/>
                      <a:gd name="T10" fmla="*/ 7 w 24"/>
                      <a:gd name="T11" fmla="*/ 23 h 25"/>
                      <a:gd name="T12" fmla="*/ 0 w 24"/>
                      <a:gd name="T13" fmla="*/ 14 h 25"/>
                      <a:gd name="T14" fmla="*/ 18 w 2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5">
                        <a:moveTo>
                          <a:pt x="18" y="0"/>
                        </a:moveTo>
                        <a:lnTo>
                          <a:pt x="24" y="7"/>
                        </a:lnTo>
                        <a:lnTo>
                          <a:pt x="22" y="16"/>
                        </a:lnTo>
                        <a:lnTo>
                          <a:pt x="24" y="23"/>
                        </a:lnTo>
                        <a:lnTo>
                          <a:pt x="18" y="25"/>
                        </a:lnTo>
                        <a:lnTo>
                          <a:pt x="7" y="23"/>
                        </a:lnTo>
                        <a:lnTo>
                          <a:pt x="0" y="14"/>
                        </a:lnTo>
                        <a:lnTo>
                          <a:pt x="18" y="0"/>
                        </a:lnTo>
                        <a:close/>
                      </a:path>
                    </a:pathLst>
                  </a:custGeom>
                  <a:solidFill>
                    <a:srgbClr val="EAEAEA"/>
                  </a:solidFill>
                  <a:ln w="9525">
                    <a:solidFill>
                      <a:schemeClr val="accent5"/>
                    </a:solidFill>
                    <a:prstDash val="solid"/>
                    <a:round/>
                    <a:headEnd/>
                    <a:tailEnd/>
                  </a:ln>
                </p:spPr>
                <p:txBody>
                  <a:bodyPr/>
                  <a:lstStyle/>
                  <a:p>
                    <a:endParaRPr lang="de-DE" dirty="0"/>
                  </a:p>
                </p:txBody>
              </p:sp>
              <p:sp>
                <p:nvSpPr>
                  <p:cNvPr id="248" name="Freeform 63">
                    <a:extLst>
                      <a:ext uri="{FF2B5EF4-FFF2-40B4-BE49-F238E27FC236}">
                        <a16:creationId xmlns:a16="http://schemas.microsoft.com/office/drawing/2014/main" xmlns="" id="{34E3E296-43D5-4096-BF6D-4D269D616BD0}"/>
                      </a:ext>
                    </a:extLst>
                  </p:cNvPr>
                  <p:cNvSpPr>
                    <a:spLocks/>
                  </p:cNvSpPr>
                  <p:nvPr/>
                </p:nvSpPr>
                <p:spPr bwMode="gray">
                  <a:xfrm>
                    <a:off x="2672" y="3439"/>
                    <a:ext cx="184" cy="163"/>
                  </a:xfrm>
                  <a:custGeom>
                    <a:avLst/>
                    <a:gdLst>
                      <a:gd name="T0" fmla="*/ 26 w 184"/>
                      <a:gd name="T1" fmla="*/ 7 h 163"/>
                      <a:gd name="T2" fmla="*/ 17 w 184"/>
                      <a:gd name="T3" fmla="*/ 11 h 163"/>
                      <a:gd name="T4" fmla="*/ 20 w 184"/>
                      <a:gd name="T5" fmla="*/ 20 h 163"/>
                      <a:gd name="T6" fmla="*/ 11 w 184"/>
                      <a:gd name="T7" fmla="*/ 31 h 163"/>
                      <a:gd name="T8" fmla="*/ 4 w 184"/>
                      <a:gd name="T9" fmla="*/ 30 h 163"/>
                      <a:gd name="T10" fmla="*/ 0 w 184"/>
                      <a:gd name="T11" fmla="*/ 35 h 163"/>
                      <a:gd name="T12" fmla="*/ 2 w 184"/>
                      <a:gd name="T13" fmla="*/ 46 h 163"/>
                      <a:gd name="T14" fmla="*/ 32 w 184"/>
                      <a:gd name="T15" fmla="*/ 57 h 163"/>
                      <a:gd name="T16" fmla="*/ 39 w 184"/>
                      <a:gd name="T17" fmla="*/ 82 h 163"/>
                      <a:gd name="T18" fmla="*/ 48 w 184"/>
                      <a:gd name="T19" fmla="*/ 113 h 163"/>
                      <a:gd name="T20" fmla="*/ 59 w 184"/>
                      <a:gd name="T21" fmla="*/ 130 h 163"/>
                      <a:gd name="T22" fmla="*/ 72 w 184"/>
                      <a:gd name="T23" fmla="*/ 119 h 163"/>
                      <a:gd name="T24" fmla="*/ 89 w 184"/>
                      <a:gd name="T25" fmla="*/ 141 h 163"/>
                      <a:gd name="T26" fmla="*/ 106 w 184"/>
                      <a:gd name="T27" fmla="*/ 163 h 163"/>
                      <a:gd name="T28" fmla="*/ 113 w 184"/>
                      <a:gd name="T29" fmla="*/ 146 h 163"/>
                      <a:gd name="T30" fmla="*/ 108 w 184"/>
                      <a:gd name="T31" fmla="*/ 135 h 163"/>
                      <a:gd name="T32" fmla="*/ 115 w 184"/>
                      <a:gd name="T33" fmla="*/ 130 h 163"/>
                      <a:gd name="T34" fmla="*/ 141 w 184"/>
                      <a:gd name="T35" fmla="*/ 150 h 163"/>
                      <a:gd name="T36" fmla="*/ 149 w 184"/>
                      <a:gd name="T37" fmla="*/ 144 h 163"/>
                      <a:gd name="T38" fmla="*/ 151 w 184"/>
                      <a:gd name="T39" fmla="*/ 137 h 163"/>
                      <a:gd name="T40" fmla="*/ 138 w 184"/>
                      <a:gd name="T41" fmla="*/ 111 h 163"/>
                      <a:gd name="T42" fmla="*/ 138 w 184"/>
                      <a:gd name="T43" fmla="*/ 106 h 163"/>
                      <a:gd name="T44" fmla="*/ 126 w 184"/>
                      <a:gd name="T45" fmla="*/ 85 h 163"/>
                      <a:gd name="T46" fmla="*/ 121 w 184"/>
                      <a:gd name="T47" fmla="*/ 70 h 163"/>
                      <a:gd name="T48" fmla="*/ 126 w 184"/>
                      <a:gd name="T49" fmla="*/ 69 h 163"/>
                      <a:gd name="T50" fmla="*/ 141 w 184"/>
                      <a:gd name="T51" fmla="*/ 72 h 163"/>
                      <a:gd name="T52" fmla="*/ 158 w 184"/>
                      <a:gd name="T53" fmla="*/ 87 h 163"/>
                      <a:gd name="T54" fmla="*/ 167 w 184"/>
                      <a:gd name="T55" fmla="*/ 76 h 163"/>
                      <a:gd name="T56" fmla="*/ 182 w 184"/>
                      <a:gd name="T57" fmla="*/ 78 h 163"/>
                      <a:gd name="T58" fmla="*/ 184 w 184"/>
                      <a:gd name="T59" fmla="*/ 74 h 163"/>
                      <a:gd name="T60" fmla="*/ 165 w 184"/>
                      <a:gd name="T61" fmla="*/ 50 h 163"/>
                      <a:gd name="T62" fmla="*/ 151 w 184"/>
                      <a:gd name="T63" fmla="*/ 52 h 163"/>
                      <a:gd name="T64" fmla="*/ 147 w 184"/>
                      <a:gd name="T65" fmla="*/ 44 h 163"/>
                      <a:gd name="T66" fmla="*/ 138 w 184"/>
                      <a:gd name="T67" fmla="*/ 26 h 163"/>
                      <a:gd name="T68" fmla="*/ 130 w 184"/>
                      <a:gd name="T69" fmla="*/ 33 h 163"/>
                      <a:gd name="T70" fmla="*/ 112 w 184"/>
                      <a:gd name="T71" fmla="*/ 26 h 163"/>
                      <a:gd name="T72" fmla="*/ 100 w 184"/>
                      <a:gd name="T73" fmla="*/ 7 h 163"/>
                      <a:gd name="T74" fmla="*/ 78 w 184"/>
                      <a:gd name="T75" fmla="*/ 9 h 163"/>
                      <a:gd name="T76" fmla="*/ 61 w 184"/>
                      <a:gd name="T77" fmla="*/ 11 h 163"/>
                      <a:gd name="T78" fmla="*/ 50 w 184"/>
                      <a:gd name="T79" fmla="*/ 0 h 163"/>
                      <a:gd name="T80" fmla="*/ 41 w 184"/>
                      <a:gd name="T81" fmla="*/ 6 h 163"/>
                      <a:gd name="T82" fmla="*/ 26 w 184"/>
                      <a:gd name="T83" fmla="*/ 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63">
                        <a:moveTo>
                          <a:pt x="26" y="7"/>
                        </a:moveTo>
                        <a:lnTo>
                          <a:pt x="17" y="11"/>
                        </a:lnTo>
                        <a:lnTo>
                          <a:pt x="20" y="20"/>
                        </a:lnTo>
                        <a:lnTo>
                          <a:pt x="11" y="31"/>
                        </a:lnTo>
                        <a:lnTo>
                          <a:pt x="4" y="30"/>
                        </a:lnTo>
                        <a:lnTo>
                          <a:pt x="0" y="35"/>
                        </a:lnTo>
                        <a:lnTo>
                          <a:pt x="2" y="46"/>
                        </a:lnTo>
                        <a:lnTo>
                          <a:pt x="32" y="57"/>
                        </a:lnTo>
                        <a:lnTo>
                          <a:pt x="39" y="82"/>
                        </a:lnTo>
                        <a:lnTo>
                          <a:pt x="48" y="113"/>
                        </a:lnTo>
                        <a:lnTo>
                          <a:pt x="59" y="130"/>
                        </a:lnTo>
                        <a:lnTo>
                          <a:pt x="72" y="119"/>
                        </a:lnTo>
                        <a:lnTo>
                          <a:pt x="89" y="141"/>
                        </a:lnTo>
                        <a:lnTo>
                          <a:pt x="106" y="163"/>
                        </a:lnTo>
                        <a:lnTo>
                          <a:pt x="113" y="146"/>
                        </a:lnTo>
                        <a:lnTo>
                          <a:pt x="108" y="135"/>
                        </a:lnTo>
                        <a:lnTo>
                          <a:pt x="115" y="130"/>
                        </a:lnTo>
                        <a:lnTo>
                          <a:pt x="141" y="150"/>
                        </a:lnTo>
                        <a:lnTo>
                          <a:pt x="149" y="144"/>
                        </a:lnTo>
                        <a:lnTo>
                          <a:pt x="151" y="137"/>
                        </a:lnTo>
                        <a:lnTo>
                          <a:pt x="138" y="111"/>
                        </a:lnTo>
                        <a:lnTo>
                          <a:pt x="138" y="106"/>
                        </a:lnTo>
                        <a:lnTo>
                          <a:pt x="126" y="85"/>
                        </a:lnTo>
                        <a:lnTo>
                          <a:pt x="121" y="70"/>
                        </a:lnTo>
                        <a:lnTo>
                          <a:pt x="126" y="69"/>
                        </a:lnTo>
                        <a:lnTo>
                          <a:pt x="141" y="72"/>
                        </a:lnTo>
                        <a:lnTo>
                          <a:pt x="158" y="87"/>
                        </a:lnTo>
                        <a:lnTo>
                          <a:pt x="167" y="76"/>
                        </a:lnTo>
                        <a:lnTo>
                          <a:pt x="182" y="78"/>
                        </a:lnTo>
                        <a:lnTo>
                          <a:pt x="184" y="74"/>
                        </a:lnTo>
                        <a:lnTo>
                          <a:pt x="165" y="50"/>
                        </a:lnTo>
                        <a:lnTo>
                          <a:pt x="151" y="52"/>
                        </a:lnTo>
                        <a:lnTo>
                          <a:pt x="147" y="44"/>
                        </a:lnTo>
                        <a:lnTo>
                          <a:pt x="138" y="26"/>
                        </a:lnTo>
                        <a:lnTo>
                          <a:pt x="130" y="33"/>
                        </a:lnTo>
                        <a:lnTo>
                          <a:pt x="112" y="26"/>
                        </a:lnTo>
                        <a:lnTo>
                          <a:pt x="100" y="7"/>
                        </a:lnTo>
                        <a:lnTo>
                          <a:pt x="78" y="9"/>
                        </a:lnTo>
                        <a:lnTo>
                          <a:pt x="61" y="11"/>
                        </a:lnTo>
                        <a:lnTo>
                          <a:pt x="50" y="0"/>
                        </a:lnTo>
                        <a:lnTo>
                          <a:pt x="41" y="6"/>
                        </a:lnTo>
                        <a:lnTo>
                          <a:pt x="26" y="7"/>
                        </a:lnTo>
                        <a:close/>
                      </a:path>
                    </a:pathLst>
                  </a:custGeom>
                  <a:solidFill>
                    <a:srgbClr val="EAEAEA"/>
                  </a:solidFill>
                  <a:ln w="9525">
                    <a:solidFill>
                      <a:schemeClr val="accent5"/>
                    </a:solidFill>
                    <a:prstDash val="solid"/>
                    <a:round/>
                    <a:headEnd/>
                    <a:tailEnd/>
                  </a:ln>
                </p:spPr>
                <p:txBody>
                  <a:bodyPr/>
                  <a:lstStyle/>
                  <a:p>
                    <a:endParaRPr lang="de-DE" dirty="0"/>
                  </a:p>
                </p:txBody>
              </p:sp>
              <p:sp>
                <p:nvSpPr>
                  <p:cNvPr id="249" name="Freeform 64">
                    <a:extLst>
                      <a:ext uri="{FF2B5EF4-FFF2-40B4-BE49-F238E27FC236}">
                        <a16:creationId xmlns:a16="http://schemas.microsoft.com/office/drawing/2014/main" xmlns="" id="{748DA6A0-1CC7-4351-A620-11760057A623}"/>
                      </a:ext>
                    </a:extLst>
                  </p:cNvPr>
                  <p:cNvSpPr>
                    <a:spLocks/>
                  </p:cNvSpPr>
                  <p:nvPr/>
                </p:nvSpPr>
                <p:spPr bwMode="gray">
                  <a:xfrm>
                    <a:off x="2610" y="3109"/>
                    <a:ext cx="429" cy="386"/>
                  </a:xfrm>
                  <a:custGeom>
                    <a:avLst/>
                    <a:gdLst>
                      <a:gd name="T0" fmla="*/ 78 w 429"/>
                      <a:gd name="T1" fmla="*/ 102 h 386"/>
                      <a:gd name="T2" fmla="*/ 55 w 429"/>
                      <a:gd name="T3" fmla="*/ 167 h 386"/>
                      <a:gd name="T4" fmla="*/ 44 w 429"/>
                      <a:gd name="T5" fmla="*/ 182 h 386"/>
                      <a:gd name="T6" fmla="*/ 24 w 429"/>
                      <a:gd name="T7" fmla="*/ 200 h 386"/>
                      <a:gd name="T8" fmla="*/ 0 w 429"/>
                      <a:gd name="T9" fmla="*/ 204 h 386"/>
                      <a:gd name="T10" fmla="*/ 31 w 429"/>
                      <a:gd name="T11" fmla="*/ 260 h 386"/>
                      <a:gd name="T12" fmla="*/ 57 w 429"/>
                      <a:gd name="T13" fmla="*/ 260 h 386"/>
                      <a:gd name="T14" fmla="*/ 48 w 429"/>
                      <a:gd name="T15" fmla="*/ 278 h 386"/>
                      <a:gd name="T16" fmla="*/ 57 w 429"/>
                      <a:gd name="T17" fmla="*/ 308 h 386"/>
                      <a:gd name="T18" fmla="*/ 76 w 429"/>
                      <a:gd name="T19" fmla="*/ 330 h 386"/>
                      <a:gd name="T20" fmla="*/ 91 w 429"/>
                      <a:gd name="T21" fmla="*/ 317 h 386"/>
                      <a:gd name="T22" fmla="*/ 107 w 429"/>
                      <a:gd name="T23" fmla="*/ 319 h 386"/>
                      <a:gd name="T24" fmla="*/ 159 w 429"/>
                      <a:gd name="T25" fmla="*/ 325 h 386"/>
                      <a:gd name="T26" fmla="*/ 190 w 429"/>
                      <a:gd name="T27" fmla="*/ 341 h 386"/>
                      <a:gd name="T28" fmla="*/ 207 w 429"/>
                      <a:gd name="T29" fmla="*/ 362 h 386"/>
                      <a:gd name="T30" fmla="*/ 229 w 429"/>
                      <a:gd name="T31" fmla="*/ 353 h 386"/>
                      <a:gd name="T32" fmla="*/ 270 w 429"/>
                      <a:gd name="T33" fmla="*/ 386 h 386"/>
                      <a:gd name="T34" fmla="*/ 277 w 429"/>
                      <a:gd name="T35" fmla="*/ 367 h 386"/>
                      <a:gd name="T36" fmla="*/ 276 w 429"/>
                      <a:gd name="T37" fmla="*/ 336 h 386"/>
                      <a:gd name="T38" fmla="*/ 259 w 429"/>
                      <a:gd name="T39" fmla="*/ 323 h 386"/>
                      <a:gd name="T40" fmla="*/ 215 w 429"/>
                      <a:gd name="T41" fmla="*/ 295 h 386"/>
                      <a:gd name="T42" fmla="*/ 189 w 429"/>
                      <a:gd name="T43" fmla="*/ 286 h 386"/>
                      <a:gd name="T44" fmla="*/ 179 w 429"/>
                      <a:gd name="T45" fmla="*/ 273 h 386"/>
                      <a:gd name="T46" fmla="*/ 194 w 429"/>
                      <a:gd name="T47" fmla="*/ 258 h 386"/>
                      <a:gd name="T48" fmla="*/ 183 w 429"/>
                      <a:gd name="T49" fmla="*/ 236 h 386"/>
                      <a:gd name="T50" fmla="*/ 202 w 429"/>
                      <a:gd name="T51" fmla="*/ 245 h 386"/>
                      <a:gd name="T52" fmla="*/ 215 w 429"/>
                      <a:gd name="T53" fmla="*/ 238 h 386"/>
                      <a:gd name="T54" fmla="*/ 190 w 429"/>
                      <a:gd name="T55" fmla="*/ 202 h 386"/>
                      <a:gd name="T56" fmla="*/ 170 w 429"/>
                      <a:gd name="T57" fmla="*/ 160 h 386"/>
                      <a:gd name="T58" fmla="*/ 165 w 429"/>
                      <a:gd name="T59" fmla="*/ 134 h 386"/>
                      <a:gd name="T60" fmla="*/ 176 w 429"/>
                      <a:gd name="T61" fmla="*/ 117 h 386"/>
                      <a:gd name="T62" fmla="*/ 185 w 429"/>
                      <a:gd name="T63" fmla="*/ 139 h 386"/>
                      <a:gd name="T64" fmla="*/ 190 w 429"/>
                      <a:gd name="T65" fmla="*/ 147 h 386"/>
                      <a:gd name="T66" fmla="*/ 227 w 429"/>
                      <a:gd name="T67" fmla="*/ 176 h 386"/>
                      <a:gd name="T68" fmla="*/ 231 w 429"/>
                      <a:gd name="T69" fmla="*/ 156 h 386"/>
                      <a:gd name="T70" fmla="*/ 257 w 429"/>
                      <a:gd name="T71" fmla="*/ 176 h 386"/>
                      <a:gd name="T72" fmla="*/ 246 w 429"/>
                      <a:gd name="T73" fmla="*/ 152 h 386"/>
                      <a:gd name="T74" fmla="*/ 257 w 429"/>
                      <a:gd name="T75" fmla="*/ 141 h 386"/>
                      <a:gd name="T76" fmla="*/ 287 w 429"/>
                      <a:gd name="T77" fmla="*/ 148 h 386"/>
                      <a:gd name="T78" fmla="*/ 274 w 429"/>
                      <a:gd name="T79" fmla="*/ 130 h 386"/>
                      <a:gd name="T80" fmla="*/ 246 w 429"/>
                      <a:gd name="T81" fmla="*/ 113 h 386"/>
                      <a:gd name="T82" fmla="*/ 248 w 429"/>
                      <a:gd name="T83" fmla="*/ 98 h 386"/>
                      <a:gd name="T84" fmla="*/ 298 w 429"/>
                      <a:gd name="T85" fmla="*/ 87 h 386"/>
                      <a:gd name="T86" fmla="*/ 349 w 429"/>
                      <a:gd name="T87" fmla="*/ 82 h 386"/>
                      <a:gd name="T88" fmla="*/ 377 w 429"/>
                      <a:gd name="T89" fmla="*/ 87 h 386"/>
                      <a:gd name="T90" fmla="*/ 405 w 429"/>
                      <a:gd name="T91" fmla="*/ 76 h 386"/>
                      <a:gd name="T92" fmla="*/ 427 w 429"/>
                      <a:gd name="T93" fmla="*/ 48 h 386"/>
                      <a:gd name="T94" fmla="*/ 427 w 429"/>
                      <a:gd name="T95" fmla="*/ 6 h 386"/>
                      <a:gd name="T96" fmla="*/ 407 w 429"/>
                      <a:gd name="T97" fmla="*/ 0 h 386"/>
                      <a:gd name="T98" fmla="*/ 401 w 429"/>
                      <a:gd name="T99" fmla="*/ 20 h 386"/>
                      <a:gd name="T100" fmla="*/ 388 w 429"/>
                      <a:gd name="T101" fmla="*/ 35 h 386"/>
                      <a:gd name="T102" fmla="*/ 370 w 429"/>
                      <a:gd name="T103" fmla="*/ 45 h 386"/>
                      <a:gd name="T104" fmla="*/ 337 w 429"/>
                      <a:gd name="T105" fmla="*/ 33 h 386"/>
                      <a:gd name="T106" fmla="*/ 305 w 429"/>
                      <a:gd name="T107" fmla="*/ 20 h 386"/>
                      <a:gd name="T108" fmla="*/ 270 w 429"/>
                      <a:gd name="T109" fmla="*/ 45 h 386"/>
                      <a:gd name="T110" fmla="*/ 231 w 429"/>
                      <a:gd name="T111" fmla="*/ 56 h 386"/>
                      <a:gd name="T112" fmla="*/ 202 w 429"/>
                      <a:gd name="T113" fmla="*/ 61 h 386"/>
                      <a:gd name="T114" fmla="*/ 183 w 429"/>
                      <a:gd name="T115" fmla="*/ 78 h 386"/>
                      <a:gd name="T116" fmla="*/ 153 w 429"/>
                      <a:gd name="T117" fmla="*/ 82 h 386"/>
                      <a:gd name="T118" fmla="*/ 126 w 429"/>
                      <a:gd name="T119" fmla="*/ 97 h 386"/>
                      <a:gd name="T120" fmla="*/ 98 w 429"/>
                      <a:gd name="T121" fmla="*/ 9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9" h="386">
                        <a:moveTo>
                          <a:pt x="87" y="95"/>
                        </a:moveTo>
                        <a:lnTo>
                          <a:pt x="78" y="102"/>
                        </a:lnTo>
                        <a:lnTo>
                          <a:pt x="68" y="135"/>
                        </a:lnTo>
                        <a:lnTo>
                          <a:pt x="55" y="167"/>
                        </a:lnTo>
                        <a:lnTo>
                          <a:pt x="50" y="171"/>
                        </a:lnTo>
                        <a:lnTo>
                          <a:pt x="44" y="182"/>
                        </a:lnTo>
                        <a:lnTo>
                          <a:pt x="37" y="193"/>
                        </a:lnTo>
                        <a:lnTo>
                          <a:pt x="24" y="200"/>
                        </a:lnTo>
                        <a:lnTo>
                          <a:pt x="13" y="204"/>
                        </a:lnTo>
                        <a:lnTo>
                          <a:pt x="0" y="204"/>
                        </a:lnTo>
                        <a:lnTo>
                          <a:pt x="17" y="241"/>
                        </a:lnTo>
                        <a:lnTo>
                          <a:pt x="31" y="260"/>
                        </a:lnTo>
                        <a:lnTo>
                          <a:pt x="44" y="260"/>
                        </a:lnTo>
                        <a:lnTo>
                          <a:pt x="57" y="260"/>
                        </a:lnTo>
                        <a:lnTo>
                          <a:pt x="61" y="269"/>
                        </a:lnTo>
                        <a:lnTo>
                          <a:pt x="48" y="278"/>
                        </a:lnTo>
                        <a:lnTo>
                          <a:pt x="48" y="290"/>
                        </a:lnTo>
                        <a:lnTo>
                          <a:pt x="57" y="308"/>
                        </a:lnTo>
                        <a:lnTo>
                          <a:pt x="68" y="323"/>
                        </a:lnTo>
                        <a:lnTo>
                          <a:pt x="76" y="330"/>
                        </a:lnTo>
                        <a:lnTo>
                          <a:pt x="80" y="319"/>
                        </a:lnTo>
                        <a:lnTo>
                          <a:pt x="91" y="317"/>
                        </a:lnTo>
                        <a:lnTo>
                          <a:pt x="104" y="328"/>
                        </a:lnTo>
                        <a:lnTo>
                          <a:pt x="107" y="319"/>
                        </a:lnTo>
                        <a:lnTo>
                          <a:pt x="128" y="321"/>
                        </a:lnTo>
                        <a:lnTo>
                          <a:pt x="159" y="325"/>
                        </a:lnTo>
                        <a:lnTo>
                          <a:pt x="181" y="332"/>
                        </a:lnTo>
                        <a:lnTo>
                          <a:pt x="190" y="341"/>
                        </a:lnTo>
                        <a:lnTo>
                          <a:pt x="200" y="354"/>
                        </a:lnTo>
                        <a:lnTo>
                          <a:pt x="207" y="362"/>
                        </a:lnTo>
                        <a:lnTo>
                          <a:pt x="216" y="354"/>
                        </a:lnTo>
                        <a:lnTo>
                          <a:pt x="229" y="353"/>
                        </a:lnTo>
                        <a:lnTo>
                          <a:pt x="248" y="366"/>
                        </a:lnTo>
                        <a:lnTo>
                          <a:pt x="270" y="386"/>
                        </a:lnTo>
                        <a:lnTo>
                          <a:pt x="276" y="382"/>
                        </a:lnTo>
                        <a:lnTo>
                          <a:pt x="277" y="367"/>
                        </a:lnTo>
                        <a:lnTo>
                          <a:pt x="277" y="351"/>
                        </a:lnTo>
                        <a:lnTo>
                          <a:pt x="276" y="336"/>
                        </a:lnTo>
                        <a:lnTo>
                          <a:pt x="266" y="319"/>
                        </a:lnTo>
                        <a:lnTo>
                          <a:pt x="259" y="323"/>
                        </a:lnTo>
                        <a:lnTo>
                          <a:pt x="242" y="315"/>
                        </a:lnTo>
                        <a:lnTo>
                          <a:pt x="215" y="295"/>
                        </a:lnTo>
                        <a:lnTo>
                          <a:pt x="207" y="288"/>
                        </a:lnTo>
                        <a:lnTo>
                          <a:pt x="189" y="286"/>
                        </a:lnTo>
                        <a:lnTo>
                          <a:pt x="179" y="280"/>
                        </a:lnTo>
                        <a:lnTo>
                          <a:pt x="179" y="273"/>
                        </a:lnTo>
                        <a:lnTo>
                          <a:pt x="190" y="262"/>
                        </a:lnTo>
                        <a:lnTo>
                          <a:pt x="194" y="258"/>
                        </a:lnTo>
                        <a:lnTo>
                          <a:pt x="187" y="249"/>
                        </a:lnTo>
                        <a:lnTo>
                          <a:pt x="183" y="236"/>
                        </a:lnTo>
                        <a:lnTo>
                          <a:pt x="187" y="230"/>
                        </a:lnTo>
                        <a:lnTo>
                          <a:pt x="202" y="245"/>
                        </a:lnTo>
                        <a:lnTo>
                          <a:pt x="215" y="251"/>
                        </a:lnTo>
                        <a:lnTo>
                          <a:pt x="215" y="238"/>
                        </a:lnTo>
                        <a:lnTo>
                          <a:pt x="207" y="223"/>
                        </a:lnTo>
                        <a:lnTo>
                          <a:pt x="190" y="202"/>
                        </a:lnTo>
                        <a:lnTo>
                          <a:pt x="172" y="174"/>
                        </a:lnTo>
                        <a:lnTo>
                          <a:pt x="170" y="160"/>
                        </a:lnTo>
                        <a:lnTo>
                          <a:pt x="168" y="147"/>
                        </a:lnTo>
                        <a:lnTo>
                          <a:pt x="165" y="134"/>
                        </a:lnTo>
                        <a:lnTo>
                          <a:pt x="163" y="121"/>
                        </a:lnTo>
                        <a:lnTo>
                          <a:pt x="176" y="117"/>
                        </a:lnTo>
                        <a:lnTo>
                          <a:pt x="174" y="126"/>
                        </a:lnTo>
                        <a:lnTo>
                          <a:pt x="185" y="139"/>
                        </a:lnTo>
                        <a:lnTo>
                          <a:pt x="192" y="139"/>
                        </a:lnTo>
                        <a:lnTo>
                          <a:pt x="190" y="147"/>
                        </a:lnTo>
                        <a:lnTo>
                          <a:pt x="226" y="182"/>
                        </a:lnTo>
                        <a:lnTo>
                          <a:pt x="227" y="176"/>
                        </a:lnTo>
                        <a:lnTo>
                          <a:pt x="220" y="160"/>
                        </a:lnTo>
                        <a:lnTo>
                          <a:pt x="231" y="156"/>
                        </a:lnTo>
                        <a:lnTo>
                          <a:pt x="248" y="163"/>
                        </a:lnTo>
                        <a:lnTo>
                          <a:pt x="257" y="176"/>
                        </a:lnTo>
                        <a:lnTo>
                          <a:pt x="259" y="167"/>
                        </a:lnTo>
                        <a:lnTo>
                          <a:pt x="246" y="152"/>
                        </a:lnTo>
                        <a:lnTo>
                          <a:pt x="248" y="145"/>
                        </a:lnTo>
                        <a:lnTo>
                          <a:pt x="257" y="141"/>
                        </a:lnTo>
                        <a:lnTo>
                          <a:pt x="281" y="152"/>
                        </a:lnTo>
                        <a:lnTo>
                          <a:pt x="287" y="148"/>
                        </a:lnTo>
                        <a:lnTo>
                          <a:pt x="285" y="137"/>
                        </a:lnTo>
                        <a:lnTo>
                          <a:pt x="274" y="130"/>
                        </a:lnTo>
                        <a:lnTo>
                          <a:pt x="257" y="122"/>
                        </a:lnTo>
                        <a:lnTo>
                          <a:pt x="246" y="113"/>
                        </a:lnTo>
                        <a:lnTo>
                          <a:pt x="244" y="106"/>
                        </a:lnTo>
                        <a:lnTo>
                          <a:pt x="248" y="98"/>
                        </a:lnTo>
                        <a:lnTo>
                          <a:pt x="272" y="95"/>
                        </a:lnTo>
                        <a:lnTo>
                          <a:pt x="298" y="87"/>
                        </a:lnTo>
                        <a:lnTo>
                          <a:pt x="316" y="89"/>
                        </a:lnTo>
                        <a:lnTo>
                          <a:pt x="349" y="82"/>
                        </a:lnTo>
                        <a:lnTo>
                          <a:pt x="355" y="78"/>
                        </a:lnTo>
                        <a:lnTo>
                          <a:pt x="377" y="87"/>
                        </a:lnTo>
                        <a:lnTo>
                          <a:pt x="396" y="97"/>
                        </a:lnTo>
                        <a:lnTo>
                          <a:pt x="405" y="76"/>
                        </a:lnTo>
                        <a:lnTo>
                          <a:pt x="422" y="54"/>
                        </a:lnTo>
                        <a:lnTo>
                          <a:pt x="427" y="48"/>
                        </a:lnTo>
                        <a:lnTo>
                          <a:pt x="429" y="9"/>
                        </a:lnTo>
                        <a:lnTo>
                          <a:pt x="427" y="6"/>
                        </a:lnTo>
                        <a:lnTo>
                          <a:pt x="418" y="0"/>
                        </a:lnTo>
                        <a:lnTo>
                          <a:pt x="407" y="0"/>
                        </a:lnTo>
                        <a:lnTo>
                          <a:pt x="401" y="6"/>
                        </a:lnTo>
                        <a:lnTo>
                          <a:pt x="401" y="20"/>
                        </a:lnTo>
                        <a:lnTo>
                          <a:pt x="403" y="32"/>
                        </a:lnTo>
                        <a:lnTo>
                          <a:pt x="388" y="35"/>
                        </a:lnTo>
                        <a:lnTo>
                          <a:pt x="377" y="43"/>
                        </a:lnTo>
                        <a:lnTo>
                          <a:pt x="370" y="45"/>
                        </a:lnTo>
                        <a:lnTo>
                          <a:pt x="346" y="39"/>
                        </a:lnTo>
                        <a:lnTo>
                          <a:pt x="337" y="33"/>
                        </a:lnTo>
                        <a:lnTo>
                          <a:pt x="324" y="41"/>
                        </a:lnTo>
                        <a:lnTo>
                          <a:pt x="305" y="20"/>
                        </a:lnTo>
                        <a:lnTo>
                          <a:pt x="285" y="35"/>
                        </a:lnTo>
                        <a:lnTo>
                          <a:pt x="270" y="45"/>
                        </a:lnTo>
                        <a:lnTo>
                          <a:pt x="255" y="52"/>
                        </a:lnTo>
                        <a:lnTo>
                          <a:pt x="231" y="56"/>
                        </a:lnTo>
                        <a:lnTo>
                          <a:pt x="215" y="61"/>
                        </a:lnTo>
                        <a:lnTo>
                          <a:pt x="202" y="61"/>
                        </a:lnTo>
                        <a:lnTo>
                          <a:pt x="196" y="63"/>
                        </a:lnTo>
                        <a:lnTo>
                          <a:pt x="183" y="78"/>
                        </a:lnTo>
                        <a:lnTo>
                          <a:pt x="172" y="78"/>
                        </a:lnTo>
                        <a:lnTo>
                          <a:pt x="153" y="82"/>
                        </a:lnTo>
                        <a:lnTo>
                          <a:pt x="135" y="80"/>
                        </a:lnTo>
                        <a:lnTo>
                          <a:pt x="126" y="97"/>
                        </a:lnTo>
                        <a:lnTo>
                          <a:pt x="111" y="98"/>
                        </a:lnTo>
                        <a:lnTo>
                          <a:pt x="98" y="97"/>
                        </a:lnTo>
                        <a:lnTo>
                          <a:pt x="87" y="95"/>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50" name="Freeform 65">
                    <a:extLst>
                      <a:ext uri="{FF2B5EF4-FFF2-40B4-BE49-F238E27FC236}">
                        <a16:creationId xmlns:a16="http://schemas.microsoft.com/office/drawing/2014/main" xmlns="" id="{9C1152CE-F587-4D6F-9C3D-760634682A45}"/>
                      </a:ext>
                    </a:extLst>
                  </p:cNvPr>
                  <p:cNvSpPr>
                    <a:spLocks/>
                  </p:cNvSpPr>
                  <p:nvPr/>
                </p:nvSpPr>
                <p:spPr bwMode="gray">
                  <a:xfrm>
                    <a:off x="2824" y="3374"/>
                    <a:ext cx="106" cy="87"/>
                  </a:xfrm>
                  <a:custGeom>
                    <a:avLst/>
                    <a:gdLst>
                      <a:gd name="T0" fmla="*/ 9 w 106"/>
                      <a:gd name="T1" fmla="*/ 0 h 87"/>
                      <a:gd name="T2" fmla="*/ 0 w 106"/>
                      <a:gd name="T3" fmla="*/ 7 h 87"/>
                      <a:gd name="T4" fmla="*/ 11 w 106"/>
                      <a:gd name="T5" fmla="*/ 26 h 87"/>
                      <a:gd name="T6" fmla="*/ 24 w 106"/>
                      <a:gd name="T7" fmla="*/ 30 h 87"/>
                      <a:gd name="T8" fmla="*/ 39 w 106"/>
                      <a:gd name="T9" fmla="*/ 46 h 87"/>
                      <a:gd name="T10" fmla="*/ 52 w 106"/>
                      <a:gd name="T11" fmla="*/ 54 h 87"/>
                      <a:gd name="T12" fmla="*/ 73 w 106"/>
                      <a:gd name="T13" fmla="*/ 70 h 87"/>
                      <a:gd name="T14" fmla="*/ 86 w 106"/>
                      <a:gd name="T15" fmla="*/ 76 h 87"/>
                      <a:gd name="T16" fmla="*/ 102 w 106"/>
                      <a:gd name="T17" fmla="*/ 87 h 87"/>
                      <a:gd name="T18" fmla="*/ 106 w 106"/>
                      <a:gd name="T19" fmla="*/ 81 h 87"/>
                      <a:gd name="T20" fmla="*/ 73 w 106"/>
                      <a:gd name="T21" fmla="*/ 56 h 87"/>
                      <a:gd name="T22" fmla="*/ 71 w 106"/>
                      <a:gd name="T23" fmla="*/ 44 h 87"/>
                      <a:gd name="T24" fmla="*/ 67 w 106"/>
                      <a:gd name="T25" fmla="*/ 33 h 87"/>
                      <a:gd name="T26" fmla="*/ 54 w 106"/>
                      <a:gd name="T27" fmla="*/ 20 h 87"/>
                      <a:gd name="T28" fmla="*/ 50 w 106"/>
                      <a:gd name="T29" fmla="*/ 22 h 87"/>
                      <a:gd name="T30" fmla="*/ 32 w 106"/>
                      <a:gd name="T31" fmla="*/ 9 h 87"/>
                      <a:gd name="T32" fmla="*/ 22 w 106"/>
                      <a:gd name="T33" fmla="*/ 4 h 87"/>
                      <a:gd name="T34" fmla="*/ 9 w 106"/>
                      <a:gd name="T3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87">
                        <a:moveTo>
                          <a:pt x="9" y="0"/>
                        </a:moveTo>
                        <a:lnTo>
                          <a:pt x="0" y="7"/>
                        </a:lnTo>
                        <a:lnTo>
                          <a:pt x="11" y="26"/>
                        </a:lnTo>
                        <a:lnTo>
                          <a:pt x="24" y="30"/>
                        </a:lnTo>
                        <a:lnTo>
                          <a:pt x="39" y="46"/>
                        </a:lnTo>
                        <a:lnTo>
                          <a:pt x="52" y="54"/>
                        </a:lnTo>
                        <a:lnTo>
                          <a:pt x="73" y="70"/>
                        </a:lnTo>
                        <a:lnTo>
                          <a:pt x="86" y="76"/>
                        </a:lnTo>
                        <a:lnTo>
                          <a:pt x="102" y="87"/>
                        </a:lnTo>
                        <a:lnTo>
                          <a:pt x="106" y="81"/>
                        </a:lnTo>
                        <a:lnTo>
                          <a:pt x="73" y="56"/>
                        </a:lnTo>
                        <a:lnTo>
                          <a:pt x="71" y="44"/>
                        </a:lnTo>
                        <a:lnTo>
                          <a:pt x="67" y="33"/>
                        </a:lnTo>
                        <a:lnTo>
                          <a:pt x="54" y="20"/>
                        </a:lnTo>
                        <a:lnTo>
                          <a:pt x="50" y="22"/>
                        </a:lnTo>
                        <a:lnTo>
                          <a:pt x="32" y="9"/>
                        </a:lnTo>
                        <a:lnTo>
                          <a:pt x="22" y="4"/>
                        </a:lnTo>
                        <a:lnTo>
                          <a:pt x="9" y="0"/>
                        </a:lnTo>
                        <a:close/>
                      </a:path>
                    </a:pathLst>
                  </a:custGeom>
                  <a:solidFill>
                    <a:srgbClr val="EAEAEA"/>
                  </a:solidFill>
                  <a:ln w="9525">
                    <a:solidFill>
                      <a:schemeClr val="accent5"/>
                    </a:solidFill>
                    <a:prstDash val="solid"/>
                    <a:round/>
                    <a:headEnd/>
                    <a:tailEnd/>
                  </a:ln>
                </p:spPr>
                <p:txBody>
                  <a:bodyPr/>
                  <a:lstStyle/>
                  <a:p>
                    <a:endParaRPr lang="de-DE" dirty="0"/>
                  </a:p>
                </p:txBody>
              </p:sp>
              <p:sp>
                <p:nvSpPr>
                  <p:cNvPr id="252" name="Freeform 67">
                    <a:extLst>
                      <a:ext uri="{FF2B5EF4-FFF2-40B4-BE49-F238E27FC236}">
                        <a16:creationId xmlns:a16="http://schemas.microsoft.com/office/drawing/2014/main" xmlns="" id="{42481798-1A45-4A51-956A-1EB60E5E08DC}"/>
                      </a:ext>
                    </a:extLst>
                  </p:cNvPr>
                  <p:cNvSpPr>
                    <a:spLocks/>
                  </p:cNvSpPr>
                  <p:nvPr/>
                </p:nvSpPr>
                <p:spPr bwMode="gray">
                  <a:xfrm>
                    <a:off x="2943" y="3271"/>
                    <a:ext cx="30" cy="28"/>
                  </a:xfrm>
                  <a:custGeom>
                    <a:avLst/>
                    <a:gdLst>
                      <a:gd name="T0" fmla="*/ 30 w 30"/>
                      <a:gd name="T1" fmla="*/ 0 h 28"/>
                      <a:gd name="T2" fmla="*/ 11 w 30"/>
                      <a:gd name="T3" fmla="*/ 0 h 28"/>
                      <a:gd name="T4" fmla="*/ 2 w 30"/>
                      <a:gd name="T5" fmla="*/ 6 h 28"/>
                      <a:gd name="T6" fmla="*/ 0 w 30"/>
                      <a:gd name="T7" fmla="*/ 15 h 28"/>
                      <a:gd name="T8" fmla="*/ 0 w 30"/>
                      <a:gd name="T9" fmla="*/ 26 h 28"/>
                      <a:gd name="T10" fmla="*/ 9 w 30"/>
                      <a:gd name="T11" fmla="*/ 28 h 28"/>
                      <a:gd name="T12" fmla="*/ 26 w 30"/>
                      <a:gd name="T13" fmla="*/ 17 h 28"/>
                      <a:gd name="T14" fmla="*/ 30 w 3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8">
                        <a:moveTo>
                          <a:pt x="30" y="0"/>
                        </a:moveTo>
                        <a:lnTo>
                          <a:pt x="11" y="0"/>
                        </a:lnTo>
                        <a:lnTo>
                          <a:pt x="2" y="6"/>
                        </a:lnTo>
                        <a:lnTo>
                          <a:pt x="0" y="15"/>
                        </a:lnTo>
                        <a:lnTo>
                          <a:pt x="0" y="26"/>
                        </a:lnTo>
                        <a:lnTo>
                          <a:pt x="9" y="28"/>
                        </a:lnTo>
                        <a:lnTo>
                          <a:pt x="26" y="17"/>
                        </a:lnTo>
                        <a:lnTo>
                          <a:pt x="30"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grpSp>
              <p:nvGrpSpPr>
                <p:cNvPr id="256" name="Group 74">
                  <a:extLst>
                    <a:ext uri="{FF2B5EF4-FFF2-40B4-BE49-F238E27FC236}">
                      <a16:creationId xmlns:a16="http://schemas.microsoft.com/office/drawing/2014/main" xmlns="" id="{158BDC3B-072D-4B8E-98C2-D5F5BA96A093}"/>
                    </a:ext>
                  </a:extLst>
                </p:cNvPr>
                <p:cNvGrpSpPr>
                  <a:grpSpLocks/>
                </p:cNvGrpSpPr>
                <p:nvPr/>
              </p:nvGrpSpPr>
              <p:grpSpPr bwMode="gray">
                <a:xfrm>
                  <a:off x="1267551" y="4436553"/>
                  <a:ext cx="971449" cy="1153516"/>
                  <a:chOff x="1150" y="2193"/>
                  <a:chExt cx="763" cy="906"/>
                </a:xfrm>
                <a:solidFill>
                  <a:schemeClr val="accent3"/>
                </a:solidFill>
              </p:grpSpPr>
              <p:sp>
                <p:nvSpPr>
                  <p:cNvPr id="257" name="Freeform 72">
                    <a:extLst>
                      <a:ext uri="{FF2B5EF4-FFF2-40B4-BE49-F238E27FC236}">
                        <a16:creationId xmlns:a16="http://schemas.microsoft.com/office/drawing/2014/main" xmlns="" id="{3B40C11D-E2F5-430D-812A-56F5994ADAFA}"/>
                      </a:ext>
                    </a:extLst>
                  </p:cNvPr>
                  <p:cNvSpPr>
                    <a:spLocks/>
                  </p:cNvSpPr>
                  <p:nvPr/>
                </p:nvSpPr>
                <p:spPr bwMode="gray">
                  <a:xfrm>
                    <a:off x="1846" y="2977"/>
                    <a:ext cx="67" cy="122"/>
                  </a:xfrm>
                  <a:custGeom>
                    <a:avLst/>
                    <a:gdLst>
                      <a:gd name="T0" fmla="*/ 67 w 67"/>
                      <a:gd name="T1" fmla="*/ 0 h 122"/>
                      <a:gd name="T2" fmla="*/ 45 w 67"/>
                      <a:gd name="T3" fmla="*/ 26 h 122"/>
                      <a:gd name="T4" fmla="*/ 19 w 67"/>
                      <a:gd name="T5" fmla="*/ 26 h 122"/>
                      <a:gd name="T6" fmla="*/ 0 w 67"/>
                      <a:gd name="T7" fmla="*/ 41 h 122"/>
                      <a:gd name="T8" fmla="*/ 4 w 67"/>
                      <a:gd name="T9" fmla="*/ 62 h 122"/>
                      <a:gd name="T10" fmla="*/ 4 w 67"/>
                      <a:gd name="T11" fmla="*/ 96 h 122"/>
                      <a:gd name="T12" fmla="*/ 19 w 67"/>
                      <a:gd name="T13" fmla="*/ 122 h 122"/>
                      <a:gd name="T14" fmla="*/ 37 w 67"/>
                      <a:gd name="T15" fmla="*/ 115 h 122"/>
                      <a:gd name="T16" fmla="*/ 41 w 67"/>
                      <a:gd name="T17" fmla="*/ 100 h 122"/>
                      <a:gd name="T18" fmla="*/ 60 w 67"/>
                      <a:gd name="T19" fmla="*/ 66 h 122"/>
                      <a:gd name="T20" fmla="*/ 60 w 67"/>
                      <a:gd name="T21" fmla="*/ 48 h 122"/>
                      <a:gd name="T22" fmla="*/ 67 w 67"/>
                      <a:gd name="T2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122">
                        <a:moveTo>
                          <a:pt x="67" y="0"/>
                        </a:moveTo>
                        <a:lnTo>
                          <a:pt x="45" y="26"/>
                        </a:lnTo>
                        <a:lnTo>
                          <a:pt x="19" y="26"/>
                        </a:lnTo>
                        <a:lnTo>
                          <a:pt x="0" y="41"/>
                        </a:lnTo>
                        <a:lnTo>
                          <a:pt x="4" y="62"/>
                        </a:lnTo>
                        <a:lnTo>
                          <a:pt x="4" y="96"/>
                        </a:lnTo>
                        <a:lnTo>
                          <a:pt x="19" y="122"/>
                        </a:lnTo>
                        <a:lnTo>
                          <a:pt x="37" y="115"/>
                        </a:lnTo>
                        <a:lnTo>
                          <a:pt x="41" y="100"/>
                        </a:lnTo>
                        <a:lnTo>
                          <a:pt x="60" y="66"/>
                        </a:lnTo>
                        <a:lnTo>
                          <a:pt x="60" y="48"/>
                        </a:lnTo>
                        <a:lnTo>
                          <a:pt x="67"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58" name="Freeform 73">
                    <a:extLst>
                      <a:ext uri="{FF2B5EF4-FFF2-40B4-BE49-F238E27FC236}">
                        <a16:creationId xmlns:a16="http://schemas.microsoft.com/office/drawing/2014/main" xmlns="" id="{3A7B5E96-D584-4649-BF23-777AF809B4C3}"/>
                      </a:ext>
                    </a:extLst>
                  </p:cNvPr>
                  <p:cNvSpPr>
                    <a:spLocks/>
                  </p:cNvSpPr>
                  <p:nvPr/>
                </p:nvSpPr>
                <p:spPr bwMode="gray">
                  <a:xfrm>
                    <a:off x="1150" y="2193"/>
                    <a:ext cx="763" cy="746"/>
                  </a:xfrm>
                  <a:custGeom>
                    <a:avLst/>
                    <a:gdLst>
                      <a:gd name="T0" fmla="*/ 11 w 763"/>
                      <a:gd name="T1" fmla="*/ 145 h 746"/>
                      <a:gd name="T2" fmla="*/ 13 w 763"/>
                      <a:gd name="T3" fmla="*/ 174 h 746"/>
                      <a:gd name="T4" fmla="*/ 74 w 763"/>
                      <a:gd name="T5" fmla="*/ 221 h 746"/>
                      <a:gd name="T6" fmla="*/ 122 w 763"/>
                      <a:gd name="T7" fmla="*/ 250 h 746"/>
                      <a:gd name="T8" fmla="*/ 117 w 763"/>
                      <a:gd name="T9" fmla="*/ 290 h 746"/>
                      <a:gd name="T10" fmla="*/ 145 w 763"/>
                      <a:gd name="T11" fmla="*/ 349 h 746"/>
                      <a:gd name="T12" fmla="*/ 158 w 763"/>
                      <a:gd name="T13" fmla="*/ 429 h 746"/>
                      <a:gd name="T14" fmla="*/ 132 w 763"/>
                      <a:gd name="T15" fmla="*/ 429 h 746"/>
                      <a:gd name="T16" fmla="*/ 115 w 763"/>
                      <a:gd name="T17" fmla="*/ 470 h 746"/>
                      <a:gd name="T18" fmla="*/ 98 w 763"/>
                      <a:gd name="T19" fmla="*/ 511 h 746"/>
                      <a:gd name="T20" fmla="*/ 57 w 763"/>
                      <a:gd name="T21" fmla="*/ 583 h 746"/>
                      <a:gd name="T22" fmla="*/ 59 w 763"/>
                      <a:gd name="T23" fmla="*/ 618 h 746"/>
                      <a:gd name="T24" fmla="*/ 161 w 763"/>
                      <a:gd name="T25" fmla="*/ 685 h 746"/>
                      <a:gd name="T26" fmla="*/ 248 w 763"/>
                      <a:gd name="T27" fmla="*/ 726 h 746"/>
                      <a:gd name="T28" fmla="*/ 325 w 763"/>
                      <a:gd name="T29" fmla="*/ 746 h 746"/>
                      <a:gd name="T30" fmla="*/ 353 w 763"/>
                      <a:gd name="T31" fmla="*/ 689 h 746"/>
                      <a:gd name="T32" fmla="*/ 422 w 763"/>
                      <a:gd name="T33" fmla="*/ 664 h 746"/>
                      <a:gd name="T34" fmla="*/ 472 w 763"/>
                      <a:gd name="T35" fmla="*/ 690 h 746"/>
                      <a:gd name="T36" fmla="*/ 541 w 763"/>
                      <a:gd name="T37" fmla="*/ 726 h 746"/>
                      <a:gd name="T38" fmla="*/ 604 w 763"/>
                      <a:gd name="T39" fmla="*/ 711 h 746"/>
                      <a:gd name="T40" fmla="*/ 650 w 763"/>
                      <a:gd name="T41" fmla="*/ 663 h 746"/>
                      <a:gd name="T42" fmla="*/ 622 w 763"/>
                      <a:gd name="T43" fmla="*/ 642 h 746"/>
                      <a:gd name="T44" fmla="*/ 617 w 763"/>
                      <a:gd name="T45" fmla="*/ 574 h 746"/>
                      <a:gd name="T46" fmla="*/ 635 w 763"/>
                      <a:gd name="T47" fmla="*/ 511 h 746"/>
                      <a:gd name="T48" fmla="*/ 635 w 763"/>
                      <a:gd name="T49" fmla="*/ 453 h 746"/>
                      <a:gd name="T50" fmla="*/ 602 w 763"/>
                      <a:gd name="T51" fmla="*/ 455 h 746"/>
                      <a:gd name="T52" fmla="*/ 587 w 763"/>
                      <a:gd name="T53" fmla="*/ 446 h 746"/>
                      <a:gd name="T54" fmla="*/ 622 w 763"/>
                      <a:gd name="T55" fmla="*/ 405 h 746"/>
                      <a:gd name="T56" fmla="*/ 676 w 763"/>
                      <a:gd name="T57" fmla="*/ 353 h 746"/>
                      <a:gd name="T58" fmla="*/ 704 w 763"/>
                      <a:gd name="T59" fmla="*/ 327 h 746"/>
                      <a:gd name="T60" fmla="*/ 726 w 763"/>
                      <a:gd name="T61" fmla="*/ 277 h 746"/>
                      <a:gd name="T62" fmla="*/ 763 w 763"/>
                      <a:gd name="T63" fmla="*/ 234 h 746"/>
                      <a:gd name="T64" fmla="*/ 719 w 763"/>
                      <a:gd name="T65" fmla="*/ 213 h 746"/>
                      <a:gd name="T66" fmla="*/ 667 w 763"/>
                      <a:gd name="T67" fmla="*/ 195 h 746"/>
                      <a:gd name="T68" fmla="*/ 631 w 763"/>
                      <a:gd name="T69" fmla="*/ 163 h 746"/>
                      <a:gd name="T70" fmla="*/ 581 w 763"/>
                      <a:gd name="T71" fmla="*/ 119 h 746"/>
                      <a:gd name="T72" fmla="*/ 539 w 763"/>
                      <a:gd name="T73" fmla="*/ 76 h 746"/>
                      <a:gd name="T74" fmla="*/ 509 w 763"/>
                      <a:gd name="T75" fmla="*/ 30 h 746"/>
                      <a:gd name="T76" fmla="*/ 444 w 763"/>
                      <a:gd name="T77" fmla="*/ 2 h 746"/>
                      <a:gd name="T78" fmla="*/ 416 w 763"/>
                      <a:gd name="T79" fmla="*/ 35 h 746"/>
                      <a:gd name="T80" fmla="*/ 318 w 763"/>
                      <a:gd name="T81" fmla="*/ 87 h 746"/>
                      <a:gd name="T82" fmla="*/ 265 w 763"/>
                      <a:gd name="T83" fmla="*/ 104 h 746"/>
                      <a:gd name="T84" fmla="*/ 219 w 763"/>
                      <a:gd name="T85" fmla="*/ 78 h 746"/>
                      <a:gd name="T86" fmla="*/ 198 w 763"/>
                      <a:gd name="T87" fmla="*/ 56 h 746"/>
                      <a:gd name="T88" fmla="*/ 204 w 763"/>
                      <a:gd name="T89" fmla="*/ 83 h 746"/>
                      <a:gd name="T90" fmla="*/ 197 w 763"/>
                      <a:gd name="T91" fmla="*/ 113 h 746"/>
                      <a:gd name="T92" fmla="*/ 182 w 763"/>
                      <a:gd name="T93" fmla="*/ 137 h 746"/>
                      <a:gd name="T94" fmla="*/ 141 w 763"/>
                      <a:gd name="T95" fmla="*/ 126 h 746"/>
                      <a:gd name="T96" fmla="*/ 93 w 763"/>
                      <a:gd name="T97" fmla="*/ 96 h 746"/>
                      <a:gd name="T98" fmla="*/ 59 w 763"/>
                      <a:gd name="T99" fmla="*/ 108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3" h="746">
                        <a:moveTo>
                          <a:pt x="13" y="106"/>
                        </a:moveTo>
                        <a:lnTo>
                          <a:pt x="20" y="124"/>
                        </a:lnTo>
                        <a:lnTo>
                          <a:pt x="13" y="139"/>
                        </a:lnTo>
                        <a:lnTo>
                          <a:pt x="11" y="145"/>
                        </a:lnTo>
                        <a:lnTo>
                          <a:pt x="0" y="141"/>
                        </a:lnTo>
                        <a:lnTo>
                          <a:pt x="4" y="150"/>
                        </a:lnTo>
                        <a:lnTo>
                          <a:pt x="4" y="159"/>
                        </a:lnTo>
                        <a:lnTo>
                          <a:pt x="13" y="174"/>
                        </a:lnTo>
                        <a:lnTo>
                          <a:pt x="30" y="169"/>
                        </a:lnTo>
                        <a:lnTo>
                          <a:pt x="52" y="193"/>
                        </a:lnTo>
                        <a:lnTo>
                          <a:pt x="61" y="209"/>
                        </a:lnTo>
                        <a:lnTo>
                          <a:pt x="74" y="221"/>
                        </a:lnTo>
                        <a:lnTo>
                          <a:pt x="91" y="221"/>
                        </a:lnTo>
                        <a:lnTo>
                          <a:pt x="98" y="235"/>
                        </a:lnTo>
                        <a:lnTo>
                          <a:pt x="113" y="248"/>
                        </a:lnTo>
                        <a:lnTo>
                          <a:pt x="122" y="250"/>
                        </a:lnTo>
                        <a:lnTo>
                          <a:pt x="124" y="256"/>
                        </a:lnTo>
                        <a:lnTo>
                          <a:pt x="119" y="268"/>
                        </a:lnTo>
                        <a:lnTo>
                          <a:pt x="119" y="279"/>
                        </a:lnTo>
                        <a:lnTo>
                          <a:pt x="117" y="290"/>
                        </a:lnTo>
                        <a:lnTo>
                          <a:pt x="113" y="309"/>
                        </a:lnTo>
                        <a:lnTo>
                          <a:pt x="128" y="327"/>
                        </a:lnTo>
                        <a:lnTo>
                          <a:pt x="145" y="340"/>
                        </a:lnTo>
                        <a:lnTo>
                          <a:pt x="145" y="349"/>
                        </a:lnTo>
                        <a:lnTo>
                          <a:pt x="143" y="381"/>
                        </a:lnTo>
                        <a:lnTo>
                          <a:pt x="139" y="407"/>
                        </a:lnTo>
                        <a:lnTo>
                          <a:pt x="143" y="418"/>
                        </a:lnTo>
                        <a:lnTo>
                          <a:pt x="158" y="429"/>
                        </a:lnTo>
                        <a:lnTo>
                          <a:pt x="158" y="451"/>
                        </a:lnTo>
                        <a:lnTo>
                          <a:pt x="158" y="466"/>
                        </a:lnTo>
                        <a:lnTo>
                          <a:pt x="141" y="444"/>
                        </a:lnTo>
                        <a:lnTo>
                          <a:pt x="132" y="429"/>
                        </a:lnTo>
                        <a:lnTo>
                          <a:pt x="126" y="433"/>
                        </a:lnTo>
                        <a:lnTo>
                          <a:pt x="130" y="444"/>
                        </a:lnTo>
                        <a:lnTo>
                          <a:pt x="124" y="457"/>
                        </a:lnTo>
                        <a:lnTo>
                          <a:pt x="115" y="470"/>
                        </a:lnTo>
                        <a:lnTo>
                          <a:pt x="109" y="479"/>
                        </a:lnTo>
                        <a:lnTo>
                          <a:pt x="117" y="488"/>
                        </a:lnTo>
                        <a:lnTo>
                          <a:pt x="111" y="498"/>
                        </a:lnTo>
                        <a:lnTo>
                          <a:pt x="98" y="511"/>
                        </a:lnTo>
                        <a:lnTo>
                          <a:pt x="96" y="522"/>
                        </a:lnTo>
                        <a:lnTo>
                          <a:pt x="89" y="535"/>
                        </a:lnTo>
                        <a:lnTo>
                          <a:pt x="69" y="559"/>
                        </a:lnTo>
                        <a:lnTo>
                          <a:pt x="57" y="583"/>
                        </a:lnTo>
                        <a:lnTo>
                          <a:pt x="57" y="587"/>
                        </a:lnTo>
                        <a:lnTo>
                          <a:pt x="63" y="594"/>
                        </a:lnTo>
                        <a:lnTo>
                          <a:pt x="56" y="605"/>
                        </a:lnTo>
                        <a:lnTo>
                          <a:pt x="59" y="618"/>
                        </a:lnTo>
                        <a:lnTo>
                          <a:pt x="70" y="635"/>
                        </a:lnTo>
                        <a:lnTo>
                          <a:pt x="117" y="661"/>
                        </a:lnTo>
                        <a:lnTo>
                          <a:pt x="150" y="689"/>
                        </a:lnTo>
                        <a:lnTo>
                          <a:pt x="161" y="685"/>
                        </a:lnTo>
                        <a:lnTo>
                          <a:pt x="178" y="679"/>
                        </a:lnTo>
                        <a:lnTo>
                          <a:pt x="235" y="703"/>
                        </a:lnTo>
                        <a:lnTo>
                          <a:pt x="243" y="711"/>
                        </a:lnTo>
                        <a:lnTo>
                          <a:pt x="248" y="726"/>
                        </a:lnTo>
                        <a:lnTo>
                          <a:pt x="258" y="731"/>
                        </a:lnTo>
                        <a:lnTo>
                          <a:pt x="271" y="733"/>
                        </a:lnTo>
                        <a:lnTo>
                          <a:pt x="292" y="744"/>
                        </a:lnTo>
                        <a:lnTo>
                          <a:pt x="325" y="746"/>
                        </a:lnTo>
                        <a:lnTo>
                          <a:pt x="335" y="733"/>
                        </a:lnTo>
                        <a:lnTo>
                          <a:pt x="338" y="718"/>
                        </a:lnTo>
                        <a:lnTo>
                          <a:pt x="338" y="702"/>
                        </a:lnTo>
                        <a:lnTo>
                          <a:pt x="353" y="689"/>
                        </a:lnTo>
                        <a:lnTo>
                          <a:pt x="381" y="674"/>
                        </a:lnTo>
                        <a:lnTo>
                          <a:pt x="394" y="672"/>
                        </a:lnTo>
                        <a:lnTo>
                          <a:pt x="409" y="664"/>
                        </a:lnTo>
                        <a:lnTo>
                          <a:pt x="422" y="664"/>
                        </a:lnTo>
                        <a:lnTo>
                          <a:pt x="437" y="674"/>
                        </a:lnTo>
                        <a:lnTo>
                          <a:pt x="448" y="687"/>
                        </a:lnTo>
                        <a:lnTo>
                          <a:pt x="461" y="687"/>
                        </a:lnTo>
                        <a:lnTo>
                          <a:pt x="472" y="690"/>
                        </a:lnTo>
                        <a:lnTo>
                          <a:pt x="494" y="692"/>
                        </a:lnTo>
                        <a:lnTo>
                          <a:pt x="509" y="711"/>
                        </a:lnTo>
                        <a:lnTo>
                          <a:pt x="522" y="720"/>
                        </a:lnTo>
                        <a:lnTo>
                          <a:pt x="541" y="726"/>
                        </a:lnTo>
                        <a:lnTo>
                          <a:pt x="557" y="735"/>
                        </a:lnTo>
                        <a:lnTo>
                          <a:pt x="566" y="737"/>
                        </a:lnTo>
                        <a:lnTo>
                          <a:pt x="589" y="714"/>
                        </a:lnTo>
                        <a:lnTo>
                          <a:pt x="604" y="711"/>
                        </a:lnTo>
                        <a:lnTo>
                          <a:pt x="615" y="702"/>
                        </a:lnTo>
                        <a:lnTo>
                          <a:pt x="631" y="690"/>
                        </a:lnTo>
                        <a:lnTo>
                          <a:pt x="652" y="689"/>
                        </a:lnTo>
                        <a:lnTo>
                          <a:pt x="650" y="663"/>
                        </a:lnTo>
                        <a:lnTo>
                          <a:pt x="646" y="655"/>
                        </a:lnTo>
                        <a:lnTo>
                          <a:pt x="637" y="642"/>
                        </a:lnTo>
                        <a:lnTo>
                          <a:pt x="630" y="644"/>
                        </a:lnTo>
                        <a:lnTo>
                          <a:pt x="622" y="642"/>
                        </a:lnTo>
                        <a:lnTo>
                          <a:pt x="615" y="631"/>
                        </a:lnTo>
                        <a:lnTo>
                          <a:pt x="613" y="605"/>
                        </a:lnTo>
                        <a:lnTo>
                          <a:pt x="628" y="588"/>
                        </a:lnTo>
                        <a:lnTo>
                          <a:pt x="617" y="574"/>
                        </a:lnTo>
                        <a:lnTo>
                          <a:pt x="617" y="568"/>
                        </a:lnTo>
                        <a:lnTo>
                          <a:pt x="639" y="546"/>
                        </a:lnTo>
                        <a:lnTo>
                          <a:pt x="639" y="538"/>
                        </a:lnTo>
                        <a:lnTo>
                          <a:pt x="635" y="511"/>
                        </a:lnTo>
                        <a:lnTo>
                          <a:pt x="648" y="498"/>
                        </a:lnTo>
                        <a:lnTo>
                          <a:pt x="637" y="483"/>
                        </a:lnTo>
                        <a:lnTo>
                          <a:pt x="637" y="472"/>
                        </a:lnTo>
                        <a:lnTo>
                          <a:pt x="635" y="453"/>
                        </a:lnTo>
                        <a:lnTo>
                          <a:pt x="630" y="448"/>
                        </a:lnTo>
                        <a:lnTo>
                          <a:pt x="617" y="448"/>
                        </a:lnTo>
                        <a:lnTo>
                          <a:pt x="605" y="451"/>
                        </a:lnTo>
                        <a:lnTo>
                          <a:pt x="602" y="455"/>
                        </a:lnTo>
                        <a:lnTo>
                          <a:pt x="594" y="462"/>
                        </a:lnTo>
                        <a:lnTo>
                          <a:pt x="583" y="466"/>
                        </a:lnTo>
                        <a:lnTo>
                          <a:pt x="579" y="455"/>
                        </a:lnTo>
                        <a:lnTo>
                          <a:pt x="587" y="446"/>
                        </a:lnTo>
                        <a:lnTo>
                          <a:pt x="591" y="438"/>
                        </a:lnTo>
                        <a:lnTo>
                          <a:pt x="591" y="429"/>
                        </a:lnTo>
                        <a:lnTo>
                          <a:pt x="611" y="409"/>
                        </a:lnTo>
                        <a:lnTo>
                          <a:pt x="622" y="405"/>
                        </a:lnTo>
                        <a:lnTo>
                          <a:pt x="624" y="390"/>
                        </a:lnTo>
                        <a:lnTo>
                          <a:pt x="635" y="377"/>
                        </a:lnTo>
                        <a:lnTo>
                          <a:pt x="667" y="353"/>
                        </a:lnTo>
                        <a:lnTo>
                          <a:pt x="676" y="353"/>
                        </a:lnTo>
                        <a:lnTo>
                          <a:pt x="680" y="344"/>
                        </a:lnTo>
                        <a:lnTo>
                          <a:pt x="691" y="333"/>
                        </a:lnTo>
                        <a:lnTo>
                          <a:pt x="700" y="333"/>
                        </a:lnTo>
                        <a:lnTo>
                          <a:pt x="704" y="327"/>
                        </a:lnTo>
                        <a:lnTo>
                          <a:pt x="709" y="323"/>
                        </a:lnTo>
                        <a:lnTo>
                          <a:pt x="717" y="310"/>
                        </a:lnTo>
                        <a:lnTo>
                          <a:pt x="724" y="290"/>
                        </a:lnTo>
                        <a:lnTo>
                          <a:pt x="726" y="277"/>
                        </a:lnTo>
                        <a:lnTo>
                          <a:pt x="726" y="266"/>
                        </a:lnTo>
                        <a:lnTo>
                          <a:pt x="737" y="252"/>
                        </a:lnTo>
                        <a:lnTo>
                          <a:pt x="754" y="243"/>
                        </a:lnTo>
                        <a:lnTo>
                          <a:pt x="763" y="234"/>
                        </a:lnTo>
                        <a:lnTo>
                          <a:pt x="763" y="230"/>
                        </a:lnTo>
                        <a:lnTo>
                          <a:pt x="748" y="219"/>
                        </a:lnTo>
                        <a:lnTo>
                          <a:pt x="741" y="215"/>
                        </a:lnTo>
                        <a:lnTo>
                          <a:pt x="719" y="213"/>
                        </a:lnTo>
                        <a:lnTo>
                          <a:pt x="694" y="209"/>
                        </a:lnTo>
                        <a:lnTo>
                          <a:pt x="685" y="208"/>
                        </a:lnTo>
                        <a:lnTo>
                          <a:pt x="676" y="204"/>
                        </a:lnTo>
                        <a:lnTo>
                          <a:pt x="667" y="195"/>
                        </a:lnTo>
                        <a:lnTo>
                          <a:pt x="659" y="180"/>
                        </a:lnTo>
                        <a:lnTo>
                          <a:pt x="652" y="171"/>
                        </a:lnTo>
                        <a:lnTo>
                          <a:pt x="642" y="167"/>
                        </a:lnTo>
                        <a:lnTo>
                          <a:pt x="631" y="163"/>
                        </a:lnTo>
                        <a:lnTo>
                          <a:pt x="626" y="161"/>
                        </a:lnTo>
                        <a:lnTo>
                          <a:pt x="611" y="148"/>
                        </a:lnTo>
                        <a:lnTo>
                          <a:pt x="592" y="133"/>
                        </a:lnTo>
                        <a:lnTo>
                          <a:pt x="581" y="119"/>
                        </a:lnTo>
                        <a:lnTo>
                          <a:pt x="568" y="115"/>
                        </a:lnTo>
                        <a:lnTo>
                          <a:pt x="561" y="109"/>
                        </a:lnTo>
                        <a:lnTo>
                          <a:pt x="555" y="95"/>
                        </a:lnTo>
                        <a:lnTo>
                          <a:pt x="539" y="76"/>
                        </a:lnTo>
                        <a:lnTo>
                          <a:pt x="535" y="63"/>
                        </a:lnTo>
                        <a:lnTo>
                          <a:pt x="522" y="50"/>
                        </a:lnTo>
                        <a:lnTo>
                          <a:pt x="516" y="39"/>
                        </a:lnTo>
                        <a:lnTo>
                          <a:pt x="509" y="30"/>
                        </a:lnTo>
                        <a:lnTo>
                          <a:pt x="496" y="20"/>
                        </a:lnTo>
                        <a:lnTo>
                          <a:pt x="483" y="6"/>
                        </a:lnTo>
                        <a:lnTo>
                          <a:pt x="472" y="0"/>
                        </a:lnTo>
                        <a:lnTo>
                          <a:pt x="444" y="2"/>
                        </a:lnTo>
                        <a:lnTo>
                          <a:pt x="433" y="2"/>
                        </a:lnTo>
                        <a:lnTo>
                          <a:pt x="418" y="13"/>
                        </a:lnTo>
                        <a:lnTo>
                          <a:pt x="427" y="22"/>
                        </a:lnTo>
                        <a:lnTo>
                          <a:pt x="416" y="35"/>
                        </a:lnTo>
                        <a:lnTo>
                          <a:pt x="388" y="70"/>
                        </a:lnTo>
                        <a:lnTo>
                          <a:pt x="374" y="78"/>
                        </a:lnTo>
                        <a:lnTo>
                          <a:pt x="335" y="82"/>
                        </a:lnTo>
                        <a:lnTo>
                          <a:pt x="318" y="87"/>
                        </a:lnTo>
                        <a:lnTo>
                          <a:pt x="309" y="96"/>
                        </a:lnTo>
                        <a:lnTo>
                          <a:pt x="305" y="104"/>
                        </a:lnTo>
                        <a:lnTo>
                          <a:pt x="290" y="100"/>
                        </a:lnTo>
                        <a:lnTo>
                          <a:pt x="265" y="104"/>
                        </a:lnTo>
                        <a:lnTo>
                          <a:pt x="250" y="102"/>
                        </a:lnTo>
                        <a:lnTo>
                          <a:pt x="237" y="93"/>
                        </a:lnTo>
                        <a:lnTo>
                          <a:pt x="228" y="82"/>
                        </a:lnTo>
                        <a:lnTo>
                          <a:pt x="219" y="78"/>
                        </a:lnTo>
                        <a:lnTo>
                          <a:pt x="226" y="69"/>
                        </a:lnTo>
                        <a:lnTo>
                          <a:pt x="215" y="59"/>
                        </a:lnTo>
                        <a:lnTo>
                          <a:pt x="206" y="57"/>
                        </a:lnTo>
                        <a:lnTo>
                          <a:pt x="198" y="56"/>
                        </a:lnTo>
                        <a:lnTo>
                          <a:pt x="197" y="59"/>
                        </a:lnTo>
                        <a:lnTo>
                          <a:pt x="204" y="67"/>
                        </a:lnTo>
                        <a:lnTo>
                          <a:pt x="200" y="72"/>
                        </a:lnTo>
                        <a:lnTo>
                          <a:pt x="204" y="83"/>
                        </a:lnTo>
                        <a:lnTo>
                          <a:pt x="206" y="96"/>
                        </a:lnTo>
                        <a:lnTo>
                          <a:pt x="206" y="106"/>
                        </a:lnTo>
                        <a:lnTo>
                          <a:pt x="204" y="108"/>
                        </a:lnTo>
                        <a:lnTo>
                          <a:pt x="197" y="113"/>
                        </a:lnTo>
                        <a:lnTo>
                          <a:pt x="195" y="122"/>
                        </a:lnTo>
                        <a:lnTo>
                          <a:pt x="195" y="132"/>
                        </a:lnTo>
                        <a:lnTo>
                          <a:pt x="193" y="139"/>
                        </a:lnTo>
                        <a:lnTo>
                          <a:pt x="182" y="137"/>
                        </a:lnTo>
                        <a:lnTo>
                          <a:pt x="169" y="130"/>
                        </a:lnTo>
                        <a:lnTo>
                          <a:pt x="161" y="137"/>
                        </a:lnTo>
                        <a:lnTo>
                          <a:pt x="148" y="128"/>
                        </a:lnTo>
                        <a:lnTo>
                          <a:pt x="141" y="126"/>
                        </a:lnTo>
                        <a:lnTo>
                          <a:pt x="132" y="133"/>
                        </a:lnTo>
                        <a:lnTo>
                          <a:pt x="124" y="132"/>
                        </a:lnTo>
                        <a:lnTo>
                          <a:pt x="124" y="126"/>
                        </a:lnTo>
                        <a:lnTo>
                          <a:pt x="93" y="96"/>
                        </a:lnTo>
                        <a:lnTo>
                          <a:pt x="85" y="95"/>
                        </a:lnTo>
                        <a:lnTo>
                          <a:pt x="80" y="100"/>
                        </a:lnTo>
                        <a:lnTo>
                          <a:pt x="67" y="106"/>
                        </a:lnTo>
                        <a:lnTo>
                          <a:pt x="59" y="108"/>
                        </a:lnTo>
                        <a:lnTo>
                          <a:pt x="50" y="98"/>
                        </a:lnTo>
                        <a:lnTo>
                          <a:pt x="28" y="98"/>
                        </a:lnTo>
                        <a:lnTo>
                          <a:pt x="13" y="106"/>
                        </a:lnTo>
                        <a:close/>
                      </a:path>
                    </a:pathLst>
                  </a:custGeom>
                  <a:solidFill>
                    <a:schemeClr val="bg2"/>
                  </a:solidFill>
                  <a:ln w="9525">
                    <a:solidFill>
                      <a:schemeClr val="accent5"/>
                    </a:solidFill>
                    <a:prstDash val="solid"/>
                    <a:round/>
                    <a:headEnd/>
                    <a:tailEnd/>
                  </a:ln>
                </p:spPr>
                <p:txBody>
                  <a:bodyPr/>
                  <a:lstStyle/>
                  <a:p>
                    <a:endParaRPr lang="de-DE" dirty="0"/>
                  </a:p>
                </p:txBody>
              </p:sp>
            </p:grpSp>
            <p:sp>
              <p:nvSpPr>
                <p:cNvPr id="259" name="Freeform 75">
                  <a:extLst>
                    <a:ext uri="{FF2B5EF4-FFF2-40B4-BE49-F238E27FC236}">
                      <a16:creationId xmlns:a16="http://schemas.microsoft.com/office/drawing/2014/main" xmlns="" id="{D285798D-5C0F-4367-A254-CA680945416C}"/>
                    </a:ext>
                  </a:extLst>
                </p:cNvPr>
                <p:cNvSpPr>
                  <a:spLocks/>
                </p:cNvSpPr>
                <p:nvPr/>
              </p:nvSpPr>
              <p:spPr bwMode="gray">
                <a:xfrm>
                  <a:off x="3162067" y="3797409"/>
                  <a:ext cx="471083" cy="247000"/>
                </a:xfrm>
                <a:custGeom>
                  <a:avLst/>
                  <a:gdLst>
                    <a:gd name="T0" fmla="*/ 91 w 370"/>
                    <a:gd name="T1" fmla="*/ 65 h 194"/>
                    <a:gd name="T2" fmla="*/ 83 w 370"/>
                    <a:gd name="T3" fmla="*/ 39 h 194"/>
                    <a:gd name="T4" fmla="*/ 59 w 370"/>
                    <a:gd name="T5" fmla="*/ 26 h 194"/>
                    <a:gd name="T6" fmla="*/ 33 w 370"/>
                    <a:gd name="T7" fmla="*/ 46 h 194"/>
                    <a:gd name="T8" fmla="*/ 17 w 370"/>
                    <a:gd name="T9" fmla="*/ 89 h 194"/>
                    <a:gd name="T10" fmla="*/ 13 w 370"/>
                    <a:gd name="T11" fmla="*/ 104 h 194"/>
                    <a:gd name="T12" fmla="*/ 0 w 370"/>
                    <a:gd name="T13" fmla="*/ 119 h 194"/>
                    <a:gd name="T14" fmla="*/ 4 w 370"/>
                    <a:gd name="T15" fmla="*/ 149 h 194"/>
                    <a:gd name="T16" fmla="*/ 15 w 370"/>
                    <a:gd name="T17" fmla="*/ 169 h 194"/>
                    <a:gd name="T18" fmla="*/ 48 w 370"/>
                    <a:gd name="T19" fmla="*/ 152 h 194"/>
                    <a:gd name="T20" fmla="*/ 70 w 370"/>
                    <a:gd name="T21" fmla="*/ 149 h 194"/>
                    <a:gd name="T22" fmla="*/ 98 w 370"/>
                    <a:gd name="T23" fmla="*/ 156 h 194"/>
                    <a:gd name="T24" fmla="*/ 126 w 370"/>
                    <a:gd name="T25" fmla="*/ 149 h 194"/>
                    <a:gd name="T26" fmla="*/ 144 w 370"/>
                    <a:gd name="T27" fmla="*/ 154 h 194"/>
                    <a:gd name="T28" fmla="*/ 168 w 370"/>
                    <a:gd name="T29" fmla="*/ 149 h 194"/>
                    <a:gd name="T30" fmla="*/ 196 w 370"/>
                    <a:gd name="T31" fmla="*/ 147 h 194"/>
                    <a:gd name="T32" fmla="*/ 224 w 370"/>
                    <a:gd name="T33" fmla="*/ 165 h 194"/>
                    <a:gd name="T34" fmla="*/ 261 w 370"/>
                    <a:gd name="T35" fmla="*/ 181 h 194"/>
                    <a:gd name="T36" fmla="*/ 283 w 370"/>
                    <a:gd name="T37" fmla="*/ 194 h 194"/>
                    <a:gd name="T38" fmla="*/ 316 w 370"/>
                    <a:gd name="T39" fmla="*/ 185 h 194"/>
                    <a:gd name="T40" fmla="*/ 333 w 370"/>
                    <a:gd name="T41" fmla="*/ 167 h 194"/>
                    <a:gd name="T42" fmla="*/ 364 w 370"/>
                    <a:gd name="T43" fmla="*/ 134 h 194"/>
                    <a:gd name="T44" fmla="*/ 366 w 370"/>
                    <a:gd name="T45" fmla="*/ 91 h 194"/>
                    <a:gd name="T46" fmla="*/ 340 w 370"/>
                    <a:gd name="T47" fmla="*/ 69 h 194"/>
                    <a:gd name="T48" fmla="*/ 326 w 370"/>
                    <a:gd name="T49" fmla="*/ 33 h 194"/>
                    <a:gd name="T50" fmla="*/ 302 w 370"/>
                    <a:gd name="T51" fmla="*/ 19 h 194"/>
                    <a:gd name="T52" fmla="*/ 259 w 370"/>
                    <a:gd name="T53" fmla="*/ 30 h 194"/>
                    <a:gd name="T54" fmla="*/ 235 w 370"/>
                    <a:gd name="T55" fmla="*/ 19 h 194"/>
                    <a:gd name="T56" fmla="*/ 213 w 370"/>
                    <a:gd name="T57" fmla="*/ 4 h 194"/>
                    <a:gd name="T58" fmla="*/ 191 w 370"/>
                    <a:gd name="T59" fmla="*/ 0 h 194"/>
                    <a:gd name="T60" fmla="*/ 167 w 370"/>
                    <a:gd name="T61" fmla="*/ 4 h 194"/>
                    <a:gd name="T62" fmla="*/ 155 w 370"/>
                    <a:gd name="T63" fmla="*/ 19 h 194"/>
                    <a:gd name="T64" fmla="*/ 159 w 370"/>
                    <a:gd name="T65" fmla="*/ 61 h 194"/>
                    <a:gd name="T66" fmla="*/ 144 w 370"/>
                    <a:gd name="T67" fmla="*/ 85 h 194"/>
                    <a:gd name="T68" fmla="*/ 128 w 370"/>
                    <a:gd name="T69" fmla="*/ 8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0" h="194">
                      <a:moveTo>
                        <a:pt x="109" y="76"/>
                      </a:moveTo>
                      <a:lnTo>
                        <a:pt x="91" y="65"/>
                      </a:lnTo>
                      <a:lnTo>
                        <a:pt x="87" y="52"/>
                      </a:lnTo>
                      <a:lnTo>
                        <a:pt x="83" y="39"/>
                      </a:lnTo>
                      <a:lnTo>
                        <a:pt x="74" y="26"/>
                      </a:lnTo>
                      <a:lnTo>
                        <a:pt x="59" y="26"/>
                      </a:lnTo>
                      <a:lnTo>
                        <a:pt x="48" y="32"/>
                      </a:lnTo>
                      <a:lnTo>
                        <a:pt x="33" y="46"/>
                      </a:lnTo>
                      <a:lnTo>
                        <a:pt x="15" y="80"/>
                      </a:lnTo>
                      <a:lnTo>
                        <a:pt x="17" y="89"/>
                      </a:lnTo>
                      <a:lnTo>
                        <a:pt x="17" y="98"/>
                      </a:lnTo>
                      <a:lnTo>
                        <a:pt x="13" y="104"/>
                      </a:lnTo>
                      <a:lnTo>
                        <a:pt x="6" y="111"/>
                      </a:lnTo>
                      <a:lnTo>
                        <a:pt x="0" y="119"/>
                      </a:lnTo>
                      <a:lnTo>
                        <a:pt x="4" y="128"/>
                      </a:lnTo>
                      <a:lnTo>
                        <a:pt x="4" y="149"/>
                      </a:lnTo>
                      <a:lnTo>
                        <a:pt x="7" y="165"/>
                      </a:lnTo>
                      <a:lnTo>
                        <a:pt x="15" y="169"/>
                      </a:lnTo>
                      <a:lnTo>
                        <a:pt x="30" y="163"/>
                      </a:lnTo>
                      <a:lnTo>
                        <a:pt x="48" y="152"/>
                      </a:lnTo>
                      <a:lnTo>
                        <a:pt x="56" y="145"/>
                      </a:lnTo>
                      <a:lnTo>
                        <a:pt x="70" y="149"/>
                      </a:lnTo>
                      <a:lnTo>
                        <a:pt x="85" y="152"/>
                      </a:lnTo>
                      <a:lnTo>
                        <a:pt x="98" y="156"/>
                      </a:lnTo>
                      <a:lnTo>
                        <a:pt x="107" y="160"/>
                      </a:lnTo>
                      <a:lnTo>
                        <a:pt x="126" y="149"/>
                      </a:lnTo>
                      <a:lnTo>
                        <a:pt x="135" y="149"/>
                      </a:lnTo>
                      <a:lnTo>
                        <a:pt x="144" y="154"/>
                      </a:lnTo>
                      <a:lnTo>
                        <a:pt x="157" y="158"/>
                      </a:lnTo>
                      <a:lnTo>
                        <a:pt x="168" y="149"/>
                      </a:lnTo>
                      <a:lnTo>
                        <a:pt x="185" y="145"/>
                      </a:lnTo>
                      <a:lnTo>
                        <a:pt x="196" y="147"/>
                      </a:lnTo>
                      <a:lnTo>
                        <a:pt x="205" y="163"/>
                      </a:lnTo>
                      <a:lnTo>
                        <a:pt x="224" y="165"/>
                      </a:lnTo>
                      <a:lnTo>
                        <a:pt x="246" y="163"/>
                      </a:lnTo>
                      <a:lnTo>
                        <a:pt x="261" y="181"/>
                      </a:lnTo>
                      <a:lnTo>
                        <a:pt x="272" y="192"/>
                      </a:lnTo>
                      <a:lnTo>
                        <a:pt x="283" y="194"/>
                      </a:lnTo>
                      <a:lnTo>
                        <a:pt x="300" y="187"/>
                      </a:lnTo>
                      <a:lnTo>
                        <a:pt x="316" y="185"/>
                      </a:lnTo>
                      <a:lnTo>
                        <a:pt x="327" y="176"/>
                      </a:lnTo>
                      <a:lnTo>
                        <a:pt x="333" y="167"/>
                      </a:lnTo>
                      <a:lnTo>
                        <a:pt x="353" y="145"/>
                      </a:lnTo>
                      <a:lnTo>
                        <a:pt x="364" y="134"/>
                      </a:lnTo>
                      <a:lnTo>
                        <a:pt x="370" y="117"/>
                      </a:lnTo>
                      <a:lnTo>
                        <a:pt x="366" y="91"/>
                      </a:lnTo>
                      <a:lnTo>
                        <a:pt x="357" y="85"/>
                      </a:lnTo>
                      <a:lnTo>
                        <a:pt x="340" y="69"/>
                      </a:lnTo>
                      <a:lnTo>
                        <a:pt x="333" y="52"/>
                      </a:lnTo>
                      <a:lnTo>
                        <a:pt x="326" y="33"/>
                      </a:lnTo>
                      <a:lnTo>
                        <a:pt x="311" y="20"/>
                      </a:lnTo>
                      <a:lnTo>
                        <a:pt x="302" y="19"/>
                      </a:lnTo>
                      <a:lnTo>
                        <a:pt x="272" y="20"/>
                      </a:lnTo>
                      <a:lnTo>
                        <a:pt x="259" y="30"/>
                      </a:lnTo>
                      <a:lnTo>
                        <a:pt x="250" y="33"/>
                      </a:lnTo>
                      <a:lnTo>
                        <a:pt x="235" y="19"/>
                      </a:lnTo>
                      <a:lnTo>
                        <a:pt x="222" y="13"/>
                      </a:lnTo>
                      <a:lnTo>
                        <a:pt x="213" y="4"/>
                      </a:lnTo>
                      <a:lnTo>
                        <a:pt x="207" y="2"/>
                      </a:lnTo>
                      <a:lnTo>
                        <a:pt x="191" y="0"/>
                      </a:lnTo>
                      <a:lnTo>
                        <a:pt x="178" y="4"/>
                      </a:lnTo>
                      <a:lnTo>
                        <a:pt x="167" y="4"/>
                      </a:lnTo>
                      <a:lnTo>
                        <a:pt x="161" y="9"/>
                      </a:lnTo>
                      <a:lnTo>
                        <a:pt x="155" y="19"/>
                      </a:lnTo>
                      <a:lnTo>
                        <a:pt x="155" y="39"/>
                      </a:lnTo>
                      <a:lnTo>
                        <a:pt x="159" y="61"/>
                      </a:lnTo>
                      <a:lnTo>
                        <a:pt x="159" y="71"/>
                      </a:lnTo>
                      <a:lnTo>
                        <a:pt x="144" y="85"/>
                      </a:lnTo>
                      <a:lnTo>
                        <a:pt x="135" y="93"/>
                      </a:lnTo>
                      <a:lnTo>
                        <a:pt x="128" y="84"/>
                      </a:lnTo>
                      <a:lnTo>
                        <a:pt x="109" y="76"/>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nvGrpSpPr>
                <p:cNvPr id="260" name="Group 82">
                  <a:extLst>
                    <a:ext uri="{FF2B5EF4-FFF2-40B4-BE49-F238E27FC236}">
                      <a16:creationId xmlns:a16="http://schemas.microsoft.com/office/drawing/2014/main" xmlns="" id="{600265C1-BEC8-4CD8-ADCB-F1DC1E449164}"/>
                    </a:ext>
                  </a:extLst>
                </p:cNvPr>
                <p:cNvGrpSpPr>
                  <a:grpSpLocks/>
                </p:cNvGrpSpPr>
                <p:nvPr/>
              </p:nvGrpSpPr>
              <p:grpSpPr bwMode="gray">
                <a:xfrm>
                  <a:off x="1277736" y="3467650"/>
                  <a:ext cx="575485" cy="959990"/>
                  <a:chOff x="1158" y="1432"/>
                  <a:chExt cx="452" cy="754"/>
                </a:xfrm>
                <a:solidFill>
                  <a:schemeClr val="accent3"/>
                </a:solidFill>
              </p:grpSpPr>
              <p:sp>
                <p:nvSpPr>
                  <p:cNvPr id="261" name="Freeform 76">
                    <a:extLst>
                      <a:ext uri="{FF2B5EF4-FFF2-40B4-BE49-F238E27FC236}">
                        <a16:creationId xmlns:a16="http://schemas.microsoft.com/office/drawing/2014/main" xmlns="" id="{A45FD59B-CE54-418D-973F-8FC5FAF45E70}"/>
                      </a:ext>
                    </a:extLst>
                  </p:cNvPr>
                  <p:cNvSpPr>
                    <a:spLocks/>
                  </p:cNvSpPr>
                  <p:nvPr/>
                </p:nvSpPr>
                <p:spPr bwMode="gray">
                  <a:xfrm>
                    <a:off x="1158" y="1441"/>
                    <a:ext cx="452" cy="745"/>
                  </a:xfrm>
                  <a:custGeom>
                    <a:avLst/>
                    <a:gdLst>
                      <a:gd name="T0" fmla="*/ 147 w 452"/>
                      <a:gd name="T1" fmla="*/ 515 h 745"/>
                      <a:gd name="T2" fmla="*/ 97 w 452"/>
                      <a:gd name="T3" fmla="*/ 549 h 745"/>
                      <a:gd name="T4" fmla="*/ 84 w 452"/>
                      <a:gd name="T5" fmla="*/ 580 h 745"/>
                      <a:gd name="T6" fmla="*/ 113 w 452"/>
                      <a:gd name="T7" fmla="*/ 597 h 745"/>
                      <a:gd name="T8" fmla="*/ 137 w 452"/>
                      <a:gd name="T9" fmla="*/ 608 h 745"/>
                      <a:gd name="T10" fmla="*/ 180 w 452"/>
                      <a:gd name="T11" fmla="*/ 617 h 745"/>
                      <a:gd name="T12" fmla="*/ 152 w 452"/>
                      <a:gd name="T13" fmla="*/ 651 h 745"/>
                      <a:gd name="T14" fmla="*/ 87 w 452"/>
                      <a:gd name="T15" fmla="*/ 632 h 745"/>
                      <a:gd name="T16" fmla="*/ 41 w 452"/>
                      <a:gd name="T17" fmla="*/ 671 h 745"/>
                      <a:gd name="T18" fmla="*/ 2 w 452"/>
                      <a:gd name="T19" fmla="*/ 691 h 745"/>
                      <a:gd name="T20" fmla="*/ 22 w 452"/>
                      <a:gd name="T21" fmla="*/ 708 h 745"/>
                      <a:gd name="T22" fmla="*/ 59 w 452"/>
                      <a:gd name="T23" fmla="*/ 702 h 745"/>
                      <a:gd name="T24" fmla="*/ 110 w 452"/>
                      <a:gd name="T25" fmla="*/ 723 h 745"/>
                      <a:gd name="T26" fmla="*/ 148 w 452"/>
                      <a:gd name="T27" fmla="*/ 689 h 745"/>
                      <a:gd name="T28" fmla="*/ 182 w 452"/>
                      <a:gd name="T29" fmla="*/ 710 h 745"/>
                      <a:gd name="T30" fmla="*/ 230 w 452"/>
                      <a:gd name="T31" fmla="*/ 717 h 745"/>
                      <a:gd name="T32" fmla="*/ 265 w 452"/>
                      <a:gd name="T33" fmla="*/ 714 h 745"/>
                      <a:gd name="T34" fmla="*/ 315 w 452"/>
                      <a:gd name="T35" fmla="*/ 734 h 745"/>
                      <a:gd name="T36" fmla="*/ 357 w 452"/>
                      <a:gd name="T37" fmla="*/ 738 h 745"/>
                      <a:gd name="T38" fmla="*/ 398 w 452"/>
                      <a:gd name="T39" fmla="*/ 723 h 745"/>
                      <a:gd name="T40" fmla="*/ 381 w 452"/>
                      <a:gd name="T41" fmla="*/ 689 h 745"/>
                      <a:gd name="T42" fmla="*/ 383 w 452"/>
                      <a:gd name="T43" fmla="*/ 667 h 745"/>
                      <a:gd name="T44" fmla="*/ 437 w 452"/>
                      <a:gd name="T45" fmla="*/ 632 h 745"/>
                      <a:gd name="T46" fmla="*/ 452 w 452"/>
                      <a:gd name="T47" fmla="*/ 584 h 745"/>
                      <a:gd name="T48" fmla="*/ 413 w 452"/>
                      <a:gd name="T49" fmla="*/ 558 h 745"/>
                      <a:gd name="T50" fmla="*/ 385 w 452"/>
                      <a:gd name="T51" fmla="*/ 556 h 745"/>
                      <a:gd name="T52" fmla="*/ 394 w 452"/>
                      <a:gd name="T53" fmla="*/ 510 h 745"/>
                      <a:gd name="T54" fmla="*/ 394 w 452"/>
                      <a:gd name="T55" fmla="*/ 447 h 745"/>
                      <a:gd name="T56" fmla="*/ 354 w 452"/>
                      <a:gd name="T57" fmla="*/ 374 h 745"/>
                      <a:gd name="T58" fmla="*/ 354 w 452"/>
                      <a:gd name="T59" fmla="*/ 317 h 745"/>
                      <a:gd name="T60" fmla="*/ 341 w 452"/>
                      <a:gd name="T61" fmla="*/ 272 h 745"/>
                      <a:gd name="T62" fmla="*/ 298 w 452"/>
                      <a:gd name="T63" fmla="*/ 248 h 745"/>
                      <a:gd name="T64" fmla="*/ 294 w 452"/>
                      <a:gd name="T65" fmla="*/ 230 h 745"/>
                      <a:gd name="T66" fmla="*/ 331 w 452"/>
                      <a:gd name="T67" fmla="*/ 235 h 745"/>
                      <a:gd name="T68" fmla="*/ 389 w 452"/>
                      <a:gd name="T69" fmla="*/ 165 h 745"/>
                      <a:gd name="T70" fmla="*/ 385 w 452"/>
                      <a:gd name="T71" fmla="*/ 120 h 745"/>
                      <a:gd name="T72" fmla="*/ 331 w 452"/>
                      <a:gd name="T73" fmla="*/ 98 h 745"/>
                      <a:gd name="T74" fmla="*/ 302 w 452"/>
                      <a:gd name="T75" fmla="*/ 100 h 745"/>
                      <a:gd name="T76" fmla="*/ 318 w 452"/>
                      <a:gd name="T77" fmla="*/ 72 h 745"/>
                      <a:gd name="T78" fmla="*/ 376 w 452"/>
                      <a:gd name="T79" fmla="*/ 37 h 745"/>
                      <a:gd name="T80" fmla="*/ 339 w 452"/>
                      <a:gd name="T81" fmla="*/ 13 h 745"/>
                      <a:gd name="T82" fmla="*/ 278 w 452"/>
                      <a:gd name="T83" fmla="*/ 22 h 745"/>
                      <a:gd name="T84" fmla="*/ 249 w 452"/>
                      <a:gd name="T85" fmla="*/ 48 h 745"/>
                      <a:gd name="T86" fmla="*/ 230 w 452"/>
                      <a:gd name="T87" fmla="*/ 83 h 745"/>
                      <a:gd name="T88" fmla="*/ 182 w 452"/>
                      <a:gd name="T89" fmla="*/ 143 h 745"/>
                      <a:gd name="T90" fmla="*/ 213 w 452"/>
                      <a:gd name="T91" fmla="*/ 155 h 745"/>
                      <a:gd name="T92" fmla="*/ 169 w 452"/>
                      <a:gd name="T93" fmla="*/ 230 h 745"/>
                      <a:gd name="T94" fmla="*/ 184 w 452"/>
                      <a:gd name="T95" fmla="*/ 241 h 745"/>
                      <a:gd name="T96" fmla="*/ 212 w 452"/>
                      <a:gd name="T97" fmla="*/ 257 h 745"/>
                      <a:gd name="T98" fmla="*/ 180 w 452"/>
                      <a:gd name="T99" fmla="*/ 302 h 745"/>
                      <a:gd name="T100" fmla="*/ 225 w 452"/>
                      <a:gd name="T101" fmla="*/ 331 h 745"/>
                      <a:gd name="T102" fmla="*/ 252 w 452"/>
                      <a:gd name="T103" fmla="*/ 341 h 745"/>
                      <a:gd name="T104" fmla="*/ 243 w 452"/>
                      <a:gd name="T105" fmla="*/ 405 h 745"/>
                      <a:gd name="T106" fmla="*/ 241 w 452"/>
                      <a:gd name="T107" fmla="*/ 449 h 745"/>
                      <a:gd name="T108" fmla="*/ 221 w 452"/>
                      <a:gd name="T109" fmla="*/ 46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745">
                        <a:moveTo>
                          <a:pt x="135" y="478"/>
                        </a:moveTo>
                        <a:lnTo>
                          <a:pt x="156" y="497"/>
                        </a:lnTo>
                        <a:lnTo>
                          <a:pt x="147" y="515"/>
                        </a:lnTo>
                        <a:lnTo>
                          <a:pt x="134" y="530"/>
                        </a:lnTo>
                        <a:lnTo>
                          <a:pt x="113" y="540"/>
                        </a:lnTo>
                        <a:lnTo>
                          <a:pt x="97" y="549"/>
                        </a:lnTo>
                        <a:lnTo>
                          <a:pt x="80" y="551"/>
                        </a:lnTo>
                        <a:lnTo>
                          <a:pt x="71" y="558"/>
                        </a:lnTo>
                        <a:lnTo>
                          <a:pt x="84" y="580"/>
                        </a:lnTo>
                        <a:lnTo>
                          <a:pt x="104" y="580"/>
                        </a:lnTo>
                        <a:lnTo>
                          <a:pt x="113" y="582"/>
                        </a:lnTo>
                        <a:lnTo>
                          <a:pt x="113" y="597"/>
                        </a:lnTo>
                        <a:lnTo>
                          <a:pt x="124" y="597"/>
                        </a:lnTo>
                        <a:lnTo>
                          <a:pt x="132" y="593"/>
                        </a:lnTo>
                        <a:lnTo>
                          <a:pt x="137" y="608"/>
                        </a:lnTo>
                        <a:lnTo>
                          <a:pt x="148" y="621"/>
                        </a:lnTo>
                        <a:lnTo>
                          <a:pt x="167" y="621"/>
                        </a:lnTo>
                        <a:lnTo>
                          <a:pt x="180" y="617"/>
                        </a:lnTo>
                        <a:lnTo>
                          <a:pt x="191" y="621"/>
                        </a:lnTo>
                        <a:lnTo>
                          <a:pt x="163" y="645"/>
                        </a:lnTo>
                        <a:lnTo>
                          <a:pt x="152" y="651"/>
                        </a:lnTo>
                        <a:lnTo>
                          <a:pt x="137" y="645"/>
                        </a:lnTo>
                        <a:lnTo>
                          <a:pt x="104" y="632"/>
                        </a:lnTo>
                        <a:lnTo>
                          <a:pt x="87" y="632"/>
                        </a:lnTo>
                        <a:lnTo>
                          <a:pt x="72" y="645"/>
                        </a:lnTo>
                        <a:lnTo>
                          <a:pt x="52" y="662"/>
                        </a:lnTo>
                        <a:lnTo>
                          <a:pt x="41" y="671"/>
                        </a:lnTo>
                        <a:lnTo>
                          <a:pt x="28" y="675"/>
                        </a:lnTo>
                        <a:lnTo>
                          <a:pt x="13" y="682"/>
                        </a:lnTo>
                        <a:lnTo>
                          <a:pt x="2" y="691"/>
                        </a:lnTo>
                        <a:lnTo>
                          <a:pt x="0" y="697"/>
                        </a:lnTo>
                        <a:lnTo>
                          <a:pt x="13" y="699"/>
                        </a:lnTo>
                        <a:lnTo>
                          <a:pt x="22" y="708"/>
                        </a:lnTo>
                        <a:lnTo>
                          <a:pt x="35" y="714"/>
                        </a:lnTo>
                        <a:lnTo>
                          <a:pt x="48" y="708"/>
                        </a:lnTo>
                        <a:lnTo>
                          <a:pt x="59" y="702"/>
                        </a:lnTo>
                        <a:lnTo>
                          <a:pt x="72" y="704"/>
                        </a:lnTo>
                        <a:lnTo>
                          <a:pt x="91" y="715"/>
                        </a:lnTo>
                        <a:lnTo>
                          <a:pt x="110" y="723"/>
                        </a:lnTo>
                        <a:lnTo>
                          <a:pt x="122" y="715"/>
                        </a:lnTo>
                        <a:lnTo>
                          <a:pt x="128" y="701"/>
                        </a:lnTo>
                        <a:lnTo>
                          <a:pt x="148" y="689"/>
                        </a:lnTo>
                        <a:lnTo>
                          <a:pt x="161" y="689"/>
                        </a:lnTo>
                        <a:lnTo>
                          <a:pt x="173" y="702"/>
                        </a:lnTo>
                        <a:lnTo>
                          <a:pt x="182" y="710"/>
                        </a:lnTo>
                        <a:lnTo>
                          <a:pt x="197" y="710"/>
                        </a:lnTo>
                        <a:lnTo>
                          <a:pt x="217" y="712"/>
                        </a:lnTo>
                        <a:lnTo>
                          <a:pt x="230" y="717"/>
                        </a:lnTo>
                        <a:lnTo>
                          <a:pt x="243" y="708"/>
                        </a:lnTo>
                        <a:lnTo>
                          <a:pt x="254" y="708"/>
                        </a:lnTo>
                        <a:lnTo>
                          <a:pt x="265" y="714"/>
                        </a:lnTo>
                        <a:lnTo>
                          <a:pt x="279" y="728"/>
                        </a:lnTo>
                        <a:lnTo>
                          <a:pt x="296" y="730"/>
                        </a:lnTo>
                        <a:lnTo>
                          <a:pt x="315" y="734"/>
                        </a:lnTo>
                        <a:lnTo>
                          <a:pt x="328" y="741"/>
                        </a:lnTo>
                        <a:lnTo>
                          <a:pt x="344" y="745"/>
                        </a:lnTo>
                        <a:lnTo>
                          <a:pt x="357" y="738"/>
                        </a:lnTo>
                        <a:lnTo>
                          <a:pt x="374" y="728"/>
                        </a:lnTo>
                        <a:lnTo>
                          <a:pt x="385" y="726"/>
                        </a:lnTo>
                        <a:lnTo>
                          <a:pt x="398" y="723"/>
                        </a:lnTo>
                        <a:lnTo>
                          <a:pt x="411" y="712"/>
                        </a:lnTo>
                        <a:lnTo>
                          <a:pt x="402" y="701"/>
                        </a:lnTo>
                        <a:lnTo>
                          <a:pt x="381" y="689"/>
                        </a:lnTo>
                        <a:lnTo>
                          <a:pt x="374" y="682"/>
                        </a:lnTo>
                        <a:lnTo>
                          <a:pt x="374" y="675"/>
                        </a:lnTo>
                        <a:lnTo>
                          <a:pt x="383" y="667"/>
                        </a:lnTo>
                        <a:lnTo>
                          <a:pt x="398" y="665"/>
                        </a:lnTo>
                        <a:lnTo>
                          <a:pt x="413" y="658"/>
                        </a:lnTo>
                        <a:lnTo>
                          <a:pt x="437" y="632"/>
                        </a:lnTo>
                        <a:lnTo>
                          <a:pt x="448" y="619"/>
                        </a:lnTo>
                        <a:lnTo>
                          <a:pt x="452" y="597"/>
                        </a:lnTo>
                        <a:lnTo>
                          <a:pt x="452" y="584"/>
                        </a:lnTo>
                        <a:lnTo>
                          <a:pt x="441" y="575"/>
                        </a:lnTo>
                        <a:lnTo>
                          <a:pt x="426" y="564"/>
                        </a:lnTo>
                        <a:lnTo>
                          <a:pt x="413" y="558"/>
                        </a:lnTo>
                        <a:lnTo>
                          <a:pt x="398" y="560"/>
                        </a:lnTo>
                        <a:lnTo>
                          <a:pt x="389" y="565"/>
                        </a:lnTo>
                        <a:lnTo>
                          <a:pt x="385" y="556"/>
                        </a:lnTo>
                        <a:lnTo>
                          <a:pt x="393" y="541"/>
                        </a:lnTo>
                        <a:lnTo>
                          <a:pt x="396" y="530"/>
                        </a:lnTo>
                        <a:lnTo>
                          <a:pt x="394" y="510"/>
                        </a:lnTo>
                        <a:lnTo>
                          <a:pt x="393" y="482"/>
                        </a:lnTo>
                        <a:lnTo>
                          <a:pt x="398" y="460"/>
                        </a:lnTo>
                        <a:lnTo>
                          <a:pt x="394" y="447"/>
                        </a:lnTo>
                        <a:lnTo>
                          <a:pt x="385" y="431"/>
                        </a:lnTo>
                        <a:lnTo>
                          <a:pt x="363" y="392"/>
                        </a:lnTo>
                        <a:lnTo>
                          <a:pt x="354" y="374"/>
                        </a:lnTo>
                        <a:lnTo>
                          <a:pt x="350" y="352"/>
                        </a:lnTo>
                        <a:lnTo>
                          <a:pt x="348" y="339"/>
                        </a:lnTo>
                        <a:lnTo>
                          <a:pt x="354" y="317"/>
                        </a:lnTo>
                        <a:lnTo>
                          <a:pt x="354" y="300"/>
                        </a:lnTo>
                        <a:lnTo>
                          <a:pt x="350" y="281"/>
                        </a:lnTo>
                        <a:lnTo>
                          <a:pt x="341" y="272"/>
                        </a:lnTo>
                        <a:lnTo>
                          <a:pt x="324" y="255"/>
                        </a:lnTo>
                        <a:lnTo>
                          <a:pt x="311" y="250"/>
                        </a:lnTo>
                        <a:lnTo>
                          <a:pt x="298" y="248"/>
                        </a:lnTo>
                        <a:lnTo>
                          <a:pt x="289" y="246"/>
                        </a:lnTo>
                        <a:lnTo>
                          <a:pt x="289" y="237"/>
                        </a:lnTo>
                        <a:lnTo>
                          <a:pt x="294" y="230"/>
                        </a:lnTo>
                        <a:lnTo>
                          <a:pt x="309" y="228"/>
                        </a:lnTo>
                        <a:lnTo>
                          <a:pt x="322" y="233"/>
                        </a:lnTo>
                        <a:lnTo>
                          <a:pt x="331" y="235"/>
                        </a:lnTo>
                        <a:lnTo>
                          <a:pt x="337" y="226"/>
                        </a:lnTo>
                        <a:lnTo>
                          <a:pt x="335" y="215"/>
                        </a:lnTo>
                        <a:lnTo>
                          <a:pt x="389" y="165"/>
                        </a:lnTo>
                        <a:lnTo>
                          <a:pt x="398" y="154"/>
                        </a:lnTo>
                        <a:lnTo>
                          <a:pt x="398" y="131"/>
                        </a:lnTo>
                        <a:lnTo>
                          <a:pt x="385" y="120"/>
                        </a:lnTo>
                        <a:lnTo>
                          <a:pt x="370" y="118"/>
                        </a:lnTo>
                        <a:lnTo>
                          <a:pt x="357" y="98"/>
                        </a:lnTo>
                        <a:lnTo>
                          <a:pt x="331" y="98"/>
                        </a:lnTo>
                        <a:lnTo>
                          <a:pt x="331" y="98"/>
                        </a:lnTo>
                        <a:lnTo>
                          <a:pt x="307" y="102"/>
                        </a:lnTo>
                        <a:lnTo>
                          <a:pt x="302" y="100"/>
                        </a:lnTo>
                        <a:lnTo>
                          <a:pt x="296" y="91"/>
                        </a:lnTo>
                        <a:lnTo>
                          <a:pt x="307" y="83"/>
                        </a:lnTo>
                        <a:lnTo>
                          <a:pt x="318" y="72"/>
                        </a:lnTo>
                        <a:lnTo>
                          <a:pt x="341" y="52"/>
                        </a:lnTo>
                        <a:lnTo>
                          <a:pt x="359" y="50"/>
                        </a:lnTo>
                        <a:lnTo>
                          <a:pt x="376" y="37"/>
                        </a:lnTo>
                        <a:lnTo>
                          <a:pt x="393" y="24"/>
                        </a:lnTo>
                        <a:lnTo>
                          <a:pt x="355" y="15"/>
                        </a:lnTo>
                        <a:lnTo>
                          <a:pt x="339" y="13"/>
                        </a:lnTo>
                        <a:lnTo>
                          <a:pt x="320" y="11"/>
                        </a:lnTo>
                        <a:lnTo>
                          <a:pt x="298" y="0"/>
                        </a:lnTo>
                        <a:lnTo>
                          <a:pt x="278" y="22"/>
                        </a:lnTo>
                        <a:lnTo>
                          <a:pt x="279" y="33"/>
                        </a:lnTo>
                        <a:lnTo>
                          <a:pt x="267" y="37"/>
                        </a:lnTo>
                        <a:lnTo>
                          <a:pt x="249" y="48"/>
                        </a:lnTo>
                        <a:lnTo>
                          <a:pt x="232" y="54"/>
                        </a:lnTo>
                        <a:lnTo>
                          <a:pt x="232" y="70"/>
                        </a:lnTo>
                        <a:lnTo>
                          <a:pt x="230" y="83"/>
                        </a:lnTo>
                        <a:lnTo>
                          <a:pt x="215" y="104"/>
                        </a:lnTo>
                        <a:lnTo>
                          <a:pt x="191" y="130"/>
                        </a:lnTo>
                        <a:lnTo>
                          <a:pt x="182" y="143"/>
                        </a:lnTo>
                        <a:lnTo>
                          <a:pt x="187" y="152"/>
                        </a:lnTo>
                        <a:lnTo>
                          <a:pt x="212" y="150"/>
                        </a:lnTo>
                        <a:lnTo>
                          <a:pt x="213" y="155"/>
                        </a:lnTo>
                        <a:lnTo>
                          <a:pt x="213" y="165"/>
                        </a:lnTo>
                        <a:lnTo>
                          <a:pt x="180" y="207"/>
                        </a:lnTo>
                        <a:lnTo>
                          <a:pt x="169" y="230"/>
                        </a:lnTo>
                        <a:lnTo>
                          <a:pt x="161" y="250"/>
                        </a:lnTo>
                        <a:lnTo>
                          <a:pt x="169" y="259"/>
                        </a:lnTo>
                        <a:lnTo>
                          <a:pt x="184" y="241"/>
                        </a:lnTo>
                        <a:lnTo>
                          <a:pt x="199" y="220"/>
                        </a:lnTo>
                        <a:lnTo>
                          <a:pt x="210" y="226"/>
                        </a:lnTo>
                        <a:lnTo>
                          <a:pt x="212" y="257"/>
                        </a:lnTo>
                        <a:lnTo>
                          <a:pt x="213" y="278"/>
                        </a:lnTo>
                        <a:lnTo>
                          <a:pt x="193" y="289"/>
                        </a:lnTo>
                        <a:lnTo>
                          <a:pt x="180" y="302"/>
                        </a:lnTo>
                        <a:lnTo>
                          <a:pt x="176" y="313"/>
                        </a:lnTo>
                        <a:lnTo>
                          <a:pt x="202" y="335"/>
                        </a:lnTo>
                        <a:lnTo>
                          <a:pt x="225" y="331"/>
                        </a:lnTo>
                        <a:lnTo>
                          <a:pt x="230" y="344"/>
                        </a:lnTo>
                        <a:lnTo>
                          <a:pt x="254" y="329"/>
                        </a:lnTo>
                        <a:lnTo>
                          <a:pt x="252" y="341"/>
                        </a:lnTo>
                        <a:lnTo>
                          <a:pt x="232" y="365"/>
                        </a:lnTo>
                        <a:lnTo>
                          <a:pt x="241" y="391"/>
                        </a:lnTo>
                        <a:lnTo>
                          <a:pt x="243" y="405"/>
                        </a:lnTo>
                        <a:lnTo>
                          <a:pt x="264" y="407"/>
                        </a:lnTo>
                        <a:lnTo>
                          <a:pt x="265" y="420"/>
                        </a:lnTo>
                        <a:lnTo>
                          <a:pt x="241" y="449"/>
                        </a:lnTo>
                        <a:lnTo>
                          <a:pt x="232" y="445"/>
                        </a:lnTo>
                        <a:lnTo>
                          <a:pt x="223" y="454"/>
                        </a:lnTo>
                        <a:lnTo>
                          <a:pt x="221" y="469"/>
                        </a:lnTo>
                        <a:lnTo>
                          <a:pt x="197" y="456"/>
                        </a:lnTo>
                        <a:lnTo>
                          <a:pt x="135" y="478"/>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62" name="Freeform 77">
                    <a:extLst>
                      <a:ext uri="{FF2B5EF4-FFF2-40B4-BE49-F238E27FC236}">
                        <a16:creationId xmlns:a16="http://schemas.microsoft.com/office/drawing/2014/main" xmlns="" id="{FB7F5EAC-F960-4448-AA5E-EB5E031F0053}"/>
                      </a:ext>
                    </a:extLst>
                  </p:cNvPr>
                  <p:cNvSpPr>
                    <a:spLocks/>
                  </p:cNvSpPr>
                  <p:nvPr/>
                </p:nvSpPr>
                <p:spPr bwMode="gray">
                  <a:xfrm>
                    <a:off x="1321" y="1802"/>
                    <a:ext cx="37" cy="27"/>
                  </a:xfrm>
                  <a:custGeom>
                    <a:avLst/>
                    <a:gdLst>
                      <a:gd name="T0" fmla="*/ 19 w 37"/>
                      <a:gd name="T1" fmla="*/ 0 h 27"/>
                      <a:gd name="T2" fmla="*/ 35 w 37"/>
                      <a:gd name="T3" fmla="*/ 2 h 27"/>
                      <a:gd name="T4" fmla="*/ 37 w 37"/>
                      <a:gd name="T5" fmla="*/ 12 h 27"/>
                      <a:gd name="T6" fmla="*/ 20 w 37"/>
                      <a:gd name="T7" fmla="*/ 23 h 27"/>
                      <a:gd name="T8" fmla="*/ 2 w 37"/>
                      <a:gd name="T9" fmla="*/ 27 h 27"/>
                      <a:gd name="T10" fmla="*/ 0 w 37"/>
                      <a:gd name="T11" fmla="*/ 15 h 27"/>
                      <a:gd name="T12" fmla="*/ 19 w 3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37" h="27">
                        <a:moveTo>
                          <a:pt x="19" y="0"/>
                        </a:moveTo>
                        <a:lnTo>
                          <a:pt x="35" y="2"/>
                        </a:lnTo>
                        <a:lnTo>
                          <a:pt x="37" y="12"/>
                        </a:lnTo>
                        <a:lnTo>
                          <a:pt x="20" y="23"/>
                        </a:lnTo>
                        <a:lnTo>
                          <a:pt x="2" y="27"/>
                        </a:lnTo>
                        <a:lnTo>
                          <a:pt x="0" y="15"/>
                        </a:lnTo>
                        <a:lnTo>
                          <a:pt x="19"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63" name="Freeform 78">
                    <a:extLst>
                      <a:ext uri="{FF2B5EF4-FFF2-40B4-BE49-F238E27FC236}">
                        <a16:creationId xmlns:a16="http://schemas.microsoft.com/office/drawing/2014/main" xmlns="" id="{E4BCDB5F-9129-44B6-9071-3B466E8548ED}"/>
                      </a:ext>
                    </a:extLst>
                  </p:cNvPr>
                  <p:cNvSpPr>
                    <a:spLocks/>
                  </p:cNvSpPr>
                  <p:nvPr/>
                </p:nvSpPr>
                <p:spPr bwMode="gray">
                  <a:xfrm>
                    <a:off x="1295" y="1627"/>
                    <a:ext cx="37" cy="27"/>
                  </a:xfrm>
                  <a:custGeom>
                    <a:avLst/>
                    <a:gdLst>
                      <a:gd name="T0" fmla="*/ 31 w 37"/>
                      <a:gd name="T1" fmla="*/ 0 h 27"/>
                      <a:gd name="T2" fmla="*/ 37 w 37"/>
                      <a:gd name="T3" fmla="*/ 13 h 27"/>
                      <a:gd name="T4" fmla="*/ 19 w 37"/>
                      <a:gd name="T5" fmla="*/ 23 h 27"/>
                      <a:gd name="T6" fmla="*/ 4 w 37"/>
                      <a:gd name="T7" fmla="*/ 27 h 27"/>
                      <a:gd name="T8" fmla="*/ 0 w 37"/>
                      <a:gd name="T9" fmla="*/ 14 h 27"/>
                      <a:gd name="T10" fmla="*/ 7 w 37"/>
                      <a:gd name="T11" fmla="*/ 5 h 27"/>
                      <a:gd name="T12" fmla="*/ 31 w 3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37" h="27">
                        <a:moveTo>
                          <a:pt x="31" y="0"/>
                        </a:moveTo>
                        <a:lnTo>
                          <a:pt x="37" y="13"/>
                        </a:lnTo>
                        <a:lnTo>
                          <a:pt x="19" y="23"/>
                        </a:lnTo>
                        <a:lnTo>
                          <a:pt x="4" y="27"/>
                        </a:lnTo>
                        <a:lnTo>
                          <a:pt x="0" y="14"/>
                        </a:lnTo>
                        <a:lnTo>
                          <a:pt x="7" y="5"/>
                        </a:lnTo>
                        <a:lnTo>
                          <a:pt x="31"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64" name="Freeform 79">
                    <a:extLst>
                      <a:ext uri="{FF2B5EF4-FFF2-40B4-BE49-F238E27FC236}">
                        <a16:creationId xmlns:a16="http://schemas.microsoft.com/office/drawing/2014/main" xmlns="" id="{0C66B47A-2199-4582-A6ED-0F5092DAC0A3}"/>
                      </a:ext>
                    </a:extLst>
                  </p:cNvPr>
                  <p:cNvSpPr>
                    <a:spLocks/>
                  </p:cNvSpPr>
                  <p:nvPr/>
                </p:nvSpPr>
                <p:spPr bwMode="gray">
                  <a:xfrm>
                    <a:off x="1349" y="1491"/>
                    <a:ext cx="20" cy="52"/>
                  </a:xfrm>
                  <a:custGeom>
                    <a:avLst/>
                    <a:gdLst>
                      <a:gd name="T0" fmla="*/ 9 w 20"/>
                      <a:gd name="T1" fmla="*/ 52 h 52"/>
                      <a:gd name="T2" fmla="*/ 20 w 20"/>
                      <a:gd name="T3" fmla="*/ 39 h 52"/>
                      <a:gd name="T4" fmla="*/ 16 w 20"/>
                      <a:gd name="T5" fmla="*/ 22 h 52"/>
                      <a:gd name="T6" fmla="*/ 13 w 20"/>
                      <a:gd name="T7" fmla="*/ 13 h 52"/>
                      <a:gd name="T8" fmla="*/ 9 w 20"/>
                      <a:gd name="T9" fmla="*/ 0 h 52"/>
                      <a:gd name="T10" fmla="*/ 0 w 20"/>
                      <a:gd name="T11" fmla="*/ 6 h 52"/>
                      <a:gd name="T12" fmla="*/ 5 w 20"/>
                      <a:gd name="T13" fmla="*/ 24 h 52"/>
                      <a:gd name="T14" fmla="*/ 9 w 20"/>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9" y="52"/>
                        </a:moveTo>
                        <a:lnTo>
                          <a:pt x="20" y="39"/>
                        </a:lnTo>
                        <a:lnTo>
                          <a:pt x="16" y="22"/>
                        </a:lnTo>
                        <a:lnTo>
                          <a:pt x="13" y="13"/>
                        </a:lnTo>
                        <a:lnTo>
                          <a:pt x="9" y="0"/>
                        </a:lnTo>
                        <a:lnTo>
                          <a:pt x="0" y="6"/>
                        </a:lnTo>
                        <a:lnTo>
                          <a:pt x="5" y="24"/>
                        </a:lnTo>
                        <a:lnTo>
                          <a:pt x="9" y="52"/>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65" name="Freeform 80">
                    <a:extLst>
                      <a:ext uri="{FF2B5EF4-FFF2-40B4-BE49-F238E27FC236}">
                        <a16:creationId xmlns:a16="http://schemas.microsoft.com/office/drawing/2014/main" xmlns="" id="{CD7AEC5A-9FEB-4511-8F3D-39CDF4D9C935}"/>
                      </a:ext>
                    </a:extLst>
                  </p:cNvPr>
                  <p:cNvSpPr>
                    <a:spLocks/>
                  </p:cNvSpPr>
                  <p:nvPr/>
                </p:nvSpPr>
                <p:spPr bwMode="gray">
                  <a:xfrm>
                    <a:off x="1202" y="1694"/>
                    <a:ext cx="97" cy="99"/>
                  </a:xfrm>
                  <a:custGeom>
                    <a:avLst/>
                    <a:gdLst>
                      <a:gd name="T0" fmla="*/ 34 w 97"/>
                      <a:gd name="T1" fmla="*/ 0 h 99"/>
                      <a:gd name="T2" fmla="*/ 56 w 97"/>
                      <a:gd name="T3" fmla="*/ 0 h 99"/>
                      <a:gd name="T4" fmla="*/ 73 w 97"/>
                      <a:gd name="T5" fmla="*/ 4 h 99"/>
                      <a:gd name="T6" fmla="*/ 84 w 97"/>
                      <a:gd name="T7" fmla="*/ 20 h 99"/>
                      <a:gd name="T8" fmla="*/ 95 w 97"/>
                      <a:gd name="T9" fmla="*/ 46 h 99"/>
                      <a:gd name="T10" fmla="*/ 97 w 97"/>
                      <a:gd name="T11" fmla="*/ 68 h 99"/>
                      <a:gd name="T12" fmla="*/ 86 w 97"/>
                      <a:gd name="T13" fmla="*/ 79 h 99"/>
                      <a:gd name="T14" fmla="*/ 82 w 97"/>
                      <a:gd name="T15" fmla="*/ 94 h 99"/>
                      <a:gd name="T16" fmla="*/ 71 w 97"/>
                      <a:gd name="T17" fmla="*/ 99 h 99"/>
                      <a:gd name="T18" fmla="*/ 60 w 97"/>
                      <a:gd name="T19" fmla="*/ 86 h 99"/>
                      <a:gd name="T20" fmla="*/ 50 w 97"/>
                      <a:gd name="T21" fmla="*/ 62 h 99"/>
                      <a:gd name="T22" fmla="*/ 43 w 97"/>
                      <a:gd name="T23" fmla="*/ 53 h 99"/>
                      <a:gd name="T24" fmla="*/ 24 w 97"/>
                      <a:gd name="T25" fmla="*/ 51 h 99"/>
                      <a:gd name="T26" fmla="*/ 0 w 97"/>
                      <a:gd name="T27" fmla="*/ 26 h 99"/>
                      <a:gd name="T28" fmla="*/ 34 w 97"/>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99">
                        <a:moveTo>
                          <a:pt x="34" y="0"/>
                        </a:moveTo>
                        <a:lnTo>
                          <a:pt x="56" y="0"/>
                        </a:lnTo>
                        <a:lnTo>
                          <a:pt x="73" y="4"/>
                        </a:lnTo>
                        <a:lnTo>
                          <a:pt x="84" y="20"/>
                        </a:lnTo>
                        <a:lnTo>
                          <a:pt x="95" y="46"/>
                        </a:lnTo>
                        <a:lnTo>
                          <a:pt x="97" y="68"/>
                        </a:lnTo>
                        <a:lnTo>
                          <a:pt x="86" y="79"/>
                        </a:lnTo>
                        <a:lnTo>
                          <a:pt x="82" y="94"/>
                        </a:lnTo>
                        <a:lnTo>
                          <a:pt x="71" y="99"/>
                        </a:lnTo>
                        <a:lnTo>
                          <a:pt x="60" y="86"/>
                        </a:lnTo>
                        <a:lnTo>
                          <a:pt x="50" y="62"/>
                        </a:lnTo>
                        <a:lnTo>
                          <a:pt x="43" y="53"/>
                        </a:lnTo>
                        <a:lnTo>
                          <a:pt x="24" y="51"/>
                        </a:lnTo>
                        <a:lnTo>
                          <a:pt x="0" y="26"/>
                        </a:lnTo>
                        <a:lnTo>
                          <a:pt x="34"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66" name="Freeform 81">
                    <a:extLst>
                      <a:ext uri="{FF2B5EF4-FFF2-40B4-BE49-F238E27FC236}">
                        <a16:creationId xmlns:a16="http://schemas.microsoft.com/office/drawing/2014/main" xmlns="" id="{3AB383A2-4C94-450F-9F2E-B06A8B72695E}"/>
                      </a:ext>
                    </a:extLst>
                  </p:cNvPr>
                  <p:cNvSpPr>
                    <a:spLocks/>
                  </p:cNvSpPr>
                  <p:nvPr/>
                </p:nvSpPr>
                <p:spPr bwMode="gray">
                  <a:xfrm>
                    <a:off x="1345" y="1432"/>
                    <a:ext cx="50" cy="37"/>
                  </a:xfrm>
                  <a:custGeom>
                    <a:avLst/>
                    <a:gdLst>
                      <a:gd name="T0" fmla="*/ 44 w 50"/>
                      <a:gd name="T1" fmla="*/ 0 h 37"/>
                      <a:gd name="T2" fmla="*/ 50 w 50"/>
                      <a:gd name="T3" fmla="*/ 9 h 37"/>
                      <a:gd name="T4" fmla="*/ 31 w 50"/>
                      <a:gd name="T5" fmla="*/ 20 h 37"/>
                      <a:gd name="T6" fmla="*/ 13 w 50"/>
                      <a:gd name="T7" fmla="*/ 37 h 37"/>
                      <a:gd name="T8" fmla="*/ 2 w 50"/>
                      <a:gd name="T9" fmla="*/ 33 h 37"/>
                      <a:gd name="T10" fmla="*/ 0 w 50"/>
                      <a:gd name="T11" fmla="*/ 13 h 37"/>
                      <a:gd name="T12" fmla="*/ 0 w 50"/>
                      <a:gd name="T13" fmla="*/ 6 h 37"/>
                      <a:gd name="T14" fmla="*/ 30 w 50"/>
                      <a:gd name="T15" fmla="*/ 0 h 37"/>
                      <a:gd name="T16" fmla="*/ 44 w 50"/>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7">
                        <a:moveTo>
                          <a:pt x="44" y="0"/>
                        </a:moveTo>
                        <a:lnTo>
                          <a:pt x="50" y="9"/>
                        </a:lnTo>
                        <a:lnTo>
                          <a:pt x="31" y="20"/>
                        </a:lnTo>
                        <a:lnTo>
                          <a:pt x="13" y="37"/>
                        </a:lnTo>
                        <a:lnTo>
                          <a:pt x="2" y="33"/>
                        </a:lnTo>
                        <a:lnTo>
                          <a:pt x="0" y="13"/>
                        </a:lnTo>
                        <a:lnTo>
                          <a:pt x="0" y="6"/>
                        </a:lnTo>
                        <a:lnTo>
                          <a:pt x="30" y="0"/>
                        </a:lnTo>
                        <a:lnTo>
                          <a:pt x="44"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grpSp>
              <p:nvGrpSpPr>
                <p:cNvPr id="273" name="Group 501">
                  <a:extLst>
                    <a:ext uri="{FF2B5EF4-FFF2-40B4-BE49-F238E27FC236}">
                      <a16:creationId xmlns:a16="http://schemas.microsoft.com/office/drawing/2014/main" xmlns="" id="{49CBE0E3-EFA5-41BA-AC2F-FCD37E832231}"/>
                    </a:ext>
                  </a:extLst>
                </p:cNvPr>
                <p:cNvGrpSpPr>
                  <a:grpSpLocks/>
                </p:cNvGrpSpPr>
                <p:nvPr/>
              </p:nvGrpSpPr>
              <p:grpSpPr bwMode="gray">
                <a:xfrm>
                  <a:off x="2598041" y="2566227"/>
                  <a:ext cx="706624" cy="1511284"/>
                  <a:chOff x="3019" y="860"/>
                  <a:chExt cx="555" cy="1187"/>
                </a:xfrm>
              </p:grpSpPr>
              <p:grpSp>
                <p:nvGrpSpPr>
                  <p:cNvPr id="274" name="Group 95">
                    <a:extLst>
                      <a:ext uri="{FF2B5EF4-FFF2-40B4-BE49-F238E27FC236}">
                        <a16:creationId xmlns:a16="http://schemas.microsoft.com/office/drawing/2014/main" xmlns="" id="{AEF6AE91-CA98-4069-8028-AF0E02EE631C}"/>
                      </a:ext>
                    </a:extLst>
                  </p:cNvPr>
                  <p:cNvGrpSpPr>
                    <a:grpSpLocks/>
                  </p:cNvGrpSpPr>
                  <p:nvPr/>
                </p:nvGrpSpPr>
                <p:grpSpPr bwMode="gray">
                  <a:xfrm>
                    <a:off x="3019" y="860"/>
                    <a:ext cx="555" cy="1187"/>
                    <a:chOff x="2195" y="724"/>
                    <a:chExt cx="555" cy="1187"/>
                  </a:xfrm>
                </p:grpSpPr>
                <p:sp>
                  <p:nvSpPr>
                    <p:cNvPr id="280" name="Freeform 90">
                      <a:extLst>
                        <a:ext uri="{FF2B5EF4-FFF2-40B4-BE49-F238E27FC236}">
                          <a16:creationId xmlns:a16="http://schemas.microsoft.com/office/drawing/2014/main" xmlns="" id="{D15E0119-3A61-4B2E-88BD-1CCA009C74A4}"/>
                        </a:ext>
                      </a:extLst>
                    </p:cNvPr>
                    <p:cNvSpPr>
                      <a:spLocks/>
                    </p:cNvSpPr>
                    <p:nvPr/>
                  </p:nvSpPr>
                  <p:spPr bwMode="gray">
                    <a:xfrm>
                      <a:off x="2416" y="1751"/>
                      <a:ext cx="37" cy="92"/>
                    </a:xfrm>
                    <a:custGeom>
                      <a:avLst/>
                      <a:gdLst>
                        <a:gd name="T0" fmla="*/ 37 w 37"/>
                        <a:gd name="T1" fmla="*/ 0 h 92"/>
                        <a:gd name="T2" fmla="*/ 35 w 37"/>
                        <a:gd name="T3" fmla="*/ 31 h 92"/>
                        <a:gd name="T4" fmla="*/ 24 w 37"/>
                        <a:gd name="T5" fmla="*/ 55 h 92"/>
                        <a:gd name="T6" fmla="*/ 7 w 37"/>
                        <a:gd name="T7" fmla="*/ 70 h 92"/>
                        <a:gd name="T8" fmla="*/ 11 w 37"/>
                        <a:gd name="T9" fmla="*/ 86 h 92"/>
                        <a:gd name="T10" fmla="*/ 4 w 37"/>
                        <a:gd name="T11" fmla="*/ 92 h 92"/>
                        <a:gd name="T12" fmla="*/ 0 w 37"/>
                        <a:gd name="T13" fmla="*/ 72 h 92"/>
                        <a:gd name="T14" fmla="*/ 6 w 37"/>
                        <a:gd name="T15" fmla="*/ 57 h 92"/>
                        <a:gd name="T16" fmla="*/ 11 w 37"/>
                        <a:gd name="T17" fmla="*/ 40 h 92"/>
                        <a:gd name="T18" fmla="*/ 37 w 37"/>
                        <a:gd name="T1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92">
                          <a:moveTo>
                            <a:pt x="37" y="0"/>
                          </a:moveTo>
                          <a:lnTo>
                            <a:pt x="35" y="31"/>
                          </a:lnTo>
                          <a:lnTo>
                            <a:pt x="24" y="55"/>
                          </a:lnTo>
                          <a:lnTo>
                            <a:pt x="7" y="70"/>
                          </a:lnTo>
                          <a:lnTo>
                            <a:pt x="11" y="86"/>
                          </a:lnTo>
                          <a:lnTo>
                            <a:pt x="4" y="92"/>
                          </a:lnTo>
                          <a:lnTo>
                            <a:pt x="0" y="72"/>
                          </a:lnTo>
                          <a:lnTo>
                            <a:pt x="6" y="57"/>
                          </a:lnTo>
                          <a:lnTo>
                            <a:pt x="11" y="40"/>
                          </a:lnTo>
                          <a:lnTo>
                            <a:pt x="37"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81" name="Freeform 91">
                      <a:extLst>
                        <a:ext uri="{FF2B5EF4-FFF2-40B4-BE49-F238E27FC236}">
                          <a16:creationId xmlns:a16="http://schemas.microsoft.com/office/drawing/2014/main" xmlns="" id="{A32DBBE4-27B1-4E06-9830-78179ADBDE08}"/>
                        </a:ext>
                      </a:extLst>
                    </p:cNvPr>
                    <p:cNvSpPr>
                      <a:spLocks/>
                    </p:cNvSpPr>
                    <p:nvPr/>
                  </p:nvSpPr>
                  <p:spPr bwMode="gray">
                    <a:xfrm>
                      <a:off x="2498" y="1708"/>
                      <a:ext cx="50" cy="73"/>
                    </a:xfrm>
                    <a:custGeom>
                      <a:avLst/>
                      <a:gdLst>
                        <a:gd name="T0" fmla="*/ 39 w 50"/>
                        <a:gd name="T1" fmla="*/ 0 h 73"/>
                        <a:gd name="T2" fmla="*/ 50 w 50"/>
                        <a:gd name="T3" fmla="*/ 0 h 73"/>
                        <a:gd name="T4" fmla="*/ 37 w 50"/>
                        <a:gd name="T5" fmla="*/ 15 h 73"/>
                        <a:gd name="T6" fmla="*/ 35 w 50"/>
                        <a:gd name="T7" fmla="*/ 26 h 73"/>
                        <a:gd name="T8" fmla="*/ 39 w 50"/>
                        <a:gd name="T9" fmla="*/ 41 h 73"/>
                        <a:gd name="T10" fmla="*/ 26 w 50"/>
                        <a:gd name="T11" fmla="*/ 56 h 73"/>
                        <a:gd name="T12" fmla="*/ 9 w 50"/>
                        <a:gd name="T13" fmla="*/ 73 h 73"/>
                        <a:gd name="T14" fmla="*/ 6 w 50"/>
                        <a:gd name="T15" fmla="*/ 56 h 73"/>
                        <a:gd name="T16" fmla="*/ 0 w 50"/>
                        <a:gd name="T17" fmla="*/ 49 h 73"/>
                        <a:gd name="T18" fmla="*/ 0 w 50"/>
                        <a:gd name="T19" fmla="*/ 36 h 73"/>
                        <a:gd name="T20" fmla="*/ 15 w 50"/>
                        <a:gd name="T21" fmla="*/ 22 h 73"/>
                        <a:gd name="T22" fmla="*/ 39 w 50"/>
                        <a:gd name="T2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3">
                          <a:moveTo>
                            <a:pt x="39" y="0"/>
                          </a:moveTo>
                          <a:lnTo>
                            <a:pt x="50" y="0"/>
                          </a:lnTo>
                          <a:lnTo>
                            <a:pt x="37" y="15"/>
                          </a:lnTo>
                          <a:lnTo>
                            <a:pt x="35" y="26"/>
                          </a:lnTo>
                          <a:lnTo>
                            <a:pt x="39" y="41"/>
                          </a:lnTo>
                          <a:lnTo>
                            <a:pt x="26" y="56"/>
                          </a:lnTo>
                          <a:lnTo>
                            <a:pt x="9" y="73"/>
                          </a:lnTo>
                          <a:lnTo>
                            <a:pt x="6" y="56"/>
                          </a:lnTo>
                          <a:lnTo>
                            <a:pt x="0" y="49"/>
                          </a:lnTo>
                          <a:lnTo>
                            <a:pt x="0" y="36"/>
                          </a:lnTo>
                          <a:lnTo>
                            <a:pt x="15" y="22"/>
                          </a:lnTo>
                          <a:lnTo>
                            <a:pt x="39"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nvGrpSpPr>
                    <p:cNvPr id="282" name="Group 94">
                      <a:extLst>
                        <a:ext uri="{FF2B5EF4-FFF2-40B4-BE49-F238E27FC236}">
                          <a16:creationId xmlns:a16="http://schemas.microsoft.com/office/drawing/2014/main" xmlns="" id="{F9291696-80AD-4F1B-BD15-880360D5BB6E}"/>
                        </a:ext>
                      </a:extLst>
                    </p:cNvPr>
                    <p:cNvGrpSpPr>
                      <a:grpSpLocks/>
                    </p:cNvGrpSpPr>
                    <p:nvPr/>
                  </p:nvGrpSpPr>
                  <p:grpSpPr bwMode="gray">
                    <a:xfrm>
                      <a:off x="2195" y="724"/>
                      <a:ext cx="555" cy="1187"/>
                      <a:chOff x="2195" y="724"/>
                      <a:chExt cx="555" cy="1187"/>
                    </a:xfrm>
                  </p:grpSpPr>
                  <p:sp>
                    <p:nvSpPr>
                      <p:cNvPr id="283" name="Freeform 92">
                        <a:extLst>
                          <a:ext uri="{FF2B5EF4-FFF2-40B4-BE49-F238E27FC236}">
                            <a16:creationId xmlns:a16="http://schemas.microsoft.com/office/drawing/2014/main" xmlns="" id="{E800FD9F-4CA9-4AA9-B0DF-B9F320D40F01}"/>
                          </a:ext>
                        </a:extLst>
                      </p:cNvPr>
                      <p:cNvSpPr>
                        <a:spLocks/>
                      </p:cNvSpPr>
                      <p:nvPr/>
                    </p:nvSpPr>
                    <p:spPr bwMode="gray">
                      <a:xfrm>
                        <a:off x="2195" y="724"/>
                        <a:ext cx="555" cy="1187"/>
                      </a:xfrm>
                      <a:custGeom>
                        <a:avLst/>
                        <a:gdLst>
                          <a:gd name="T0" fmla="*/ 436 w 555"/>
                          <a:gd name="T1" fmla="*/ 21 h 1187"/>
                          <a:gd name="T2" fmla="*/ 511 w 555"/>
                          <a:gd name="T3" fmla="*/ 73 h 1187"/>
                          <a:gd name="T4" fmla="*/ 518 w 555"/>
                          <a:gd name="T5" fmla="*/ 118 h 1187"/>
                          <a:gd name="T6" fmla="*/ 536 w 555"/>
                          <a:gd name="T7" fmla="*/ 158 h 1187"/>
                          <a:gd name="T8" fmla="*/ 533 w 555"/>
                          <a:gd name="T9" fmla="*/ 210 h 1187"/>
                          <a:gd name="T10" fmla="*/ 548 w 555"/>
                          <a:gd name="T11" fmla="*/ 247 h 1187"/>
                          <a:gd name="T12" fmla="*/ 544 w 555"/>
                          <a:gd name="T13" fmla="*/ 277 h 1187"/>
                          <a:gd name="T14" fmla="*/ 477 w 555"/>
                          <a:gd name="T15" fmla="*/ 284 h 1187"/>
                          <a:gd name="T16" fmla="*/ 448 w 555"/>
                          <a:gd name="T17" fmla="*/ 329 h 1187"/>
                          <a:gd name="T18" fmla="*/ 440 w 555"/>
                          <a:gd name="T19" fmla="*/ 362 h 1187"/>
                          <a:gd name="T20" fmla="*/ 444 w 555"/>
                          <a:gd name="T21" fmla="*/ 410 h 1187"/>
                          <a:gd name="T22" fmla="*/ 422 w 555"/>
                          <a:gd name="T23" fmla="*/ 455 h 1187"/>
                          <a:gd name="T24" fmla="*/ 358 w 555"/>
                          <a:gd name="T25" fmla="*/ 492 h 1187"/>
                          <a:gd name="T26" fmla="*/ 335 w 555"/>
                          <a:gd name="T27" fmla="*/ 514 h 1187"/>
                          <a:gd name="T28" fmla="*/ 306 w 555"/>
                          <a:gd name="T29" fmla="*/ 570 h 1187"/>
                          <a:gd name="T30" fmla="*/ 297 w 555"/>
                          <a:gd name="T31" fmla="*/ 613 h 1187"/>
                          <a:gd name="T32" fmla="*/ 271 w 555"/>
                          <a:gd name="T33" fmla="*/ 673 h 1187"/>
                          <a:gd name="T34" fmla="*/ 309 w 555"/>
                          <a:gd name="T35" fmla="*/ 751 h 1187"/>
                          <a:gd name="T36" fmla="*/ 339 w 555"/>
                          <a:gd name="T37" fmla="*/ 810 h 1187"/>
                          <a:gd name="T38" fmla="*/ 306 w 555"/>
                          <a:gd name="T39" fmla="*/ 832 h 1187"/>
                          <a:gd name="T40" fmla="*/ 278 w 555"/>
                          <a:gd name="T41" fmla="*/ 836 h 1187"/>
                          <a:gd name="T42" fmla="*/ 215 w 555"/>
                          <a:gd name="T43" fmla="*/ 840 h 1187"/>
                          <a:gd name="T44" fmla="*/ 274 w 555"/>
                          <a:gd name="T45" fmla="*/ 854 h 1187"/>
                          <a:gd name="T46" fmla="*/ 306 w 555"/>
                          <a:gd name="T47" fmla="*/ 873 h 1187"/>
                          <a:gd name="T48" fmla="*/ 285 w 555"/>
                          <a:gd name="T49" fmla="*/ 888 h 1187"/>
                          <a:gd name="T50" fmla="*/ 248 w 555"/>
                          <a:gd name="T51" fmla="*/ 921 h 1187"/>
                          <a:gd name="T52" fmla="*/ 237 w 555"/>
                          <a:gd name="T53" fmla="*/ 954 h 1187"/>
                          <a:gd name="T54" fmla="*/ 222 w 555"/>
                          <a:gd name="T55" fmla="*/ 1032 h 1187"/>
                          <a:gd name="T56" fmla="*/ 204 w 555"/>
                          <a:gd name="T57" fmla="*/ 1084 h 1187"/>
                          <a:gd name="T58" fmla="*/ 159 w 555"/>
                          <a:gd name="T59" fmla="*/ 1125 h 1187"/>
                          <a:gd name="T60" fmla="*/ 115 w 555"/>
                          <a:gd name="T61" fmla="*/ 1140 h 1187"/>
                          <a:gd name="T62" fmla="*/ 107 w 555"/>
                          <a:gd name="T63" fmla="*/ 1176 h 1187"/>
                          <a:gd name="T64" fmla="*/ 63 w 555"/>
                          <a:gd name="T65" fmla="*/ 1187 h 1187"/>
                          <a:gd name="T66" fmla="*/ 44 w 555"/>
                          <a:gd name="T67" fmla="*/ 1168 h 1187"/>
                          <a:gd name="T68" fmla="*/ 26 w 555"/>
                          <a:gd name="T69" fmla="*/ 1103 h 1187"/>
                          <a:gd name="T70" fmla="*/ 41 w 555"/>
                          <a:gd name="T71" fmla="*/ 1088 h 1187"/>
                          <a:gd name="T72" fmla="*/ 44 w 555"/>
                          <a:gd name="T73" fmla="*/ 1066 h 1187"/>
                          <a:gd name="T74" fmla="*/ 26 w 555"/>
                          <a:gd name="T75" fmla="*/ 1006 h 1187"/>
                          <a:gd name="T76" fmla="*/ 11 w 555"/>
                          <a:gd name="T77" fmla="*/ 958 h 1187"/>
                          <a:gd name="T78" fmla="*/ 0 w 555"/>
                          <a:gd name="T79" fmla="*/ 884 h 1187"/>
                          <a:gd name="T80" fmla="*/ 19 w 555"/>
                          <a:gd name="T81" fmla="*/ 854 h 1187"/>
                          <a:gd name="T82" fmla="*/ 33 w 555"/>
                          <a:gd name="T83" fmla="*/ 780 h 1187"/>
                          <a:gd name="T84" fmla="*/ 70 w 555"/>
                          <a:gd name="T85" fmla="*/ 736 h 1187"/>
                          <a:gd name="T86" fmla="*/ 59 w 555"/>
                          <a:gd name="T87" fmla="*/ 658 h 1187"/>
                          <a:gd name="T88" fmla="*/ 74 w 555"/>
                          <a:gd name="T89" fmla="*/ 621 h 1187"/>
                          <a:gd name="T90" fmla="*/ 67 w 555"/>
                          <a:gd name="T91" fmla="*/ 555 h 1187"/>
                          <a:gd name="T92" fmla="*/ 82 w 555"/>
                          <a:gd name="T93" fmla="*/ 477 h 1187"/>
                          <a:gd name="T94" fmla="*/ 130 w 555"/>
                          <a:gd name="T95" fmla="*/ 425 h 1187"/>
                          <a:gd name="T96" fmla="*/ 174 w 555"/>
                          <a:gd name="T97" fmla="*/ 410 h 1187"/>
                          <a:gd name="T98" fmla="*/ 156 w 555"/>
                          <a:gd name="T99" fmla="*/ 362 h 1187"/>
                          <a:gd name="T100" fmla="*/ 174 w 555"/>
                          <a:gd name="T101" fmla="*/ 322 h 1187"/>
                          <a:gd name="T102" fmla="*/ 185 w 555"/>
                          <a:gd name="T103" fmla="*/ 262 h 1187"/>
                          <a:gd name="T104" fmla="*/ 234 w 555"/>
                          <a:gd name="T105" fmla="*/ 225 h 1187"/>
                          <a:gd name="T106" fmla="*/ 256 w 555"/>
                          <a:gd name="T107" fmla="*/ 177 h 1187"/>
                          <a:gd name="T108" fmla="*/ 291 w 555"/>
                          <a:gd name="T109" fmla="*/ 103 h 1187"/>
                          <a:gd name="T110" fmla="*/ 330 w 555"/>
                          <a:gd name="T111" fmla="*/ 69 h 1187"/>
                          <a:gd name="T112" fmla="*/ 367 w 555"/>
                          <a:gd name="T113" fmla="*/ 42 h 1187"/>
                          <a:gd name="T114" fmla="*/ 414 w 555"/>
                          <a:gd name="T115"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 h="1187">
                            <a:moveTo>
                              <a:pt x="418" y="0"/>
                            </a:moveTo>
                            <a:lnTo>
                              <a:pt x="425" y="3"/>
                            </a:lnTo>
                            <a:lnTo>
                              <a:pt x="436" y="21"/>
                            </a:lnTo>
                            <a:lnTo>
                              <a:pt x="485" y="69"/>
                            </a:lnTo>
                            <a:lnTo>
                              <a:pt x="492" y="58"/>
                            </a:lnTo>
                            <a:lnTo>
                              <a:pt x="511" y="73"/>
                            </a:lnTo>
                            <a:lnTo>
                              <a:pt x="518" y="88"/>
                            </a:lnTo>
                            <a:lnTo>
                              <a:pt x="518" y="99"/>
                            </a:lnTo>
                            <a:lnTo>
                              <a:pt x="518" y="118"/>
                            </a:lnTo>
                            <a:lnTo>
                              <a:pt x="511" y="129"/>
                            </a:lnTo>
                            <a:lnTo>
                              <a:pt x="525" y="144"/>
                            </a:lnTo>
                            <a:lnTo>
                              <a:pt x="536" y="158"/>
                            </a:lnTo>
                            <a:lnTo>
                              <a:pt x="536" y="170"/>
                            </a:lnTo>
                            <a:lnTo>
                              <a:pt x="536" y="188"/>
                            </a:lnTo>
                            <a:lnTo>
                              <a:pt x="533" y="210"/>
                            </a:lnTo>
                            <a:lnTo>
                              <a:pt x="525" y="218"/>
                            </a:lnTo>
                            <a:lnTo>
                              <a:pt x="536" y="229"/>
                            </a:lnTo>
                            <a:lnTo>
                              <a:pt x="548" y="247"/>
                            </a:lnTo>
                            <a:lnTo>
                              <a:pt x="555" y="266"/>
                            </a:lnTo>
                            <a:lnTo>
                              <a:pt x="555" y="273"/>
                            </a:lnTo>
                            <a:lnTo>
                              <a:pt x="544" y="277"/>
                            </a:lnTo>
                            <a:lnTo>
                              <a:pt x="496" y="277"/>
                            </a:lnTo>
                            <a:lnTo>
                              <a:pt x="485" y="277"/>
                            </a:lnTo>
                            <a:lnTo>
                              <a:pt x="477" y="284"/>
                            </a:lnTo>
                            <a:lnTo>
                              <a:pt x="477" y="299"/>
                            </a:lnTo>
                            <a:lnTo>
                              <a:pt x="470" y="310"/>
                            </a:lnTo>
                            <a:lnTo>
                              <a:pt x="448" y="329"/>
                            </a:lnTo>
                            <a:lnTo>
                              <a:pt x="451" y="344"/>
                            </a:lnTo>
                            <a:lnTo>
                              <a:pt x="448" y="355"/>
                            </a:lnTo>
                            <a:lnTo>
                              <a:pt x="440" y="362"/>
                            </a:lnTo>
                            <a:lnTo>
                              <a:pt x="448" y="385"/>
                            </a:lnTo>
                            <a:lnTo>
                              <a:pt x="451" y="399"/>
                            </a:lnTo>
                            <a:lnTo>
                              <a:pt x="444" y="410"/>
                            </a:lnTo>
                            <a:lnTo>
                              <a:pt x="429" y="422"/>
                            </a:lnTo>
                            <a:lnTo>
                              <a:pt x="425" y="436"/>
                            </a:lnTo>
                            <a:lnTo>
                              <a:pt x="422" y="455"/>
                            </a:lnTo>
                            <a:lnTo>
                              <a:pt x="396" y="466"/>
                            </a:lnTo>
                            <a:lnTo>
                              <a:pt x="380" y="477"/>
                            </a:lnTo>
                            <a:lnTo>
                              <a:pt x="358" y="492"/>
                            </a:lnTo>
                            <a:lnTo>
                              <a:pt x="361" y="503"/>
                            </a:lnTo>
                            <a:lnTo>
                              <a:pt x="343" y="507"/>
                            </a:lnTo>
                            <a:lnTo>
                              <a:pt x="335" y="514"/>
                            </a:lnTo>
                            <a:lnTo>
                              <a:pt x="317" y="540"/>
                            </a:lnTo>
                            <a:lnTo>
                              <a:pt x="302" y="551"/>
                            </a:lnTo>
                            <a:lnTo>
                              <a:pt x="306" y="570"/>
                            </a:lnTo>
                            <a:lnTo>
                              <a:pt x="297" y="576"/>
                            </a:lnTo>
                            <a:lnTo>
                              <a:pt x="289" y="584"/>
                            </a:lnTo>
                            <a:lnTo>
                              <a:pt x="297" y="613"/>
                            </a:lnTo>
                            <a:lnTo>
                              <a:pt x="293" y="632"/>
                            </a:lnTo>
                            <a:lnTo>
                              <a:pt x="274" y="643"/>
                            </a:lnTo>
                            <a:lnTo>
                              <a:pt x="271" y="673"/>
                            </a:lnTo>
                            <a:lnTo>
                              <a:pt x="274" y="710"/>
                            </a:lnTo>
                            <a:lnTo>
                              <a:pt x="282" y="728"/>
                            </a:lnTo>
                            <a:lnTo>
                              <a:pt x="309" y="751"/>
                            </a:lnTo>
                            <a:lnTo>
                              <a:pt x="320" y="773"/>
                            </a:lnTo>
                            <a:lnTo>
                              <a:pt x="332" y="795"/>
                            </a:lnTo>
                            <a:lnTo>
                              <a:pt x="339" y="810"/>
                            </a:lnTo>
                            <a:lnTo>
                              <a:pt x="332" y="825"/>
                            </a:lnTo>
                            <a:lnTo>
                              <a:pt x="317" y="836"/>
                            </a:lnTo>
                            <a:lnTo>
                              <a:pt x="306" y="832"/>
                            </a:lnTo>
                            <a:lnTo>
                              <a:pt x="297" y="821"/>
                            </a:lnTo>
                            <a:lnTo>
                              <a:pt x="282" y="825"/>
                            </a:lnTo>
                            <a:lnTo>
                              <a:pt x="278" y="836"/>
                            </a:lnTo>
                            <a:lnTo>
                              <a:pt x="256" y="836"/>
                            </a:lnTo>
                            <a:lnTo>
                              <a:pt x="222" y="832"/>
                            </a:lnTo>
                            <a:lnTo>
                              <a:pt x="215" y="840"/>
                            </a:lnTo>
                            <a:lnTo>
                              <a:pt x="237" y="851"/>
                            </a:lnTo>
                            <a:lnTo>
                              <a:pt x="267" y="840"/>
                            </a:lnTo>
                            <a:lnTo>
                              <a:pt x="274" y="854"/>
                            </a:lnTo>
                            <a:lnTo>
                              <a:pt x="297" y="858"/>
                            </a:lnTo>
                            <a:lnTo>
                              <a:pt x="313" y="865"/>
                            </a:lnTo>
                            <a:lnTo>
                              <a:pt x="306" y="873"/>
                            </a:lnTo>
                            <a:lnTo>
                              <a:pt x="285" y="869"/>
                            </a:lnTo>
                            <a:lnTo>
                              <a:pt x="282" y="877"/>
                            </a:lnTo>
                            <a:lnTo>
                              <a:pt x="285" y="888"/>
                            </a:lnTo>
                            <a:lnTo>
                              <a:pt x="274" y="903"/>
                            </a:lnTo>
                            <a:lnTo>
                              <a:pt x="256" y="917"/>
                            </a:lnTo>
                            <a:lnTo>
                              <a:pt x="248" y="921"/>
                            </a:lnTo>
                            <a:lnTo>
                              <a:pt x="241" y="925"/>
                            </a:lnTo>
                            <a:lnTo>
                              <a:pt x="245" y="943"/>
                            </a:lnTo>
                            <a:lnTo>
                              <a:pt x="237" y="954"/>
                            </a:lnTo>
                            <a:lnTo>
                              <a:pt x="226" y="977"/>
                            </a:lnTo>
                            <a:lnTo>
                              <a:pt x="230" y="999"/>
                            </a:lnTo>
                            <a:lnTo>
                              <a:pt x="222" y="1032"/>
                            </a:lnTo>
                            <a:lnTo>
                              <a:pt x="215" y="1047"/>
                            </a:lnTo>
                            <a:lnTo>
                              <a:pt x="215" y="1069"/>
                            </a:lnTo>
                            <a:lnTo>
                              <a:pt x="204" y="1084"/>
                            </a:lnTo>
                            <a:lnTo>
                              <a:pt x="189" y="1110"/>
                            </a:lnTo>
                            <a:lnTo>
                              <a:pt x="185" y="1129"/>
                            </a:lnTo>
                            <a:lnTo>
                              <a:pt x="159" y="1125"/>
                            </a:lnTo>
                            <a:lnTo>
                              <a:pt x="133" y="1125"/>
                            </a:lnTo>
                            <a:lnTo>
                              <a:pt x="130" y="1136"/>
                            </a:lnTo>
                            <a:lnTo>
                              <a:pt x="115" y="1140"/>
                            </a:lnTo>
                            <a:lnTo>
                              <a:pt x="107" y="1144"/>
                            </a:lnTo>
                            <a:lnTo>
                              <a:pt x="111" y="1157"/>
                            </a:lnTo>
                            <a:lnTo>
                              <a:pt x="107" y="1176"/>
                            </a:lnTo>
                            <a:lnTo>
                              <a:pt x="89" y="1187"/>
                            </a:lnTo>
                            <a:lnTo>
                              <a:pt x="78" y="1176"/>
                            </a:lnTo>
                            <a:lnTo>
                              <a:pt x="63" y="1187"/>
                            </a:lnTo>
                            <a:lnTo>
                              <a:pt x="44" y="1187"/>
                            </a:lnTo>
                            <a:lnTo>
                              <a:pt x="37" y="1176"/>
                            </a:lnTo>
                            <a:lnTo>
                              <a:pt x="44" y="1168"/>
                            </a:lnTo>
                            <a:lnTo>
                              <a:pt x="48" y="1147"/>
                            </a:lnTo>
                            <a:lnTo>
                              <a:pt x="33" y="1118"/>
                            </a:lnTo>
                            <a:lnTo>
                              <a:pt x="26" y="1103"/>
                            </a:lnTo>
                            <a:lnTo>
                              <a:pt x="30" y="1095"/>
                            </a:lnTo>
                            <a:lnTo>
                              <a:pt x="37" y="1095"/>
                            </a:lnTo>
                            <a:lnTo>
                              <a:pt x="41" y="1088"/>
                            </a:lnTo>
                            <a:lnTo>
                              <a:pt x="44" y="1080"/>
                            </a:lnTo>
                            <a:lnTo>
                              <a:pt x="48" y="1073"/>
                            </a:lnTo>
                            <a:lnTo>
                              <a:pt x="44" y="1066"/>
                            </a:lnTo>
                            <a:lnTo>
                              <a:pt x="37" y="1051"/>
                            </a:lnTo>
                            <a:lnTo>
                              <a:pt x="22" y="1029"/>
                            </a:lnTo>
                            <a:lnTo>
                              <a:pt x="26" y="1006"/>
                            </a:lnTo>
                            <a:lnTo>
                              <a:pt x="15" y="988"/>
                            </a:lnTo>
                            <a:lnTo>
                              <a:pt x="4" y="977"/>
                            </a:lnTo>
                            <a:lnTo>
                              <a:pt x="11" y="958"/>
                            </a:lnTo>
                            <a:lnTo>
                              <a:pt x="19" y="921"/>
                            </a:lnTo>
                            <a:lnTo>
                              <a:pt x="4" y="903"/>
                            </a:lnTo>
                            <a:lnTo>
                              <a:pt x="0" y="884"/>
                            </a:lnTo>
                            <a:lnTo>
                              <a:pt x="0" y="873"/>
                            </a:lnTo>
                            <a:lnTo>
                              <a:pt x="7" y="851"/>
                            </a:lnTo>
                            <a:lnTo>
                              <a:pt x="19" y="854"/>
                            </a:lnTo>
                            <a:lnTo>
                              <a:pt x="30" y="825"/>
                            </a:lnTo>
                            <a:lnTo>
                              <a:pt x="30" y="791"/>
                            </a:lnTo>
                            <a:lnTo>
                              <a:pt x="33" y="780"/>
                            </a:lnTo>
                            <a:lnTo>
                              <a:pt x="48" y="769"/>
                            </a:lnTo>
                            <a:lnTo>
                              <a:pt x="70" y="754"/>
                            </a:lnTo>
                            <a:lnTo>
                              <a:pt x="70" y="736"/>
                            </a:lnTo>
                            <a:lnTo>
                              <a:pt x="67" y="680"/>
                            </a:lnTo>
                            <a:lnTo>
                              <a:pt x="59" y="673"/>
                            </a:lnTo>
                            <a:lnTo>
                              <a:pt x="59" y="658"/>
                            </a:lnTo>
                            <a:lnTo>
                              <a:pt x="78" y="650"/>
                            </a:lnTo>
                            <a:lnTo>
                              <a:pt x="85" y="643"/>
                            </a:lnTo>
                            <a:lnTo>
                              <a:pt x="74" y="621"/>
                            </a:lnTo>
                            <a:lnTo>
                              <a:pt x="59" y="599"/>
                            </a:lnTo>
                            <a:lnTo>
                              <a:pt x="63" y="573"/>
                            </a:lnTo>
                            <a:lnTo>
                              <a:pt x="67" y="555"/>
                            </a:lnTo>
                            <a:lnTo>
                              <a:pt x="82" y="522"/>
                            </a:lnTo>
                            <a:lnTo>
                              <a:pt x="82" y="507"/>
                            </a:lnTo>
                            <a:lnTo>
                              <a:pt x="82" y="477"/>
                            </a:lnTo>
                            <a:lnTo>
                              <a:pt x="93" y="451"/>
                            </a:lnTo>
                            <a:lnTo>
                              <a:pt x="111" y="436"/>
                            </a:lnTo>
                            <a:lnTo>
                              <a:pt x="130" y="425"/>
                            </a:lnTo>
                            <a:lnTo>
                              <a:pt x="148" y="429"/>
                            </a:lnTo>
                            <a:lnTo>
                              <a:pt x="167" y="436"/>
                            </a:lnTo>
                            <a:lnTo>
                              <a:pt x="174" y="410"/>
                            </a:lnTo>
                            <a:lnTo>
                              <a:pt x="167" y="388"/>
                            </a:lnTo>
                            <a:lnTo>
                              <a:pt x="159" y="373"/>
                            </a:lnTo>
                            <a:lnTo>
                              <a:pt x="156" y="362"/>
                            </a:lnTo>
                            <a:lnTo>
                              <a:pt x="159" y="351"/>
                            </a:lnTo>
                            <a:lnTo>
                              <a:pt x="171" y="347"/>
                            </a:lnTo>
                            <a:lnTo>
                              <a:pt x="174" y="322"/>
                            </a:lnTo>
                            <a:lnTo>
                              <a:pt x="182" y="299"/>
                            </a:lnTo>
                            <a:lnTo>
                              <a:pt x="185" y="281"/>
                            </a:lnTo>
                            <a:lnTo>
                              <a:pt x="185" y="262"/>
                            </a:lnTo>
                            <a:lnTo>
                              <a:pt x="196" y="244"/>
                            </a:lnTo>
                            <a:lnTo>
                              <a:pt x="219" y="229"/>
                            </a:lnTo>
                            <a:lnTo>
                              <a:pt x="234" y="225"/>
                            </a:lnTo>
                            <a:lnTo>
                              <a:pt x="234" y="207"/>
                            </a:lnTo>
                            <a:lnTo>
                              <a:pt x="241" y="195"/>
                            </a:lnTo>
                            <a:lnTo>
                              <a:pt x="256" y="177"/>
                            </a:lnTo>
                            <a:lnTo>
                              <a:pt x="271" y="166"/>
                            </a:lnTo>
                            <a:lnTo>
                              <a:pt x="263" y="134"/>
                            </a:lnTo>
                            <a:lnTo>
                              <a:pt x="291" y="103"/>
                            </a:lnTo>
                            <a:lnTo>
                              <a:pt x="297" y="90"/>
                            </a:lnTo>
                            <a:lnTo>
                              <a:pt x="317" y="86"/>
                            </a:lnTo>
                            <a:lnTo>
                              <a:pt x="330" y="69"/>
                            </a:lnTo>
                            <a:lnTo>
                              <a:pt x="330" y="58"/>
                            </a:lnTo>
                            <a:lnTo>
                              <a:pt x="343" y="45"/>
                            </a:lnTo>
                            <a:lnTo>
                              <a:pt x="367" y="42"/>
                            </a:lnTo>
                            <a:lnTo>
                              <a:pt x="396" y="42"/>
                            </a:lnTo>
                            <a:lnTo>
                              <a:pt x="418" y="21"/>
                            </a:lnTo>
                            <a:lnTo>
                              <a:pt x="414" y="0"/>
                            </a:lnTo>
                            <a:lnTo>
                              <a:pt x="418" y="0"/>
                            </a:lnTo>
                            <a:close/>
                          </a:path>
                        </a:pathLst>
                      </a:custGeom>
                      <a:solidFill>
                        <a:srgbClr val="99CCFF"/>
                      </a:solidFill>
                      <a:ln w="9525">
                        <a:solidFill>
                          <a:schemeClr val="accent5"/>
                        </a:solidFill>
                        <a:round/>
                        <a:headEnd/>
                        <a:tailEnd/>
                      </a:ln>
                    </p:spPr>
                    <p:txBody>
                      <a:bodyPr/>
                      <a:lstStyle/>
                      <a:p>
                        <a:endParaRPr lang="de-DE" dirty="0"/>
                      </a:p>
                    </p:txBody>
                  </p:sp>
                  <p:sp>
                    <p:nvSpPr>
                      <p:cNvPr id="284" name="Freeform 93">
                        <a:extLst>
                          <a:ext uri="{FF2B5EF4-FFF2-40B4-BE49-F238E27FC236}">
                            <a16:creationId xmlns:a16="http://schemas.microsoft.com/office/drawing/2014/main" xmlns="" id="{457A7DA2-72EB-4095-9847-CBA51F192B73}"/>
                          </a:ext>
                        </a:extLst>
                      </p:cNvPr>
                      <p:cNvSpPr>
                        <a:spLocks/>
                      </p:cNvSpPr>
                      <p:nvPr/>
                    </p:nvSpPr>
                    <p:spPr bwMode="gray">
                      <a:xfrm>
                        <a:off x="2195" y="724"/>
                        <a:ext cx="555" cy="1187"/>
                      </a:xfrm>
                      <a:custGeom>
                        <a:avLst/>
                        <a:gdLst>
                          <a:gd name="T0" fmla="*/ 436 w 555"/>
                          <a:gd name="T1" fmla="*/ 21 h 1187"/>
                          <a:gd name="T2" fmla="*/ 511 w 555"/>
                          <a:gd name="T3" fmla="*/ 73 h 1187"/>
                          <a:gd name="T4" fmla="*/ 518 w 555"/>
                          <a:gd name="T5" fmla="*/ 118 h 1187"/>
                          <a:gd name="T6" fmla="*/ 536 w 555"/>
                          <a:gd name="T7" fmla="*/ 158 h 1187"/>
                          <a:gd name="T8" fmla="*/ 533 w 555"/>
                          <a:gd name="T9" fmla="*/ 210 h 1187"/>
                          <a:gd name="T10" fmla="*/ 548 w 555"/>
                          <a:gd name="T11" fmla="*/ 247 h 1187"/>
                          <a:gd name="T12" fmla="*/ 544 w 555"/>
                          <a:gd name="T13" fmla="*/ 277 h 1187"/>
                          <a:gd name="T14" fmla="*/ 477 w 555"/>
                          <a:gd name="T15" fmla="*/ 284 h 1187"/>
                          <a:gd name="T16" fmla="*/ 448 w 555"/>
                          <a:gd name="T17" fmla="*/ 329 h 1187"/>
                          <a:gd name="T18" fmla="*/ 440 w 555"/>
                          <a:gd name="T19" fmla="*/ 362 h 1187"/>
                          <a:gd name="T20" fmla="*/ 444 w 555"/>
                          <a:gd name="T21" fmla="*/ 410 h 1187"/>
                          <a:gd name="T22" fmla="*/ 422 w 555"/>
                          <a:gd name="T23" fmla="*/ 455 h 1187"/>
                          <a:gd name="T24" fmla="*/ 358 w 555"/>
                          <a:gd name="T25" fmla="*/ 492 h 1187"/>
                          <a:gd name="T26" fmla="*/ 335 w 555"/>
                          <a:gd name="T27" fmla="*/ 514 h 1187"/>
                          <a:gd name="T28" fmla="*/ 306 w 555"/>
                          <a:gd name="T29" fmla="*/ 570 h 1187"/>
                          <a:gd name="T30" fmla="*/ 297 w 555"/>
                          <a:gd name="T31" fmla="*/ 613 h 1187"/>
                          <a:gd name="T32" fmla="*/ 271 w 555"/>
                          <a:gd name="T33" fmla="*/ 673 h 1187"/>
                          <a:gd name="T34" fmla="*/ 309 w 555"/>
                          <a:gd name="T35" fmla="*/ 751 h 1187"/>
                          <a:gd name="T36" fmla="*/ 339 w 555"/>
                          <a:gd name="T37" fmla="*/ 810 h 1187"/>
                          <a:gd name="T38" fmla="*/ 306 w 555"/>
                          <a:gd name="T39" fmla="*/ 832 h 1187"/>
                          <a:gd name="T40" fmla="*/ 278 w 555"/>
                          <a:gd name="T41" fmla="*/ 836 h 1187"/>
                          <a:gd name="T42" fmla="*/ 215 w 555"/>
                          <a:gd name="T43" fmla="*/ 840 h 1187"/>
                          <a:gd name="T44" fmla="*/ 274 w 555"/>
                          <a:gd name="T45" fmla="*/ 854 h 1187"/>
                          <a:gd name="T46" fmla="*/ 306 w 555"/>
                          <a:gd name="T47" fmla="*/ 873 h 1187"/>
                          <a:gd name="T48" fmla="*/ 285 w 555"/>
                          <a:gd name="T49" fmla="*/ 888 h 1187"/>
                          <a:gd name="T50" fmla="*/ 248 w 555"/>
                          <a:gd name="T51" fmla="*/ 921 h 1187"/>
                          <a:gd name="T52" fmla="*/ 237 w 555"/>
                          <a:gd name="T53" fmla="*/ 954 h 1187"/>
                          <a:gd name="T54" fmla="*/ 222 w 555"/>
                          <a:gd name="T55" fmla="*/ 1032 h 1187"/>
                          <a:gd name="T56" fmla="*/ 204 w 555"/>
                          <a:gd name="T57" fmla="*/ 1084 h 1187"/>
                          <a:gd name="T58" fmla="*/ 159 w 555"/>
                          <a:gd name="T59" fmla="*/ 1125 h 1187"/>
                          <a:gd name="T60" fmla="*/ 115 w 555"/>
                          <a:gd name="T61" fmla="*/ 1140 h 1187"/>
                          <a:gd name="T62" fmla="*/ 107 w 555"/>
                          <a:gd name="T63" fmla="*/ 1176 h 1187"/>
                          <a:gd name="T64" fmla="*/ 63 w 555"/>
                          <a:gd name="T65" fmla="*/ 1187 h 1187"/>
                          <a:gd name="T66" fmla="*/ 44 w 555"/>
                          <a:gd name="T67" fmla="*/ 1168 h 1187"/>
                          <a:gd name="T68" fmla="*/ 26 w 555"/>
                          <a:gd name="T69" fmla="*/ 1103 h 1187"/>
                          <a:gd name="T70" fmla="*/ 41 w 555"/>
                          <a:gd name="T71" fmla="*/ 1088 h 1187"/>
                          <a:gd name="T72" fmla="*/ 44 w 555"/>
                          <a:gd name="T73" fmla="*/ 1066 h 1187"/>
                          <a:gd name="T74" fmla="*/ 26 w 555"/>
                          <a:gd name="T75" fmla="*/ 1006 h 1187"/>
                          <a:gd name="T76" fmla="*/ 11 w 555"/>
                          <a:gd name="T77" fmla="*/ 958 h 1187"/>
                          <a:gd name="T78" fmla="*/ 0 w 555"/>
                          <a:gd name="T79" fmla="*/ 884 h 1187"/>
                          <a:gd name="T80" fmla="*/ 19 w 555"/>
                          <a:gd name="T81" fmla="*/ 854 h 1187"/>
                          <a:gd name="T82" fmla="*/ 33 w 555"/>
                          <a:gd name="T83" fmla="*/ 780 h 1187"/>
                          <a:gd name="T84" fmla="*/ 70 w 555"/>
                          <a:gd name="T85" fmla="*/ 736 h 1187"/>
                          <a:gd name="T86" fmla="*/ 59 w 555"/>
                          <a:gd name="T87" fmla="*/ 658 h 1187"/>
                          <a:gd name="T88" fmla="*/ 74 w 555"/>
                          <a:gd name="T89" fmla="*/ 621 h 1187"/>
                          <a:gd name="T90" fmla="*/ 67 w 555"/>
                          <a:gd name="T91" fmla="*/ 555 h 1187"/>
                          <a:gd name="T92" fmla="*/ 82 w 555"/>
                          <a:gd name="T93" fmla="*/ 477 h 1187"/>
                          <a:gd name="T94" fmla="*/ 130 w 555"/>
                          <a:gd name="T95" fmla="*/ 425 h 1187"/>
                          <a:gd name="T96" fmla="*/ 174 w 555"/>
                          <a:gd name="T97" fmla="*/ 410 h 1187"/>
                          <a:gd name="T98" fmla="*/ 156 w 555"/>
                          <a:gd name="T99" fmla="*/ 362 h 1187"/>
                          <a:gd name="T100" fmla="*/ 174 w 555"/>
                          <a:gd name="T101" fmla="*/ 322 h 1187"/>
                          <a:gd name="T102" fmla="*/ 185 w 555"/>
                          <a:gd name="T103" fmla="*/ 262 h 1187"/>
                          <a:gd name="T104" fmla="*/ 234 w 555"/>
                          <a:gd name="T105" fmla="*/ 225 h 1187"/>
                          <a:gd name="T106" fmla="*/ 256 w 555"/>
                          <a:gd name="T107" fmla="*/ 177 h 1187"/>
                          <a:gd name="T108" fmla="*/ 291 w 555"/>
                          <a:gd name="T109" fmla="*/ 103 h 1187"/>
                          <a:gd name="T110" fmla="*/ 330 w 555"/>
                          <a:gd name="T111" fmla="*/ 69 h 1187"/>
                          <a:gd name="T112" fmla="*/ 367 w 555"/>
                          <a:gd name="T113" fmla="*/ 42 h 1187"/>
                          <a:gd name="T114" fmla="*/ 414 w 555"/>
                          <a:gd name="T115"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 h="1187">
                            <a:moveTo>
                              <a:pt x="418" y="0"/>
                            </a:moveTo>
                            <a:lnTo>
                              <a:pt x="425" y="3"/>
                            </a:lnTo>
                            <a:lnTo>
                              <a:pt x="436" y="21"/>
                            </a:lnTo>
                            <a:lnTo>
                              <a:pt x="485" y="69"/>
                            </a:lnTo>
                            <a:lnTo>
                              <a:pt x="492" y="58"/>
                            </a:lnTo>
                            <a:lnTo>
                              <a:pt x="511" y="73"/>
                            </a:lnTo>
                            <a:lnTo>
                              <a:pt x="518" y="88"/>
                            </a:lnTo>
                            <a:lnTo>
                              <a:pt x="518" y="99"/>
                            </a:lnTo>
                            <a:lnTo>
                              <a:pt x="518" y="118"/>
                            </a:lnTo>
                            <a:lnTo>
                              <a:pt x="511" y="129"/>
                            </a:lnTo>
                            <a:lnTo>
                              <a:pt x="525" y="144"/>
                            </a:lnTo>
                            <a:lnTo>
                              <a:pt x="536" y="158"/>
                            </a:lnTo>
                            <a:lnTo>
                              <a:pt x="536" y="170"/>
                            </a:lnTo>
                            <a:lnTo>
                              <a:pt x="536" y="188"/>
                            </a:lnTo>
                            <a:lnTo>
                              <a:pt x="533" y="210"/>
                            </a:lnTo>
                            <a:lnTo>
                              <a:pt x="525" y="218"/>
                            </a:lnTo>
                            <a:lnTo>
                              <a:pt x="536" y="229"/>
                            </a:lnTo>
                            <a:lnTo>
                              <a:pt x="548" y="247"/>
                            </a:lnTo>
                            <a:lnTo>
                              <a:pt x="555" y="266"/>
                            </a:lnTo>
                            <a:lnTo>
                              <a:pt x="555" y="273"/>
                            </a:lnTo>
                            <a:lnTo>
                              <a:pt x="544" y="277"/>
                            </a:lnTo>
                            <a:lnTo>
                              <a:pt x="496" y="277"/>
                            </a:lnTo>
                            <a:lnTo>
                              <a:pt x="485" y="277"/>
                            </a:lnTo>
                            <a:lnTo>
                              <a:pt x="477" y="284"/>
                            </a:lnTo>
                            <a:lnTo>
                              <a:pt x="477" y="299"/>
                            </a:lnTo>
                            <a:lnTo>
                              <a:pt x="470" y="310"/>
                            </a:lnTo>
                            <a:lnTo>
                              <a:pt x="448" y="329"/>
                            </a:lnTo>
                            <a:lnTo>
                              <a:pt x="451" y="344"/>
                            </a:lnTo>
                            <a:lnTo>
                              <a:pt x="448" y="355"/>
                            </a:lnTo>
                            <a:lnTo>
                              <a:pt x="440" y="362"/>
                            </a:lnTo>
                            <a:lnTo>
                              <a:pt x="448" y="385"/>
                            </a:lnTo>
                            <a:lnTo>
                              <a:pt x="451" y="399"/>
                            </a:lnTo>
                            <a:lnTo>
                              <a:pt x="444" y="410"/>
                            </a:lnTo>
                            <a:lnTo>
                              <a:pt x="429" y="422"/>
                            </a:lnTo>
                            <a:lnTo>
                              <a:pt x="425" y="436"/>
                            </a:lnTo>
                            <a:lnTo>
                              <a:pt x="422" y="455"/>
                            </a:lnTo>
                            <a:lnTo>
                              <a:pt x="396" y="466"/>
                            </a:lnTo>
                            <a:lnTo>
                              <a:pt x="380" y="477"/>
                            </a:lnTo>
                            <a:lnTo>
                              <a:pt x="358" y="492"/>
                            </a:lnTo>
                            <a:lnTo>
                              <a:pt x="361" y="503"/>
                            </a:lnTo>
                            <a:lnTo>
                              <a:pt x="343" y="507"/>
                            </a:lnTo>
                            <a:lnTo>
                              <a:pt x="335" y="514"/>
                            </a:lnTo>
                            <a:lnTo>
                              <a:pt x="317" y="540"/>
                            </a:lnTo>
                            <a:lnTo>
                              <a:pt x="302" y="551"/>
                            </a:lnTo>
                            <a:lnTo>
                              <a:pt x="306" y="570"/>
                            </a:lnTo>
                            <a:lnTo>
                              <a:pt x="297" y="576"/>
                            </a:lnTo>
                            <a:lnTo>
                              <a:pt x="289" y="584"/>
                            </a:lnTo>
                            <a:lnTo>
                              <a:pt x="297" y="613"/>
                            </a:lnTo>
                            <a:lnTo>
                              <a:pt x="293" y="632"/>
                            </a:lnTo>
                            <a:lnTo>
                              <a:pt x="274" y="643"/>
                            </a:lnTo>
                            <a:lnTo>
                              <a:pt x="271" y="673"/>
                            </a:lnTo>
                            <a:lnTo>
                              <a:pt x="274" y="710"/>
                            </a:lnTo>
                            <a:lnTo>
                              <a:pt x="282" y="728"/>
                            </a:lnTo>
                            <a:lnTo>
                              <a:pt x="309" y="751"/>
                            </a:lnTo>
                            <a:lnTo>
                              <a:pt x="320" y="773"/>
                            </a:lnTo>
                            <a:lnTo>
                              <a:pt x="332" y="795"/>
                            </a:lnTo>
                            <a:lnTo>
                              <a:pt x="339" y="810"/>
                            </a:lnTo>
                            <a:lnTo>
                              <a:pt x="332" y="825"/>
                            </a:lnTo>
                            <a:lnTo>
                              <a:pt x="317" y="836"/>
                            </a:lnTo>
                            <a:lnTo>
                              <a:pt x="306" y="832"/>
                            </a:lnTo>
                            <a:lnTo>
                              <a:pt x="297" y="821"/>
                            </a:lnTo>
                            <a:lnTo>
                              <a:pt x="282" y="825"/>
                            </a:lnTo>
                            <a:lnTo>
                              <a:pt x="278" y="836"/>
                            </a:lnTo>
                            <a:lnTo>
                              <a:pt x="256" y="836"/>
                            </a:lnTo>
                            <a:lnTo>
                              <a:pt x="222" y="832"/>
                            </a:lnTo>
                            <a:lnTo>
                              <a:pt x="215" y="840"/>
                            </a:lnTo>
                            <a:lnTo>
                              <a:pt x="237" y="851"/>
                            </a:lnTo>
                            <a:lnTo>
                              <a:pt x="267" y="840"/>
                            </a:lnTo>
                            <a:lnTo>
                              <a:pt x="274" y="854"/>
                            </a:lnTo>
                            <a:lnTo>
                              <a:pt x="297" y="858"/>
                            </a:lnTo>
                            <a:lnTo>
                              <a:pt x="313" y="865"/>
                            </a:lnTo>
                            <a:lnTo>
                              <a:pt x="306" y="873"/>
                            </a:lnTo>
                            <a:lnTo>
                              <a:pt x="285" y="869"/>
                            </a:lnTo>
                            <a:lnTo>
                              <a:pt x="282" y="877"/>
                            </a:lnTo>
                            <a:lnTo>
                              <a:pt x="285" y="888"/>
                            </a:lnTo>
                            <a:lnTo>
                              <a:pt x="274" y="903"/>
                            </a:lnTo>
                            <a:lnTo>
                              <a:pt x="256" y="917"/>
                            </a:lnTo>
                            <a:lnTo>
                              <a:pt x="248" y="921"/>
                            </a:lnTo>
                            <a:lnTo>
                              <a:pt x="241" y="925"/>
                            </a:lnTo>
                            <a:lnTo>
                              <a:pt x="245" y="943"/>
                            </a:lnTo>
                            <a:lnTo>
                              <a:pt x="237" y="954"/>
                            </a:lnTo>
                            <a:lnTo>
                              <a:pt x="226" y="977"/>
                            </a:lnTo>
                            <a:lnTo>
                              <a:pt x="230" y="999"/>
                            </a:lnTo>
                            <a:lnTo>
                              <a:pt x="222" y="1032"/>
                            </a:lnTo>
                            <a:lnTo>
                              <a:pt x="215" y="1047"/>
                            </a:lnTo>
                            <a:lnTo>
                              <a:pt x="215" y="1069"/>
                            </a:lnTo>
                            <a:lnTo>
                              <a:pt x="204" y="1084"/>
                            </a:lnTo>
                            <a:lnTo>
                              <a:pt x="189" y="1110"/>
                            </a:lnTo>
                            <a:lnTo>
                              <a:pt x="185" y="1129"/>
                            </a:lnTo>
                            <a:lnTo>
                              <a:pt x="159" y="1125"/>
                            </a:lnTo>
                            <a:lnTo>
                              <a:pt x="133" y="1125"/>
                            </a:lnTo>
                            <a:lnTo>
                              <a:pt x="130" y="1136"/>
                            </a:lnTo>
                            <a:lnTo>
                              <a:pt x="115" y="1140"/>
                            </a:lnTo>
                            <a:lnTo>
                              <a:pt x="107" y="1144"/>
                            </a:lnTo>
                            <a:lnTo>
                              <a:pt x="111" y="1157"/>
                            </a:lnTo>
                            <a:lnTo>
                              <a:pt x="107" y="1176"/>
                            </a:lnTo>
                            <a:lnTo>
                              <a:pt x="89" y="1187"/>
                            </a:lnTo>
                            <a:lnTo>
                              <a:pt x="78" y="1176"/>
                            </a:lnTo>
                            <a:lnTo>
                              <a:pt x="63" y="1187"/>
                            </a:lnTo>
                            <a:lnTo>
                              <a:pt x="44" y="1187"/>
                            </a:lnTo>
                            <a:lnTo>
                              <a:pt x="37" y="1176"/>
                            </a:lnTo>
                            <a:lnTo>
                              <a:pt x="44" y="1168"/>
                            </a:lnTo>
                            <a:lnTo>
                              <a:pt x="48" y="1147"/>
                            </a:lnTo>
                            <a:lnTo>
                              <a:pt x="33" y="1118"/>
                            </a:lnTo>
                            <a:lnTo>
                              <a:pt x="26" y="1103"/>
                            </a:lnTo>
                            <a:lnTo>
                              <a:pt x="30" y="1095"/>
                            </a:lnTo>
                            <a:lnTo>
                              <a:pt x="37" y="1095"/>
                            </a:lnTo>
                            <a:lnTo>
                              <a:pt x="41" y="1088"/>
                            </a:lnTo>
                            <a:lnTo>
                              <a:pt x="44" y="1080"/>
                            </a:lnTo>
                            <a:lnTo>
                              <a:pt x="48" y="1073"/>
                            </a:lnTo>
                            <a:lnTo>
                              <a:pt x="44" y="1066"/>
                            </a:lnTo>
                            <a:lnTo>
                              <a:pt x="37" y="1051"/>
                            </a:lnTo>
                            <a:lnTo>
                              <a:pt x="22" y="1029"/>
                            </a:lnTo>
                            <a:lnTo>
                              <a:pt x="26" y="1006"/>
                            </a:lnTo>
                            <a:lnTo>
                              <a:pt x="15" y="988"/>
                            </a:lnTo>
                            <a:lnTo>
                              <a:pt x="4" y="977"/>
                            </a:lnTo>
                            <a:lnTo>
                              <a:pt x="11" y="958"/>
                            </a:lnTo>
                            <a:lnTo>
                              <a:pt x="19" y="921"/>
                            </a:lnTo>
                            <a:lnTo>
                              <a:pt x="4" y="903"/>
                            </a:lnTo>
                            <a:lnTo>
                              <a:pt x="0" y="884"/>
                            </a:lnTo>
                            <a:lnTo>
                              <a:pt x="0" y="873"/>
                            </a:lnTo>
                            <a:lnTo>
                              <a:pt x="7" y="851"/>
                            </a:lnTo>
                            <a:lnTo>
                              <a:pt x="19" y="854"/>
                            </a:lnTo>
                            <a:lnTo>
                              <a:pt x="30" y="825"/>
                            </a:lnTo>
                            <a:lnTo>
                              <a:pt x="30" y="791"/>
                            </a:lnTo>
                            <a:lnTo>
                              <a:pt x="33" y="780"/>
                            </a:lnTo>
                            <a:lnTo>
                              <a:pt x="48" y="769"/>
                            </a:lnTo>
                            <a:lnTo>
                              <a:pt x="70" y="754"/>
                            </a:lnTo>
                            <a:lnTo>
                              <a:pt x="70" y="736"/>
                            </a:lnTo>
                            <a:lnTo>
                              <a:pt x="67" y="680"/>
                            </a:lnTo>
                            <a:lnTo>
                              <a:pt x="59" y="673"/>
                            </a:lnTo>
                            <a:lnTo>
                              <a:pt x="59" y="658"/>
                            </a:lnTo>
                            <a:lnTo>
                              <a:pt x="78" y="650"/>
                            </a:lnTo>
                            <a:lnTo>
                              <a:pt x="85" y="643"/>
                            </a:lnTo>
                            <a:lnTo>
                              <a:pt x="74" y="621"/>
                            </a:lnTo>
                            <a:lnTo>
                              <a:pt x="59" y="599"/>
                            </a:lnTo>
                            <a:lnTo>
                              <a:pt x="63" y="573"/>
                            </a:lnTo>
                            <a:lnTo>
                              <a:pt x="67" y="555"/>
                            </a:lnTo>
                            <a:lnTo>
                              <a:pt x="82" y="522"/>
                            </a:lnTo>
                            <a:lnTo>
                              <a:pt x="82" y="507"/>
                            </a:lnTo>
                            <a:lnTo>
                              <a:pt x="82" y="477"/>
                            </a:lnTo>
                            <a:lnTo>
                              <a:pt x="93" y="451"/>
                            </a:lnTo>
                            <a:lnTo>
                              <a:pt x="111" y="436"/>
                            </a:lnTo>
                            <a:lnTo>
                              <a:pt x="130" y="425"/>
                            </a:lnTo>
                            <a:lnTo>
                              <a:pt x="148" y="429"/>
                            </a:lnTo>
                            <a:lnTo>
                              <a:pt x="167" y="436"/>
                            </a:lnTo>
                            <a:lnTo>
                              <a:pt x="174" y="410"/>
                            </a:lnTo>
                            <a:lnTo>
                              <a:pt x="167" y="388"/>
                            </a:lnTo>
                            <a:lnTo>
                              <a:pt x="159" y="373"/>
                            </a:lnTo>
                            <a:lnTo>
                              <a:pt x="156" y="362"/>
                            </a:lnTo>
                            <a:lnTo>
                              <a:pt x="159" y="351"/>
                            </a:lnTo>
                            <a:lnTo>
                              <a:pt x="171" y="347"/>
                            </a:lnTo>
                            <a:lnTo>
                              <a:pt x="174" y="322"/>
                            </a:lnTo>
                            <a:lnTo>
                              <a:pt x="182" y="299"/>
                            </a:lnTo>
                            <a:lnTo>
                              <a:pt x="185" y="281"/>
                            </a:lnTo>
                            <a:lnTo>
                              <a:pt x="185" y="262"/>
                            </a:lnTo>
                            <a:lnTo>
                              <a:pt x="196" y="244"/>
                            </a:lnTo>
                            <a:lnTo>
                              <a:pt x="219" y="229"/>
                            </a:lnTo>
                            <a:lnTo>
                              <a:pt x="234" y="225"/>
                            </a:lnTo>
                            <a:lnTo>
                              <a:pt x="234" y="207"/>
                            </a:lnTo>
                            <a:lnTo>
                              <a:pt x="241" y="195"/>
                            </a:lnTo>
                            <a:lnTo>
                              <a:pt x="256" y="177"/>
                            </a:lnTo>
                            <a:lnTo>
                              <a:pt x="271" y="166"/>
                            </a:lnTo>
                            <a:lnTo>
                              <a:pt x="263" y="134"/>
                            </a:lnTo>
                            <a:lnTo>
                              <a:pt x="291" y="103"/>
                            </a:lnTo>
                            <a:lnTo>
                              <a:pt x="297" y="90"/>
                            </a:lnTo>
                            <a:lnTo>
                              <a:pt x="317" y="86"/>
                            </a:lnTo>
                            <a:lnTo>
                              <a:pt x="330" y="69"/>
                            </a:lnTo>
                            <a:lnTo>
                              <a:pt x="330" y="58"/>
                            </a:lnTo>
                            <a:lnTo>
                              <a:pt x="343" y="45"/>
                            </a:lnTo>
                            <a:lnTo>
                              <a:pt x="367" y="42"/>
                            </a:lnTo>
                            <a:lnTo>
                              <a:pt x="396" y="42"/>
                            </a:lnTo>
                            <a:lnTo>
                              <a:pt x="418" y="21"/>
                            </a:lnTo>
                            <a:lnTo>
                              <a:pt x="414" y="0"/>
                            </a:lnTo>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grpSp>
              <p:grpSp>
                <p:nvGrpSpPr>
                  <p:cNvPr id="275" name="Group 100">
                    <a:extLst>
                      <a:ext uri="{FF2B5EF4-FFF2-40B4-BE49-F238E27FC236}">
                        <a16:creationId xmlns:a16="http://schemas.microsoft.com/office/drawing/2014/main" xmlns="" id="{7B3922B7-0BBA-4600-B554-B595892569D0}"/>
                      </a:ext>
                    </a:extLst>
                  </p:cNvPr>
                  <p:cNvGrpSpPr>
                    <a:grpSpLocks/>
                  </p:cNvGrpSpPr>
                  <p:nvPr/>
                </p:nvGrpSpPr>
                <p:grpSpPr bwMode="gray">
                  <a:xfrm>
                    <a:off x="3069" y="1692"/>
                    <a:ext cx="127" cy="138"/>
                    <a:chOff x="2245" y="1556"/>
                    <a:chExt cx="127" cy="138"/>
                  </a:xfrm>
                </p:grpSpPr>
                <p:grpSp>
                  <p:nvGrpSpPr>
                    <p:cNvPr id="276" name="Group 98">
                      <a:extLst>
                        <a:ext uri="{FF2B5EF4-FFF2-40B4-BE49-F238E27FC236}">
                          <a16:creationId xmlns:a16="http://schemas.microsoft.com/office/drawing/2014/main" xmlns="" id="{F9636184-0A9E-4129-A79B-12A42FE74CA6}"/>
                        </a:ext>
                      </a:extLst>
                    </p:cNvPr>
                    <p:cNvGrpSpPr>
                      <a:grpSpLocks/>
                    </p:cNvGrpSpPr>
                    <p:nvPr/>
                  </p:nvGrpSpPr>
                  <p:grpSpPr bwMode="gray">
                    <a:xfrm>
                      <a:off x="2312" y="1597"/>
                      <a:ext cx="60" cy="97"/>
                      <a:chOff x="2312" y="1597"/>
                      <a:chExt cx="60" cy="97"/>
                    </a:xfrm>
                  </p:grpSpPr>
                  <p:sp>
                    <p:nvSpPr>
                      <p:cNvPr id="278" name="Freeform 96">
                        <a:extLst>
                          <a:ext uri="{FF2B5EF4-FFF2-40B4-BE49-F238E27FC236}">
                            <a16:creationId xmlns:a16="http://schemas.microsoft.com/office/drawing/2014/main" xmlns="" id="{7F749CE2-6D0A-4138-9783-F6A9B0191AD1}"/>
                          </a:ext>
                        </a:extLst>
                      </p:cNvPr>
                      <p:cNvSpPr>
                        <a:spLocks/>
                      </p:cNvSpPr>
                      <p:nvPr/>
                    </p:nvSpPr>
                    <p:spPr bwMode="gray">
                      <a:xfrm>
                        <a:off x="2312" y="1597"/>
                        <a:ext cx="60" cy="97"/>
                      </a:xfrm>
                      <a:custGeom>
                        <a:avLst/>
                        <a:gdLst>
                          <a:gd name="T0" fmla="*/ 53 w 60"/>
                          <a:gd name="T1" fmla="*/ 0 h 97"/>
                          <a:gd name="T2" fmla="*/ 53 w 60"/>
                          <a:gd name="T3" fmla="*/ 17 h 97"/>
                          <a:gd name="T4" fmla="*/ 60 w 60"/>
                          <a:gd name="T5" fmla="*/ 32 h 97"/>
                          <a:gd name="T6" fmla="*/ 53 w 60"/>
                          <a:gd name="T7" fmla="*/ 49 h 97"/>
                          <a:gd name="T8" fmla="*/ 43 w 60"/>
                          <a:gd name="T9" fmla="*/ 63 h 97"/>
                          <a:gd name="T10" fmla="*/ 24 w 60"/>
                          <a:gd name="T11" fmla="*/ 80 h 97"/>
                          <a:gd name="T12" fmla="*/ 9 w 60"/>
                          <a:gd name="T13" fmla="*/ 97 h 97"/>
                          <a:gd name="T14" fmla="*/ 0 w 60"/>
                          <a:gd name="T15" fmla="*/ 80 h 97"/>
                          <a:gd name="T16" fmla="*/ 6 w 60"/>
                          <a:gd name="T17" fmla="*/ 73 h 97"/>
                          <a:gd name="T18" fmla="*/ 24 w 60"/>
                          <a:gd name="T19" fmla="*/ 54 h 97"/>
                          <a:gd name="T20" fmla="*/ 23 w 60"/>
                          <a:gd name="T21" fmla="*/ 43 h 97"/>
                          <a:gd name="T22" fmla="*/ 32 w 60"/>
                          <a:gd name="T23" fmla="*/ 28 h 97"/>
                          <a:gd name="T24" fmla="*/ 54 w 60"/>
                          <a:gd name="T25" fmla="*/ 9 h 97"/>
                          <a:gd name="T26" fmla="*/ 54 w 60"/>
                          <a:gd name="T27" fmla="*/ 15 h 97"/>
                          <a:gd name="T28" fmla="*/ 58 w 60"/>
                          <a:gd name="T29" fmla="*/ 24 h 97"/>
                          <a:gd name="T30" fmla="*/ 53 w 60"/>
                          <a:gd name="T3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97">
                            <a:moveTo>
                              <a:pt x="53" y="0"/>
                            </a:moveTo>
                            <a:lnTo>
                              <a:pt x="53" y="17"/>
                            </a:lnTo>
                            <a:lnTo>
                              <a:pt x="60" y="32"/>
                            </a:lnTo>
                            <a:lnTo>
                              <a:pt x="53" y="49"/>
                            </a:lnTo>
                            <a:lnTo>
                              <a:pt x="43" y="63"/>
                            </a:lnTo>
                            <a:lnTo>
                              <a:pt x="24" y="80"/>
                            </a:lnTo>
                            <a:lnTo>
                              <a:pt x="9" y="97"/>
                            </a:lnTo>
                            <a:lnTo>
                              <a:pt x="0" y="80"/>
                            </a:lnTo>
                            <a:lnTo>
                              <a:pt x="6" y="73"/>
                            </a:lnTo>
                            <a:lnTo>
                              <a:pt x="24" y="54"/>
                            </a:lnTo>
                            <a:lnTo>
                              <a:pt x="23" y="43"/>
                            </a:lnTo>
                            <a:lnTo>
                              <a:pt x="32" y="28"/>
                            </a:lnTo>
                            <a:lnTo>
                              <a:pt x="54" y="9"/>
                            </a:lnTo>
                            <a:lnTo>
                              <a:pt x="54" y="15"/>
                            </a:lnTo>
                            <a:lnTo>
                              <a:pt x="58" y="24"/>
                            </a:lnTo>
                            <a:lnTo>
                              <a:pt x="53" y="0"/>
                            </a:lnTo>
                            <a:close/>
                          </a:path>
                        </a:pathLst>
                      </a:custGeom>
                      <a:solidFill>
                        <a:schemeClr val="bg1"/>
                      </a:solidFill>
                      <a:ln w="9525">
                        <a:solidFill>
                          <a:schemeClr val="accent5"/>
                        </a:solidFill>
                        <a:round/>
                        <a:headEnd/>
                        <a:tailEnd/>
                      </a:ln>
                    </p:spPr>
                    <p:txBody>
                      <a:bodyPr/>
                      <a:lstStyle/>
                      <a:p>
                        <a:endParaRPr lang="de-DE" dirty="0"/>
                      </a:p>
                    </p:txBody>
                  </p:sp>
                  <p:sp>
                    <p:nvSpPr>
                      <p:cNvPr id="279" name="Freeform 97">
                        <a:extLst>
                          <a:ext uri="{FF2B5EF4-FFF2-40B4-BE49-F238E27FC236}">
                            <a16:creationId xmlns:a16="http://schemas.microsoft.com/office/drawing/2014/main" xmlns="" id="{311948FB-D0A8-4888-8771-9CCF06109D6F}"/>
                          </a:ext>
                        </a:extLst>
                      </p:cNvPr>
                      <p:cNvSpPr>
                        <a:spLocks/>
                      </p:cNvSpPr>
                      <p:nvPr/>
                    </p:nvSpPr>
                    <p:spPr bwMode="gray">
                      <a:xfrm>
                        <a:off x="2312" y="1597"/>
                        <a:ext cx="60" cy="97"/>
                      </a:xfrm>
                      <a:custGeom>
                        <a:avLst/>
                        <a:gdLst>
                          <a:gd name="T0" fmla="*/ 53 w 60"/>
                          <a:gd name="T1" fmla="*/ 0 h 97"/>
                          <a:gd name="T2" fmla="*/ 53 w 60"/>
                          <a:gd name="T3" fmla="*/ 17 h 97"/>
                          <a:gd name="T4" fmla="*/ 60 w 60"/>
                          <a:gd name="T5" fmla="*/ 32 h 97"/>
                          <a:gd name="T6" fmla="*/ 53 w 60"/>
                          <a:gd name="T7" fmla="*/ 49 h 97"/>
                          <a:gd name="T8" fmla="*/ 43 w 60"/>
                          <a:gd name="T9" fmla="*/ 63 h 97"/>
                          <a:gd name="T10" fmla="*/ 24 w 60"/>
                          <a:gd name="T11" fmla="*/ 80 h 97"/>
                          <a:gd name="T12" fmla="*/ 9 w 60"/>
                          <a:gd name="T13" fmla="*/ 97 h 97"/>
                          <a:gd name="T14" fmla="*/ 0 w 60"/>
                          <a:gd name="T15" fmla="*/ 80 h 97"/>
                          <a:gd name="T16" fmla="*/ 6 w 60"/>
                          <a:gd name="T17" fmla="*/ 73 h 97"/>
                          <a:gd name="T18" fmla="*/ 24 w 60"/>
                          <a:gd name="T19" fmla="*/ 54 h 97"/>
                          <a:gd name="T20" fmla="*/ 23 w 60"/>
                          <a:gd name="T21" fmla="*/ 43 h 97"/>
                          <a:gd name="T22" fmla="*/ 32 w 60"/>
                          <a:gd name="T23" fmla="*/ 28 h 97"/>
                          <a:gd name="T24" fmla="*/ 54 w 60"/>
                          <a:gd name="T25" fmla="*/ 9 h 97"/>
                          <a:gd name="T26" fmla="*/ 54 w 60"/>
                          <a:gd name="T27" fmla="*/ 15 h 97"/>
                          <a:gd name="T28" fmla="*/ 58 w 60"/>
                          <a:gd name="T29" fmla="*/ 2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97">
                            <a:moveTo>
                              <a:pt x="53" y="0"/>
                            </a:moveTo>
                            <a:lnTo>
                              <a:pt x="53" y="17"/>
                            </a:lnTo>
                            <a:lnTo>
                              <a:pt x="60" y="32"/>
                            </a:lnTo>
                            <a:lnTo>
                              <a:pt x="53" y="49"/>
                            </a:lnTo>
                            <a:lnTo>
                              <a:pt x="43" y="63"/>
                            </a:lnTo>
                            <a:lnTo>
                              <a:pt x="24" y="80"/>
                            </a:lnTo>
                            <a:lnTo>
                              <a:pt x="9" y="97"/>
                            </a:lnTo>
                            <a:lnTo>
                              <a:pt x="0" y="80"/>
                            </a:lnTo>
                            <a:lnTo>
                              <a:pt x="6" y="73"/>
                            </a:lnTo>
                            <a:lnTo>
                              <a:pt x="24" y="54"/>
                            </a:lnTo>
                            <a:lnTo>
                              <a:pt x="23" y="43"/>
                            </a:lnTo>
                            <a:lnTo>
                              <a:pt x="32" y="28"/>
                            </a:lnTo>
                            <a:lnTo>
                              <a:pt x="54" y="9"/>
                            </a:lnTo>
                            <a:lnTo>
                              <a:pt x="54" y="15"/>
                            </a:lnTo>
                            <a:lnTo>
                              <a:pt x="58" y="24"/>
                            </a:lnTo>
                          </a:path>
                        </a:pathLst>
                      </a:custGeom>
                      <a:solidFill>
                        <a:schemeClr val="bg1"/>
                      </a:solidFill>
                      <a:ln w="9525">
                        <a:solidFill>
                          <a:schemeClr val="accent5"/>
                        </a:solidFill>
                        <a:prstDash val="solid"/>
                        <a:round/>
                        <a:headEnd/>
                        <a:tailEnd/>
                      </a:ln>
                    </p:spPr>
                    <p:txBody>
                      <a:bodyPr/>
                      <a:lstStyle/>
                      <a:p>
                        <a:endParaRPr lang="de-DE" dirty="0"/>
                      </a:p>
                    </p:txBody>
                  </p:sp>
                </p:grpSp>
                <p:sp>
                  <p:nvSpPr>
                    <p:cNvPr id="277" name="Freeform 99">
                      <a:extLst>
                        <a:ext uri="{FF2B5EF4-FFF2-40B4-BE49-F238E27FC236}">
                          <a16:creationId xmlns:a16="http://schemas.microsoft.com/office/drawing/2014/main" xmlns="" id="{13E473A1-BF95-45A3-B148-B360959D8A83}"/>
                        </a:ext>
                      </a:extLst>
                    </p:cNvPr>
                    <p:cNvSpPr>
                      <a:spLocks/>
                    </p:cNvSpPr>
                    <p:nvPr/>
                  </p:nvSpPr>
                  <p:spPr bwMode="gray">
                    <a:xfrm>
                      <a:off x="2245" y="1556"/>
                      <a:ext cx="76" cy="78"/>
                    </a:xfrm>
                    <a:custGeom>
                      <a:avLst/>
                      <a:gdLst>
                        <a:gd name="T0" fmla="*/ 59 w 76"/>
                        <a:gd name="T1" fmla="*/ 0 h 78"/>
                        <a:gd name="T2" fmla="*/ 50 w 76"/>
                        <a:gd name="T3" fmla="*/ 11 h 78"/>
                        <a:gd name="T4" fmla="*/ 35 w 76"/>
                        <a:gd name="T5" fmla="*/ 9 h 78"/>
                        <a:gd name="T6" fmla="*/ 26 w 76"/>
                        <a:gd name="T7" fmla="*/ 7 h 78"/>
                        <a:gd name="T8" fmla="*/ 30 w 76"/>
                        <a:gd name="T9" fmla="*/ 20 h 78"/>
                        <a:gd name="T10" fmla="*/ 32 w 76"/>
                        <a:gd name="T11" fmla="*/ 30 h 78"/>
                        <a:gd name="T12" fmla="*/ 33 w 76"/>
                        <a:gd name="T13" fmla="*/ 37 h 78"/>
                        <a:gd name="T14" fmla="*/ 28 w 76"/>
                        <a:gd name="T15" fmla="*/ 39 h 78"/>
                        <a:gd name="T16" fmla="*/ 19 w 76"/>
                        <a:gd name="T17" fmla="*/ 35 h 78"/>
                        <a:gd name="T18" fmla="*/ 19 w 76"/>
                        <a:gd name="T19" fmla="*/ 30 h 78"/>
                        <a:gd name="T20" fmla="*/ 11 w 76"/>
                        <a:gd name="T21" fmla="*/ 30 h 78"/>
                        <a:gd name="T22" fmla="*/ 13 w 76"/>
                        <a:gd name="T23" fmla="*/ 39 h 78"/>
                        <a:gd name="T24" fmla="*/ 9 w 76"/>
                        <a:gd name="T25" fmla="*/ 48 h 78"/>
                        <a:gd name="T26" fmla="*/ 0 w 76"/>
                        <a:gd name="T27" fmla="*/ 61 h 78"/>
                        <a:gd name="T28" fmla="*/ 4 w 76"/>
                        <a:gd name="T29" fmla="*/ 72 h 78"/>
                        <a:gd name="T30" fmla="*/ 13 w 76"/>
                        <a:gd name="T31" fmla="*/ 78 h 78"/>
                        <a:gd name="T32" fmla="*/ 22 w 76"/>
                        <a:gd name="T33" fmla="*/ 72 h 78"/>
                        <a:gd name="T34" fmla="*/ 33 w 76"/>
                        <a:gd name="T35" fmla="*/ 65 h 78"/>
                        <a:gd name="T36" fmla="*/ 54 w 76"/>
                        <a:gd name="T37" fmla="*/ 59 h 78"/>
                        <a:gd name="T38" fmla="*/ 63 w 76"/>
                        <a:gd name="T39" fmla="*/ 61 h 78"/>
                        <a:gd name="T40" fmla="*/ 59 w 76"/>
                        <a:gd name="T41" fmla="*/ 48 h 78"/>
                        <a:gd name="T42" fmla="*/ 67 w 76"/>
                        <a:gd name="T43" fmla="*/ 41 h 78"/>
                        <a:gd name="T44" fmla="*/ 76 w 76"/>
                        <a:gd name="T45" fmla="*/ 28 h 78"/>
                        <a:gd name="T46" fmla="*/ 72 w 76"/>
                        <a:gd name="T47" fmla="*/ 20 h 78"/>
                        <a:gd name="T48" fmla="*/ 65 w 76"/>
                        <a:gd name="T49" fmla="*/ 11 h 78"/>
                        <a:gd name="T50" fmla="*/ 59 w 76"/>
                        <a:gd name="T5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8">
                          <a:moveTo>
                            <a:pt x="59" y="0"/>
                          </a:moveTo>
                          <a:lnTo>
                            <a:pt x="50" y="11"/>
                          </a:lnTo>
                          <a:lnTo>
                            <a:pt x="35" y="9"/>
                          </a:lnTo>
                          <a:lnTo>
                            <a:pt x="26" y="7"/>
                          </a:lnTo>
                          <a:lnTo>
                            <a:pt x="30" y="20"/>
                          </a:lnTo>
                          <a:lnTo>
                            <a:pt x="32" y="30"/>
                          </a:lnTo>
                          <a:lnTo>
                            <a:pt x="33" y="37"/>
                          </a:lnTo>
                          <a:lnTo>
                            <a:pt x="28" y="39"/>
                          </a:lnTo>
                          <a:lnTo>
                            <a:pt x="19" y="35"/>
                          </a:lnTo>
                          <a:lnTo>
                            <a:pt x="19" y="30"/>
                          </a:lnTo>
                          <a:lnTo>
                            <a:pt x="11" y="30"/>
                          </a:lnTo>
                          <a:lnTo>
                            <a:pt x="13" y="39"/>
                          </a:lnTo>
                          <a:lnTo>
                            <a:pt x="9" y="48"/>
                          </a:lnTo>
                          <a:lnTo>
                            <a:pt x="0" y="61"/>
                          </a:lnTo>
                          <a:lnTo>
                            <a:pt x="4" y="72"/>
                          </a:lnTo>
                          <a:lnTo>
                            <a:pt x="13" y="78"/>
                          </a:lnTo>
                          <a:lnTo>
                            <a:pt x="22" y="72"/>
                          </a:lnTo>
                          <a:lnTo>
                            <a:pt x="33" y="65"/>
                          </a:lnTo>
                          <a:lnTo>
                            <a:pt x="54" y="59"/>
                          </a:lnTo>
                          <a:lnTo>
                            <a:pt x="63" y="61"/>
                          </a:lnTo>
                          <a:lnTo>
                            <a:pt x="59" y="48"/>
                          </a:lnTo>
                          <a:lnTo>
                            <a:pt x="67" y="41"/>
                          </a:lnTo>
                          <a:lnTo>
                            <a:pt x="76" y="28"/>
                          </a:lnTo>
                          <a:lnTo>
                            <a:pt x="72" y="20"/>
                          </a:lnTo>
                          <a:lnTo>
                            <a:pt x="65" y="11"/>
                          </a:lnTo>
                          <a:lnTo>
                            <a:pt x="59" y="0"/>
                          </a:lnTo>
                          <a:close/>
                        </a:path>
                      </a:pathLst>
                    </a:custGeom>
                    <a:solidFill>
                      <a:schemeClr val="bg1"/>
                    </a:solidFill>
                    <a:ln w="9525">
                      <a:solidFill>
                        <a:schemeClr val="accent5"/>
                      </a:solidFill>
                      <a:prstDash val="solid"/>
                      <a:round/>
                      <a:headEnd/>
                      <a:tailEnd/>
                    </a:ln>
                  </p:spPr>
                  <p:txBody>
                    <a:bodyPr/>
                    <a:lstStyle/>
                    <a:p>
                      <a:endParaRPr lang="de-DE" dirty="0"/>
                    </a:p>
                  </p:txBody>
                </p:sp>
              </p:grpSp>
            </p:grpSp>
            <p:grpSp>
              <p:nvGrpSpPr>
                <p:cNvPr id="285" name="Group 117">
                  <a:extLst>
                    <a:ext uri="{FF2B5EF4-FFF2-40B4-BE49-F238E27FC236}">
                      <a16:creationId xmlns:a16="http://schemas.microsoft.com/office/drawing/2014/main" xmlns="" id="{E41EB7EF-4C1A-48BB-9060-EE13690A7143}"/>
                    </a:ext>
                  </a:extLst>
                </p:cNvPr>
                <p:cNvGrpSpPr>
                  <a:grpSpLocks/>
                </p:cNvGrpSpPr>
                <p:nvPr/>
              </p:nvGrpSpPr>
              <p:grpSpPr bwMode="gray">
                <a:xfrm>
                  <a:off x="2253009" y="2321774"/>
                  <a:ext cx="1288476" cy="1413248"/>
                  <a:chOff x="1924" y="532"/>
                  <a:chExt cx="1012" cy="1110"/>
                </a:xfrm>
                <a:solidFill>
                  <a:schemeClr val="accent3"/>
                </a:solidFill>
              </p:grpSpPr>
              <p:sp>
                <p:nvSpPr>
                  <p:cNvPr id="286" name="Freeform 102">
                    <a:extLst>
                      <a:ext uri="{FF2B5EF4-FFF2-40B4-BE49-F238E27FC236}">
                        <a16:creationId xmlns:a16="http://schemas.microsoft.com/office/drawing/2014/main" xmlns="" id="{FCAF56CF-69F6-44EC-93D9-729A71721A40}"/>
                      </a:ext>
                    </a:extLst>
                  </p:cNvPr>
                  <p:cNvSpPr>
                    <a:spLocks/>
                  </p:cNvSpPr>
                  <p:nvPr/>
                </p:nvSpPr>
                <p:spPr bwMode="gray">
                  <a:xfrm>
                    <a:off x="1924" y="532"/>
                    <a:ext cx="1012" cy="1110"/>
                  </a:xfrm>
                  <a:custGeom>
                    <a:avLst/>
                    <a:gdLst>
                      <a:gd name="T0" fmla="*/ 298 w 1012"/>
                      <a:gd name="T1" fmla="*/ 1014 h 1110"/>
                      <a:gd name="T2" fmla="*/ 338 w 1012"/>
                      <a:gd name="T3" fmla="*/ 951 h 1110"/>
                      <a:gd name="T4" fmla="*/ 327 w 1012"/>
                      <a:gd name="T5" fmla="*/ 865 h 1110"/>
                      <a:gd name="T6" fmla="*/ 335 w 1012"/>
                      <a:gd name="T7" fmla="*/ 791 h 1110"/>
                      <a:gd name="T8" fmla="*/ 353 w 1012"/>
                      <a:gd name="T9" fmla="*/ 688 h 1110"/>
                      <a:gd name="T10" fmla="*/ 405 w 1012"/>
                      <a:gd name="T11" fmla="*/ 618 h 1110"/>
                      <a:gd name="T12" fmla="*/ 431 w 1012"/>
                      <a:gd name="T13" fmla="*/ 562 h 1110"/>
                      <a:gd name="T14" fmla="*/ 450 w 1012"/>
                      <a:gd name="T15" fmla="*/ 507 h 1110"/>
                      <a:gd name="T16" fmla="*/ 505 w 1012"/>
                      <a:gd name="T17" fmla="*/ 414 h 1110"/>
                      <a:gd name="T18" fmla="*/ 535 w 1012"/>
                      <a:gd name="T19" fmla="*/ 340 h 1110"/>
                      <a:gd name="T20" fmla="*/ 603 w 1012"/>
                      <a:gd name="T21" fmla="*/ 266 h 1110"/>
                      <a:gd name="T22" fmla="*/ 659 w 1012"/>
                      <a:gd name="T23" fmla="*/ 240 h 1110"/>
                      <a:gd name="T24" fmla="*/ 697 w 1012"/>
                      <a:gd name="T25" fmla="*/ 174 h 1110"/>
                      <a:gd name="T26" fmla="*/ 786 w 1012"/>
                      <a:gd name="T27" fmla="*/ 210 h 1110"/>
                      <a:gd name="T28" fmla="*/ 834 w 1012"/>
                      <a:gd name="T29" fmla="*/ 221 h 1110"/>
                      <a:gd name="T30" fmla="*/ 860 w 1012"/>
                      <a:gd name="T31" fmla="*/ 133 h 1110"/>
                      <a:gd name="T32" fmla="*/ 934 w 1012"/>
                      <a:gd name="T33" fmla="*/ 126 h 1110"/>
                      <a:gd name="T34" fmla="*/ 960 w 1012"/>
                      <a:gd name="T35" fmla="*/ 159 h 1110"/>
                      <a:gd name="T36" fmla="*/ 982 w 1012"/>
                      <a:gd name="T37" fmla="*/ 115 h 1110"/>
                      <a:gd name="T38" fmla="*/ 1008 w 1012"/>
                      <a:gd name="T39" fmla="*/ 63 h 1110"/>
                      <a:gd name="T40" fmla="*/ 960 w 1012"/>
                      <a:gd name="T41" fmla="*/ 19 h 1110"/>
                      <a:gd name="T42" fmla="*/ 916 w 1012"/>
                      <a:gd name="T43" fmla="*/ 22 h 1110"/>
                      <a:gd name="T44" fmla="*/ 890 w 1012"/>
                      <a:gd name="T45" fmla="*/ 19 h 1110"/>
                      <a:gd name="T46" fmla="*/ 853 w 1012"/>
                      <a:gd name="T47" fmla="*/ 44 h 1110"/>
                      <a:gd name="T48" fmla="*/ 838 w 1012"/>
                      <a:gd name="T49" fmla="*/ 30 h 1110"/>
                      <a:gd name="T50" fmla="*/ 782 w 1012"/>
                      <a:gd name="T51" fmla="*/ 96 h 1110"/>
                      <a:gd name="T52" fmla="*/ 727 w 1012"/>
                      <a:gd name="T53" fmla="*/ 115 h 1110"/>
                      <a:gd name="T54" fmla="*/ 667 w 1012"/>
                      <a:gd name="T55" fmla="*/ 133 h 1110"/>
                      <a:gd name="T56" fmla="*/ 596 w 1012"/>
                      <a:gd name="T57" fmla="*/ 148 h 1110"/>
                      <a:gd name="T58" fmla="*/ 588 w 1012"/>
                      <a:gd name="T59" fmla="*/ 203 h 1110"/>
                      <a:gd name="T60" fmla="*/ 581 w 1012"/>
                      <a:gd name="T61" fmla="*/ 251 h 1110"/>
                      <a:gd name="T62" fmla="*/ 524 w 1012"/>
                      <a:gd name="T63" fmla="*/ 262 h 1110"/>
                      <a:gd name="T64" fmla="*/ 505 w 1012"/>
                      <a:gd name="T65" fmla="*/ 303 h 1110"/>
                      <a:gd name="T66" fmla="*/ 461 w 1012"/>
                      <a:gd name="T67" fmla="*/ 362 h 1110"/>
                      <a:gd name="T68" fmla="*/ 416 w 1012"/>
                      <a:gd name="T69" fmla="*/ 436 h 1110"/>
                      <a:gd name="T70" fmla="*/ 379 w 1012"/>
                      <a:gd name="T71" fmla="*/ 511 h 1110"/>
                      <a:gd name="T72" fmla="*/ 357 w 1012"/>
                      <a:gd name="T73" fmla="*/ 555 h 1110"/>
                      <a:gd name="T74" fmla="*/ 286 w 1012"/>
                      <a:gd name="T75" fmla="*/ 618 h 1110"/>
                      <a:gd name="T76" fmla="*/ 327 w 1012"/>
                      <a:gd name="T77" fmla="*/ 625 h 1110"/>
                      <a:gd name="T78" fmla="*/ 264 w 1012"/>
                      <a:gd name="T79" fmla="*/ 637 h 1110"/>
                      <a:gd name="T80" fmla="*/ 205 w 1012"/>
                      <a:gd name="T81" fmla="*/ 674 h 1110"/>
                      <a:gd name="T82" fmla="*/ 155 w 1012"/>
                      <a:gd name="T83" fmla="*/ 677 h 1110"/>
                      <a:gd name="T84" fmla="*/ 114 w 1012"/>
                      <a:gd name="T85" fmla="*/ 705 h 1110"/>
                      <a:gd name="T86" fmla="*/ 88 w 1012"/>
                      <a:gd name="T87" fmla="*/ 733 h 1110"/>
                      <a:gd name="T88" fmla="*/ 35 w 1012"/>
                      <a:gd name="T89" fmla="*/ 767 h 1110"/>
                      <a:gd name="T90" fmla="*/ 20 w 1012"/>
                      <a:gd name="T91" fmla="*/ 889 h 1110"/>
                      <a:gd name="T92" fmla="*/ 41 w 1012"/>
                      <a:gd name="T93" fmla="*/ 917 h 1110"/>
                      <a:gd name="T94" fmla="*/ 20 w 1012"/>
                      <a:gd name="T95" fmla="*/ 971 h 1110"/>
                      <a:gd name="T96" fmla="*/ 33 w 1012"/>
                      <a:gd name="T97" fmla="*/ 1003 h 1110"/>
                      <a:gd name="T98" fmla="*/ 0 w 1012"/>
                      <a:gd name="T99" fmla="*/ 1030 h 1110"/>
                      <a:gd name="T100" fmla="*/ 85 w 1012"/>
                      <a:gd name="T101" fmla="*/ 1110 h 1110"/>
                      <a:gd name="T102" fmla="*/ 210 w 1012"/>
                      <a:gd name="T103" fmla="*/ 1019 h 1110"/>
                      <a:gd name="T104" fmla="*/ 255 w 1012"/>
                      <a:gd name="T105" fmla="*/ 967 h 1110"/>
                      <a:gd name="T106" fmla="*/ 264 w 1012"/>
                      <a:gd name="T107" fmla="*/ 1045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2" h="1110">
                        <a:moveTo>
                          <a:pt x="272" y="1045"/>
                        </a:moveTo>
                        <a:lnTo>
                          <a:pt x="275" y="1043"/>
                        </a:lnTo>
                        <a:lnTo>
                          <a:pt x="286" y="1040"/>
                        </a:lnTo>
                        <a:lnTo>
                          <a:pt x="294" y="1028"/>
                        </a:lnTo>
                        <a:lnTo>
                          <a:pt x="298" y="1014"/>
                        </a:lnTo>
                        <a:lnTo>
                          <a:pt x="301" y="1006"/>
                        </a:lnTo>
                        <a:lnTo>
                          <a:pt x="298" y="984"/>
                        </a:lnTo>
                        <a:lnTo>
                          <a:pt x="301" y="969"/>
                        </a:lnTo>
                        <a:lnTo>
                          <a:pt x="312" y="962"/>
                        </a:lnTo>
                        <a:lnTo>
                          <a:pt x="338" y="951"/>
                        </a:lnTo>
                        <a:lnTo>
                          <a:pt x="342" y="939"/>
                        </a:lnTo>
                        <a:lnTo>
                          <a:pt x="338" y="902"/>
                        </a:lnTo>
                        <a:lnTo>
                          <a:pt x="335" y="895"/>
                        </a:lnTo>
                        <a:lnTo>
                          <a:pt x="335" y="873"/>
                        </a:lnTo>
                        <a:lnTo>
                          <a:pt x="327" y="865"/>
                        </a:lnTo>
                        <a:lnTo>
                          <a:pt x="331" y="847"/>
                        </a:lnTo>
                        <a:lnTo>
                          <a:pt x="338" y="847"/>
                        </a:lnTo>
                        <a:lnTo>
                          <a:pt x="357" y="836"/>
                        </a:lnTo>
                        <a:lnTo>
                          <a:pt x="342" y="802"/>
                        </a:lnTo>
                        <a:lnTo>
                          <a:pt x="335" y="791"/>
                        </a:lnTo>
                        <a:lnTo>
                          <a:pt x="335" y="788"/>
                        </a:lnTo>
                        <a:lnTo>
                          <a:pt x="335" y="759"/>
                        </a:lnTo>
                        <a:lnTo>
                          <a:pt x="346" y="737"/>
                        </a:lnTo>
                        <a:lnTo>
                          <a:pt x="349" y="714"/>
                        </a:lnTo>
                        <a:lnTo>
                          <a:pt x="353" y="688"/>
                        </a:lnTo>
                        <a:lnTo>
                          <a:pt x="349" y="666"/>
                        </a:lnTo>
                        <a:lnTo>
                          <a:pt x="357" y="651"/>
                        </a:lnTo>
                        <a:lnTo>
                          <a:pt x="361" y="640"/>
                        </a:lnTo>
                        <a:lnTo>
                          <a:pt x="383" y="625"/>
                        </a:lnTo>
                        <a:lnTo>
                          <a:pt x="405" y="618"/>
                        </a:lnTo>
                        <a:lnTo>
                          <a:pt x="424" y="625"/>
                        </a:lnTo>
                        <a:lnTo>
                          <a:pt x="431" y="629"/>
                        </a:lnTo>
                        <a:lnTo>
                          <a:pt x="442" y="614"/>
                        </a:lnTo>
                        <a:lnTo>
                          <a:pt x="442" y="596"/>
                        </a:lnTo>
                        <a:lnTo>
                          <a:pt x="431" y="562"/>
                        </a:lnTo>
                        <a:lnTo>
                          <a:pt x="427" y="548"/>
                        </a:lnTo>
                        <a:lnTo>
                          <a:pt x="431" y="540"/>
                        </a:lnTo>
                        <a:lnTo>
                          <a:pt x="438" y="540"/>
                        </a:lnTo>
                        <a:lnTo>
                          <a:pt x="446" y="529"/>
                        </a:lnTo>
                        <a:lnTo>
                          <a:pt x="450" y="507"/>
                        </a:lnTo>
                        <a:lnTo>
                          <a:pt x="453" y="477"/>
                        </a:lnTo>
                        <a:lnTo>
                          <a:pt x="457" y="448"/>
                        </a:lnTo>
                        <a:lnTo>
                          <a:pt x="468" y="436"/>
                        </a:lnTo>
                        <a:lnTo>
                          <a:pt x="490" y="422"/>
                        </a:lnTo>
                        <a:lnTo>
                          <a:pt x="505" y="414"/>
                        </a:lnTo>
                        <a:lnTo>
                          <a:pt x="509" y="392"/>
                        </a:lnTo>
                        <a:lnTo>
                          <a:pt x="516" y="377"/>
                        </a:lnTo>
                        <a:lnTo>
                          <a:pt x="535" y="362"/>
                        </a:lnTo>
                        <a:lnTo>
                          <a:pt x="539" y="351"/>
                        </a:lnTo>
                        <a:lnTo>
                          <a:pt x="535" y="340"/>
                        </a:lnTo>
                        <a:lnTo>
                          <a:pt x="535" y="325"/>
                        </a:lnTo>
                        <a:lnTo>
                          <a:pt x="550" y="314"/>
                        </a:lnTo>
                        <a:lnTo>
                          <a:pt x="568" y="281"/>
                        </a:lnTo>
                        <a:lnTo>
                          <a:pt x="581" y="284"/>
                        </a:lnTo>
                        <a:lnTo>
                          <a:pt x="603" y="266"/>
                        </a:lnTo>
                        <a:lnTo>
                          <a:pt x="600" y="251"/>
                        </a:lnTo>
                        <a:lnTo>
                          <a:pt x="614" y="236"/>
                        </a:lnTo>
                        <a:lnTo>
                          <a:pt x="622" y="240"/>
                        </a:lnTo>
                        <a:lnTo>
                          <a:pt x="637" y="236"/>
                        </a:lnTo>
                        <a:lnTo>
                          <a:pt x="659" y="240"/>
                        </a:lnTo>
                        <a:lnTo>
                          <a:pt x="689" y="214"/>
                        </a:lnTo>
                        <a:lnTo>
                          <a:pt x="686" y="199"/>
                        </a:lnTo>
                        <a:lnTo>
                          <a:pt x="689" y="192"/>
                        </a:lnTo>
                        <a:lnTo>
                          <a:pt x="682" y="188"/>
                        </a:lnTo>
                        <a:lnTo>
                          <a:pt x="697" y="174"/>
                        </a:lnTo>
                        <a:lnTo>
                          <a:pt x="719" y="171"/>
                        </a:lnTo>
                        <a:lnTo>
                          <a:pt x="734" y="192"/>
                        </a:lnTo>
                        <a:lnTo>
                          <a:pt x="760" y="221"/>
                        </a:lnTo>
                        <a:lnTo>
                          <a:pt x="771" y="221"/>
                        </a:lnTo>
                        <a:lnTo>
                          <a:pt x="786" y="210"/>
                        </a:lnTo>
                        <a:lnTo>
                          <a:pt x="797" y="207"/>
                        </a:lnTo>
                        <a:lnTo>
                          <a:pt x="804" y="210"/>
                        </a:lnTo>
                        <a:lnTo>
                          <a:pt x="816" y="221"/>
                        </a:lnTo>
                        <a:lnTo>
                          <a:pt x="830" y="225"/>
                        </a:lnTo>
                        <a:lnTo>
                          <a:pt x="834" y="221"/>
                        </a:lnTo>
                        <a:lnTo>
                          <a:pt x="841" y="207"/>
                        </a:lnTo>
                        <a:lnTo>
                          <a:pt x="845" y="199"/>
                        </a:lnTo>
                        <a:lnTo>
                          <a:pt x="860" y="174"/>
                        </a:lnTo>
                        <a:lnTo>
                          <a:pt x="864" y="171"/>
                        </a:lnTo>
                        <a:lnTo>
                          <a:pt x="860" y="133"/>
                        </a:lnTo>
                        <a:lnTo>
                          <a:pt x="879" y="115"/>
                        </a:lnTo>
                        <a:lnTo>
                          <a:pt x="886" y="119"/>
                        </a:lnTo>
                        <a:lnTo>
                          <a:pt x="908" y="96"/>
                        </a:lnTo>
                        <a:lnTo>
                          <a:pt x="927" y="119"/>
                        </a:lnTo>
                        <a:lnTo>
                          <a:pt x="934" y="126"/>
                        </a:lnTo>
                        <a:lnTo>
                          <a:pt x="945" y="122"/>
                        </a:lnTo>
                        <a:lnTo>
                          <a:pt x="953" y="133"/>
                        </a:lnTo>
                        <a:lnTo>
                          <a:pt x="953" y="141"/>
                        </a:lnTo>
                        <a:lnTo>
                          <a:pt x="960" y="148"/>
                        </a:lnTo>
                        <a:lnTo>
                          <a:pt x="960" y="159"/>
                        </a:lnTo>
                        <a:lnTo>
                          <a:pt x="971" y="145"/>
                        </a:lnTo>
                        <a:lnTo>
                          <a:pt x="990" y="130"/>
                        </a:lnTo>
                        <a:lnTo>
                          <a:pt x="1001" y="107"/>
                        </a:lnTo>
                        <a:lnTo>
                          <a:pt x="993" y="104"/>
                        </a:lnTo>
                        <a:lnTo>
                          <a:pt x="982" y="115"/>
                        </a:lnTo>
                        <a:lnTo>
                          <a:pt x="979" y="96"/>
                        </a:lnTo>
                        <a:lnTo>
                          <a:pt x="971" y="93"/>
                        </a:lnTo>
                        <a:lnTo>
                          <a:pt x="968" y="82"/>
                        </a:lnTo>
                        <a:lnTo>
                          <a:pt x="997" y="59"/>
                        </a:lnTo>
                        <a:lnTo>
                          <a:pt x="1008" y="63"/>
                        </a:lnTo>
                        <a:lnTo>
                          <a:pt x="1012" y="48"/>
                        </a:lnTo>
                        <a:lnTo>
                          <a:pt x="1005" y="44"/>
                        </a:lnTo>
                        <a:lnTo>
                          <a:pt x="986" y="37"/>
                        </a:lnTo>
                        <a:lnTo>
                          <a:pt x="975" y="33"/>
                        </a:lnTo>
                        <a:lnTo>
                          <a:pt x="960" y="19"/>
                        </a:lnTo>
                        <a:lnTo>
                          <a:pt x="945" y="15"/>
                        </a:lnTo>
                        <a:lnTo>
                          <a:pt x="930" y="30"/>
                        </a:lnTo>
                        <a:lnTo>
                          <a:pt x="923" y="41"/>
                        </a:lnTo>
                        <a:lnTo>
                          <a:pt x="908" y="30"/>
                        </a:lnTo>
                        <a:lnTo>
                          <a:pt x="916" y="22"/>
                        </a:lnTo>
                        <a:lnTo>
                          <a:pt x="919" y="4"/>
                        </a:lnTo>
                        <a:lnTo>
                          <a:pt x="916" y="0"/>
                        </a:lnTo>
                        <a:lnTo>
                          <a:pt x="897" y="0"/>
                        </a:lnTo>
                        <a:lnTo>
                          <a:pt x="893" y="7"/>
                        </a:lnTo>
                        <a:lnTo>
                          <a:pt x="890" y="19"/>
                        </a:lnTo>
                        <a:lnTo>
                          <a:pt x="893" y="30"/>
                        </a:lnTo>
                        <a:lnTo>
                          <a:pt x="879" y="44"/>
                        </a:lnTo>
                        <a:lnTo>
                          <a:pt x="867" y="22"/>
                        </a:lnTo>
                        <a:lnTo>
                          <a:pt x="856" y="26"/>
                        </a:lnTo>
                        <a:lnTo>
                          <a:pt x="853" y="44"/>
                        </a:lnTo>
                        <a:lnTo>
                          <a:pt x="845" y="70"/>
                        </a:lnTo>
                        <a:lnTo>
                          <a:pt x="827" y="89"/>
                        </a:lnTo>
                        <a:lnTo>
                          <a:pt x="816" y="67"/>
                        </a:lnTo>
                        <a:lnTo>
                          <a:pt x="834" y="52"/>
                        </a:lnTo>
                        <a:lnTo>
                          <a:pt x="838" y="30"/>
                        </a:lnTo>
                        <a:lnTo>
                          <a:pt x="827" y="30"/>
                        </a:lnTo>
                        <a:lnTo>
                          <a:pt x="808" y="30"/>
                        </a:lnTo>
                        <a:lnTo>
                          <a:pt x="793" y="52"/>
                        </a:lnTo>
                        <a:lnTo>
                          <a:pt x="775" y="82"/>
                        </a:lnTo>
                        <a:lnTo>
                          <a:pt x="782" y="96"/>
                        </a:lnTo>
                        <a:lnTo>
                          <a:pt x="771" y="104"/>
                        </a:lnTo>
                        <a:lnTo>
                          <a:pt x="756" y="93"/>
                        </a:lnTo>
                        <a:lnTo>
                          <a:pt x="741" y="100"/>
                        </a:lnTo>
                        <a:lnTo>
                          <a:pt x="745" y="115"/>
                        </a:lnTo>
                        <a:lnTo>
                          <a:pt x="727" y="115"/>
                        </a:lnTo>
                        <a:lnTo>
                          <a:pt x="715" y="119"/>
                        </a:lnTo>
                        <a:lnTo>
                          <a:pt x="701" y="137"/>
                        </a:lnTo>
                        <a:lnTo>
                          <a:pt x="682" y="133"/>
                        </a:lnTo>
                        <a:lnTo>
                          <a:pt x="682" y="145"/>
                        </a:lnTo>
                        <a:lnTo>
                          <a:pt x="667" y="133"/>
                        </a:lnTo>
                        <a:lnTo>
                          <a:pt x="648" y="141"/>
                        </a:lnTo>
                        <a:lnTo>
                          <a:pt x="644" y="156"/>
                        </a:lnTo>
                        <a:lnTo>
                          <a:pt x="629" y="159"/>
                        </a:lnTo>
                        <a:lnTo>
                          <a:pt x="618" y="145"/>
                        </a:lnTo>
                        <a:lnTo>
                          <a:pt x="596" y="148"/>
                        </a:lnTo>
                        <a:lnTo>
                          <a:pt x="574" y="156"/>
                        </a:lnTo>
                        <a:lnTo>
                          <a:pt x="574" y="178"/>
                        </a:lnTo>
                        <a:lnTo>
                          <a:pt x="588" y="182"/>
                        </a:lnTo>
                        <a:lnTo>
                          <a:pt x="588" y="188"/>
                        </a:lnTo>
                        <a:lnTo>
                          <a:pt x="588" y="203"/>
                        </a:lnTo>
                        <a:lnTo>
                          <a:pt x="577" y="199"/>
                        </a:lnTo>
                        <a:lnTo>
                          <a:pt x="564" y="207"/>
                        </a:lnTo>
                        <a:lnTo>
                          <a:pt x="568" y="221"/>
                        </a:lnTo>
                        <a:lnTo>
                          <a:pt x="581" y="233"/>
                        </a:lnTo>
                        <a:lnTo>
                          <a:pt x="581" y="251"/>
                        </a:lnTo>
                        <a:lnTo>
                          <a:pt x="568" y="244"/>
                        </a:lnTo>
                        <a:lnTo>
                          <a:pt x="557" y="247"/>
                        </a:lnTo>
                        <a:lnTo>
                          <a:pt x="557" y="262"/>
                        </a:lnTo>
                        <a:lnTo>
                          <a:pt x="539" y="262"/>
                        </a:lnTo>
                        <a:lnTo>
                          <a:pt x="524" y="262"/>
                        </a:lnTo>
                        <a:lnTo>
                          <a:pt x="520" y="273"/>
                        </a:lnTo>
                        <a:lnTo>
                          <a:pt x="516" y="281"/>
                        </a:lnTo>
                        <a:lnTo>
                          <a:pt x="505" y="284"/>
                        </a:lnTo>
                        <a:lnTo>
                          <a:pt x="501" y="292"/>
                        </a:lnTo>
                        <a:lnTo>
                          <a:pt x="505" y="303"/>
                        </a:lnTo>
                        <a:lnTo>
                          <a:pt x="483" y="310"/>
                        </a:lnTo>
                        <a:lnTo>
                          <a:pt x="498" y="325"/>
                        </a:lnTo>
                        <a:lnTo>
                          <a:pt x="501" y="333"/>
                        </a:lnTo>
                        <a:lnTo>
                          <a:pt x="487" y="344"/>
                        </a:lnTo>
                        <a:lnTo>
                          <a:pt x="461" y="362"/>
                        </a:lnTo>
                        <a:lnTo>
                          <a:pt x="442" y="377"/>
                        </a:lnTo>
                        <a:lnTo>
                          <a:pt x="431" y="399"/>
                        </a:lnTo>
                        <a:lnTo>
                          <a:pt x="412" y="414"/>
                        </a:lnTo>
                        <a:lnTo>
                          <a:pt x="412" y="425"/>
                        </a:lnTo>
                        <a:lnTo>
                          <a:pt x="416" y="436"/>
                        </a:lnTo>
                        <a:lnTo>
                          <a:pt x="401" y="448"/>
                        </a:lnTo>
                        <a:lnTo>
                          <a:pt x="405" y="462"/>
                        </a:lnTo>
                        <a:lnTo>
                          <a:pt x="390" y="488"/>
                        </a:lnTo>
                        <a:lnTo>
                          <a:pt x="379" y="492"/>
                        </a:lnTo>
                        <a:lnTo>
                          <a:pt x="379" y="511"/>
                        </a:lnTo>
                        <a:lnTo>
                          <a:pt x="387" y="522"/>
                        </a:lnTo>
                        <a:lnTo>
                          <a:pt x="375" y="533"/>
                        </a:lnTo>
                        <a:lnTo>
                          <a:pt x="368" y="525"/>
                        </a:lnTo>
                        <a:lnTo>
                          <a:pt x="353" y="533"/>
                        </a:lnTo>
                        <a:lnTo>
                          <a:pt x="357" y="555"/>
                        </a:lnTo>
                        <a:lnTo>
                          <a:pt x="342" y="562"/>
                        </a:lnTo>
                        <a:lnTo>
                          <a:pt x="320" y="566"/>
                        </a:lnTo>
                        <a:lnTo>
                          <a:pt x="305" y="585"/>
                        </a:lnTo>
                        <a:lnTo>
                          <a:pt x="301" y="603"/>
                        </a:lnTo>
                        <a:lnTo>
                          <a:pt x="286" y="618"/>
                        </a:lnTo>
                        <a:lnTo>
                          <a:pt x="286" y="629"/>
                        </a:lnTo>
                        <a:lnTo>
                          <a:pt x="305" y="614"/>
                        </a:lnTo>
                        <a:lnTo>
                          <a:pt x="327" y="599"/>
                        </a:lnTo>
                        <a:lnTo>
                          <a:pt x="335" y="603"/>
                        </a:lnTo>
                        <a:lnTo>
                          <a:pt x="327" y="625"/>
                        </a:lnTo>
                        <a:lnTo>
                          <a:pt x="309" y="637"/>
                        </a:lnTo>
                        <a:lnTo>
                          <a:pt x="290" y="633"/>
                        </a:lnTo>
                        <a:lnTo>
                          <a:pt x="294" y="648"/>
                        </a:lnTo>
                        <a:lnTo>
                          <a:pt x="268" y="659"/>
                        </a:lnTo>
                        <a:lnTo>
                          <a:pt x="264" y="637"/>
                        </a:lnTo>
                        <a:lnTo>
                          <a:pt x="253" y="629"/>
                        </a:lnTo>
                        <a:lnTo>
                          <a:pt x="238" y="651"/>
                        </a:lnTo>
                        <a:lnTo>
                          <a:pt x="223" y="651"/>
                        </a:lnTo>
                        <a:lnTo>
                          <a:pt x="207" y="655"/>
                        </a:lnTo>
                        <a:lnTo>
                          <a:pt x="205" y="674"/>
                        </a:lnTo>
                        <a:lnTo>
                          <a:pt x="197" y="677"/>
                        </a:lnTo>
                        <a:lnTo>
                          <a:pt x="197" y="687"/>
                        </a:lnTo>
                        <a:lnTo>
                          <a:pt x="188" y="683"/>
                        </a:lnTo>
                        <a:lnTo>
                          <a:pt x="175" y="675"/>
                        </a:lnTo>
                        <a:lnTo>
                          <a:pt x="155" y="677"/>
                        </a:lnTo>
                        <a:lnTo>
                          <a:pt x="155" y="688"/>
                        </a:lnTo>
                        <a:lnTo>
                          <a:pt x="157" y="698"/>
                        </a:lnTo>
                        <a:lnTo>
                          <a:pt x="149" y="701"/>
                        </a:lnTo>
                        <a:lnTo>
                          <a:pt x="131" y="692"/>
                        </a:lnTo>
                        <a:lnTo>
                          <a:pt x="114" y="705"/>
                        </a:lnTo>
                        <a:lnTo>
                          <a:pt x="118" y="716"/>
                        </a:lnTo>
                        <a:lnTo>
                          <a:pt x="116" y="724"/>
                        </a:lnTo>
                        <a:lnTo>
                          <a:pt x="99" y="716"/>
                        </a:lnTo>
                        <a:lnTo>
                          <a:pt x="94" y="726"/>
                        </a:lnTo>
                        <a:lnTo>
                          <a:pt x="88" y="733"/>
                        </a:lnTo>
                        <a:lnTo>
                          <a:pt x="67" y="729"/>
                        </a:lnTo>
                        <a:lnTo>
                          <a:pt x="56" y="731"/>
                        </a:lnTo>
                        <a:lnTo>
                          <a:pt x="54" y="746"/>
                        </a:lnTo>
                        <a:lnTo>
                          <a:pt x="46" y="750"/>
                        </a:lnTo>
                        <a:lnTo>
                          <a:pt x="35" y="767"/>
                        </a:lnTo>
                        <a:lnTo>
                          <a:pt x="37" y="788"/>
                        </a:lnTo>
                        <a:lnTo>
                          <a:pt x="33" y="817"/>
                        </a:lnTo>
                        <a:lnTo>
                          <a:pt x="28" y="847"/>
                        </a:lnTo>
                        <a:lnTo>
                          <a:pt x="24" y="875"/>
                        </a:lnTo>
                        <a:lnTo>
                          <a:pt x="20" y="889"/>
                        </a:lnTo>
                        <a:lnTo>
                          <a:pt x="30" y="902"/>
                        </a:lnTo>
                        <a:lnTo>
                          <a:pt x="46" y="891"/>
                        </a:lnTo>
                        <a:lnTo>
                          <a:pt x="57" y="897"/>
                        </a:lnTo>
                        <a:lnTo>
                          <a:pt x="57" y="908"/>
                        </a:lnTo>
                        <a:lnTo>
                          <a:pt x="41" y="917"/>
                        </a:lnTo>
                        <a:lnTo>
                          <a:pt x="39" y="936"/>
                        </a:lnTo>
                        <a:lnTo>
                          <a:pt x="35" y="945"/>
                        </a:lnTo>
                        <a:lnTo>
                          <a:pt x="19" y="943"/>
                        </a:lnTo>
                        <a:lnTo>
                          <a:pt x="13" y="965"/>
                        </a:lnTo>
                        <a:lnTo>
                          <a:pt x="20" y="971"/>
                        </a:lnTo>
                        <a:lnTo>
                          <a:pt x="35" y="967"/>
                        </a:lnTo>
                        <a:lnTo>
                          <a:pt x="43" y="977"/>
                        </a:lnTo>
                        <a:lnTo>
                          <a:pt x="44" y="982"/>
                        </a:lnTo>
                        <a:lnTo>
                          <a:pt x="32" y="990"/>
                        </a:lnTo>
                        <a:lnTo>
                          <a:pt x="33" y="1003"/>
                        </a:lnTo>
                        <a:lnTo>
                          <a:pt x="19" y="1006"/>
                        </a:lnTo>
                        <a:lnTo>
                          <a:pt x="9" y="999"/>
                        </a:lnTo>
                        <a:lnTo>
                          <a:pt x="11" y="1017"/>
                        </a:lnTo>
                        <a:lnTo>
                          <a:pt x="9" y="1030"/>
                        </a:lnTo>
                        <a:lnTo>
                          <a:pt x="0" y="1030"/>
                        </a:lnTo>
                        <a:lnTo>
                          <a:pt x="22" y="1053"/>
                        </a:lnTo>
                        <a:lnTo>
                          <a:pt x="33" y="1066"/>
                        </a:lnTo>
                        <a:lnTo>
                          <a:pt x="39" y="1084"/>
                        </a:lnTo>
                        <a:lnTo>
                          <a:pt x="61" y="1097"/>
                        </a:lnTo>
                        <a:lnTo>
                          <a:pt x="85" y="1110"/>
                        </a:lnTo>
                        <a:lnTo>
                          <a:pt x="109" y="1110"/>
                        </a:lnTo>
                        <a:lnTo>
                          <a:pt x="142" y="1088"/>
                        </a:lnTo>
                        <a:lnTo>
                          <a:pt x="175" y="1064"/>
                        </a:lnTo>
                        <a:lnTo>
                          <a:pt x="205" y="1023"/>
                        </a:lnTo>
                        <a:lnTo>
                          <a:pt x="210" y="1019"/>
                        </a:lnTo>
                        <a:lnTo>
                          <a:pt x="218" y="1032"/>
                        </a:lnTo>
                        <a:lnTo>
                          <a:pt x="233" y="1023"/>
                        </a:lnTo>
                        <a:lnTo>
                          <a:pt x="238" y="1008"/>
                        </a:lnTo>
                        <a:lnTo>
                          <a:pt x="240" y="990"/>
                        </a:lnTo>
                        <a:lnTo>
                          <a:pt x="255" y="967"/>
                        </a:lnTo>
                        <a:lnTo>
                          <a:pt x="249" y="993"/>
                        </a:lnTo>
                        <a:lnTo>
                          <a:pt x="257" y="997"/>
                        </a:lnTo>
                        <a:lnTo>
                          <a:pt x="253" y="1008"/>
                        </a:lnTo>
                        <a:lnTo>
                          <a:pt x="257" y="1028"/>
                        </a:lnTo>
                        <a:lnTo>
                          <a:pt x="264" y="1045"/>
                        </a:lnTo>
                        <a:lnTo>
                          <a:pt x="273" y="1040"/>
                        </a:lnTo>
                        <a:lnTo>
                          <a:pt x="272" y="1045"/>
                        </a:lnTo>
                        <a:close/>
                      </a:path>
                    </a:pathLst>
                  </a:custGeom>
                  <a:solidFill>
                    <a:schemeClr val="accent5">
                      <a:lumMod val="20000"/>
                      <a:lumOff val="80000"/>
                    </a:schemeClr>
                  </a:solidFill>
                  <a:ln w="9525">
                    <a:solidFill>
                      <a:schemeClr val="accent5"/>
                    </a:solidFill>
                    <a:round/>
                    <a:headEnd/>
                    <a:tailEnd/>
                  </a:ln>
                </p:spPr>
                <p:txBody>
                  <a:bodyPr/>
                  <a:lstStyle/>
                  <a:p>
                    <a:endParaRPr lang="de-DE" dirty="0"/>
                  </a:p>
                </p:txBody>
              </p:sp>
              <p:grpSp>
                <p:nvGrpSpPr>
                  <p:cNvPr id="287" name="Group 116">
                    <a:extLst>
                      <a:ext uri="{FF2B5EF4-FFF2-40B4-BE49-F238E27FC236}">
                        <a16:creationId xmlns:a16="http://schemas.microsoft.com/office/drawing/2014/main" xmlns="" id="{13A505C6-FE30-44D7-888C-734B97912122}"/>
                      </a:ext>
                    </a:extLst>
                  </p:cNvPr>
                  <p:cNvGrpSpPr>
                    <a:grpSpLocks/>
                  </p:cNvGrpSpPr>
                  <p:nvPr/>
                </p:nvGrpSpPr>
                <p:grpSpPr bwMode="gray">
                  <a:xfrm>
                    <a:off x="2129" y="532"/>
                    <a:ext cx="641" cy="635"/>
                    <a:chOff x="2129" y="532"/>
                    <a:chExt cx="641" cy="635"/>
                  </a:xfrm>
                  <a:grpFill/>
                </p:grpSpPr>
                <p:sp>
                  <p:nvSpPr>
                    <p:cNvPr id="288" name="Freeform 106">
                      <a:extLst>
                        <a:ext uri="{FF2B5EF4-FFF2-40B4-BE49-F238E27FC236}">
                          <a16:creationId xmlns:a16="http://schemas.microsoft.com/office/drawing/2014/main" xmlns="" id="{48A7DD0D-A6AD-44EC-A143-BCE1A170B7B5}"/>
                        </a:ext>
                      </a:extLst>
                    </p:cNvPr>
                    <p:cNvSpPr>
                      <a:spLocks/>
                    </p:cNvSpPr>
                    <p:nvPr/>
                  </p:nvSpPr>
                  <p:spPr bwMode="gray">
                    <a:xfrm>
                      <a:off x="2432" y="726"/>
                      <a:ext cx="30" cy="39"/>
                    </a:xfrm>
                    <a:custGeom>
                      <a:avLst/>
                      <a:gdLst>
                        <a:gd name="T0" fmla="*/ 30 w 30"/>
                        <a:gd name="T1" fmla="*/ 6 h 39"/>
                        <a:gd name="T2" fmla="*/ 27 w 30"/>
                        <a:gd name="T3" fmla="*/ 15 h 39"/>
                        <a:gd name="T4" fmla="*/ 30 w 30"/>
                        <a:gd name="T5" fmla="*/ 33 h 39"/>
                        <a:gd name="T6" fmla="*/ 9 w 30"/>
                        <a:gd name="T7" fmla="*/ 39 h 39"/>
                        <a:gd name="T8" fmla="*/ 0 w 30"/>
                        <a:gd name="T9" fmla="*/ 30 h 39"/>
                        <a:gd name="T10" fmla="*/ 0 w 30"/>
                        <a:gd name="T11" fmla="*/ 15 h 39"/>
                        <a:gd name="T12" fmla="*/ 6 w 30"/>
                        <a:gd name="T13" fmla="*/ 0 h 39"/>
                        <a:gd name="T14" fmla="*/ 30 w 30"/>
                        <a:gd name="T15" fmla="*/ 6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9">
                          <a:moveTo>
                            <a:pt x="30" y="6"/>
                          </a:moveTo>
                          <a:lnTo>
                            <a:pt x="27" y="15"/>
                          </a:lnTo>
                          <a:lnTo>
                            <a:pt x="30" y="33"/>
                          </a:lnTo>
                          <a:lnTo>
                            <a:pt x="9" y="39"/>
                          </a:lnTo>
                          <a:lnTo>
                            <a:pt x="0" y="30"/>
                          </a:lnTo>
                          <a:lnTo>
                            <a:pt x="0" y="15"/>
                          </a:lnTo>
                          <a:lnTo>
                            <a:pt x="6" y="0"/>
                          </a:lnTo>
                          <a:lnTo>
                            <a:pt x="30" y="6"/>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89" name="Freeform 107">
                      <a:extLst>
                        <a:ext uri="{FF2B5EF4-FFF2-40B4-BE49-F238E27FC236}">
                          <a16:creationId xmlns:a16="http://schemas.microsoft.com/office/drawing/2014/main" xmlns="" id="{4AA12BA3-2A3B-4C2C-AC15-B7E454355010}"/>
                        </a:ext>
                      </a:extLst>
                    </p:cNvPr>
                    <p:cNvSpPr>
                      <a:spLocks/>
                    </p:cNvSpPr>
                    <p:nvPr/>
                  </p:nvSpPr>
                  <p:spPr bwMode="gray">
                    <a:xfrm>
                      <a:off x="2384" y="753"/>
                      <a:ext cx="27" cy="21"/>
                    </a:xfrm>
                    <a:custGeom>
                      <a:avLst/>
                      <a:gdLst>
                        <a:gd name="T0" fmla="*/ 24 w 27"/>
                        <a:gd name="T1" fmla="*/ 0 h 21"/>
                        <a:gd name="T2" fmla="*/ 27 w 27"/>
                        <a:gd name="T3" fmla="*/ 15 h 21"/>
                        <a:gd name="T4" fmla="*/ 6 w 27"/>
                        <a:gd name="T5" fmla="*/ 21 h 21"/>
                        <a:gd name="T6" fmla="*/ 0 w 27"/>
                        <a:gd name="T7" fmla="*/ 6 h 21"/>
                        <a:gd name="T8" fmla="*/ 24 w 27"/>
                        <a:gd name="T9" fmla="*/ 0 h 21"/>
                      </a:gdLst>
                      <a:ahLst/>
                      <a:cxnLst>
                        <a:cxn ang="0">
                          <a:pos x="T0" y="T1"/>
                        </a:cxn>
                        <a:cxn ang="0">
                          <a:pos x="T2" y="T3"/>
                        </a:cxn>
                        <a:cxn ang="0">
                          <a:pos x="T4" y="T5"/>
                        </a:cxn>
                        <a:cxn ang="0">
                          <a:pos x="T6" y="T7"/>
                        </a:cxn>
                        <a:cxn ang="0">
                          <a:pos x="T8" y="T9"/>
                        </a:cxn>
                      </a:cxnLst>
                      <a:rect l="0" t="0" r="r" b="b"/>
                      <a:pathLst>
                        <a:path w="27" h="21">
                          <a:moveTo>
                            <a:pt x="24" y="0"/>
                          </a:moveTo>
                          <a:lnTo>
                            <a:pt x="27" y="15"/>
                          </a:lnTo>
                          <a:lnTo>
                            <a:pt x="6" y="21"/>
                          </a:lnTo>
                          <a:lnTo>
                            <a:pt x="0" y="6"/>
                          </a:lnTo>
                          <a:lnTo>
                            <a:pt x="24"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90" name="Freeform 108">
                      <a:extLst>
                        <a:ext uri="{FF2B5EF4-FFF2-40B4-BE49-F238E27FC236}">
                          <a16:creationId xmlns:a16="http://schemas.microsoft.com/office/drawing/2014/main" xmlns="" id="{C841612B-B50B-44E6-9EC9-ADCB613B6DBC}"/>
                        </a:ext>
                      </a:extLst>
                    </p:cNvPr>
                    <p:cNvSpPr>
                      <a:spLocks/>
                    </p:cNvSpPr>
                    <p:nvPr/>
                  </p:nvSpPr>
                  <p:spPr bwMode="gray">
                    <a:xfrm>
                      <a:off x="2393" y="709"/>
                      <a:ext cx="33" cy="26"/>
                    </a:xfrm>
                    <a:custGeom>
                      <a:avLst/>
                      <a:gdLst>
                        <a:gd name="T0" fmla="*/ 0 w 33"/>
                        <a:gd name="T1" fmla="*/ 17 h 26"/>
                        <a:gd name="T2" fmla="*/ 24 w 33"/>
                        <a:gd name="T3" fmla="*/ 26 h 26"/>
                        <a:gd name="T4" fmla="*/ 33 w 33"/>
                        <a:gd name="T5" fmla="*/ 6 h 26"/>
                        <a:gd name="T6" fmla="*/ 18 w 33"/>
                        <a:gd name="T7" fmla="*/ 0 h 26"/>
                        <a:gd name="T8" fmla="*/ 9 w 33"/>
                        <a:gd name="T9" fmla="*/ 6 h 26"/>
                        <a:gd name="T10" fmla="*/ 0 w 33"/>
                        <a:gd name="T11" fmla="*/ 11 h 26"/>
                        <a:gd name="T12" fmla="*/ 0 w 33"/>
                        <a:gd name="T13" fmla="*/ 17 h 26"/>
                      </a:gdLst>
                      <a:ahLst/>
                      <a:cxnLst>
                        <a:cxn ang="0">
                          <a:pos x="T0" y="T1"/>
                        </a:cxn>
                        <a:cxn ang="0">
                          <a:pos x="T2" y="T3"/>
                        </a:cxn>
                        <a:cxn ang="0">
                          <a:pos x="T4" y="T5"/>
                        </a:cxn>
                        <a:cxn ang="0">
                          <a:pos x="T6" y="T7"/>
                        </a:cxn>
                        <a:cxn ang="0">
                          <a:pos x="T8" y="T9"/>
                        </a:cxn>
                        <a:cxn ang="0">
                          <a:pos x="T10" y="T11"/>
                        </a:cxn>
                        <a:cxn ang="0">
                          <a:pos x="T12" y="T13"/>
                        </a:cxn>
                      </a:cxnLst>
                      <a:rect l="0" t="0" r="r" b="b"/>
                      <a:pathLst>
                        <a:path w="33" h="26">
                          <a:moveTo>
                            <a:pt x="0" y="17"/>
                          </a:moveTo>
                          <a:lnTo>
                            <a:pt x="24" y="26"/>
                          </a:lnTo>
                          <a:lnTo>
                            <a:pt x="33" y="6"/>
                          </a:lnTo>
                          <a:lnTo>
                            <a:pt x="18" y="0"/>
                          </a:lnTo>
                          <a:lnTo>
                            <a:pt x="9" y="6"/>
                          </a:lnTo>
                          <a:lnTo>
                            <a:pt x="0" y="11"/>
                          </a:lnTo>
                          <a:lnTo>
                            <a:pt x="0" y="17"/>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91" name="Freeform 109">
                      <a:extLst>
                        <a:ext uri="{FF2B5EF4-FFF2-40B4-BE49-F238E27FC236}">
                          <a16:creationId xmlns:a16="http://schemas.microsoft.com/office/drawing/2014/main" xmlns="" id="{F1E55A84-28F9-47B4-B330-ED6C3EA333B6}"/>
                        </a:ext>
                      </a:extLst>
                    </p:cNvPr>
                    <p:cNvSpPr>
                      <a:spLocks/>
                    </p:cNvSpPr>
                    <p:nvPr/>
                  </p:nvSpPr>
                  <p:spPr bwMode="gray">
                    <a:xfrm>
                      <a:off x="2432" y="686"/>
                      <a:ext cx="24" cy="16"/>
                    </a:xfrm>
                    <a:custGeom>
                      <a:avLst/>
                      <a:gdLst>
                        <a:gd name="T0" fmla="*/ 0 w 24"/>
                        <a:gd name="T1" fmla="*/ 16 h 16"/>
                        <a:gd name="T2" fmla="*/ 18 w 24"/>
                        <a:gd name="T3" fmla="*/ 0 h 16"/>
                        <a:gd name="T4" fmla="*/ 24 w 24"/>
                        <a:gd name="T5" fmla="*/ 6 h 16"/>
                        <a:gd name="T6" fmla="*/ 0 w 24"/>
                        <a:gd name="T7" fmla="*/ 16 h 16"/>
                      </a:gdLst>
                      <a:ahLst/>
                      <a:cxnLst>
                        <a:cxn ang="0">
                          <a:pos x="T0" y="T1"/>
                        </a:cxn>
                        <a:cxn ang="0">
                          <a:pos x="T2" y="T3"/>
                        </a:cxn>
                        <a:cxn ang="0">
                          <a:pos x="T4" y="T5"/>
                        </a:cxn>
                        <a:cxn ang="0">
                          <a:pos x="T6" y="T7"/>
                        </a:cxn>
                      </a:cxnLst>
                      <a:rect l="0" t="0" r="r" b="b"/>
                      <a:pathLst>
                        <a:path w="24" h="16">
                          <a:moveTo>
                            <a:pt x="0" y="16"/>
                          </a:moveTo>
                          <a:lnTo>
                            <a:pt x="18" y="0"/>
                          </a:lnTo>
                          <a:lnTo>
                            <a:pt x="24" y="6"/>
                          </a:lnTo>
                          <a:lnTo>
                            <a:pt x="0" y="16"/>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92" name="Freeform 110">
                      <a:extLst>
                        <a:ext uri="{FF2B5EF4-FFF2-40B4-BE49-F238E27FC236}">
                          <a16:creationId xmlns:a16="http://schemas.microsoft.com/office/drawing/2014/main" xmlns="" id="{37AF02C8-DA4C-4E80-B5E0-82A260F5054B}"/>
                        </a:ext>
                      </a:extLst>
                    </p:cNvPr>
                    <p:cNvSpPr>
                      <a:spLocks/>
                    </p:cNvSpPr>
                    <p:nvPr/>
                  </p:nvSpPr>
                  <p:spPr bwMode="gray">
                    <a:xfrm>
                      <a:off x="2345" y="762"/>
                      <a:ext cx="18" cy="18"/>
                    </a:xfrm>
                    <a:custGeom>
                      <a:avLst/>
                      <a:gdLst>
                        <a:gd name="T0" fmla="*/ 15 w 18"/>
                        <a:gd name="T1" fmla="*/ 0 h 18"/>
                        <a:gd name="T2" fmla="*/ 18 w 18"/>
                        <a:gd name="T3" fmla="*/ 15 h 18"/>
                        <a:gd name="T4" fmla="*/ 0 w 18"/>
                        <a:gd name="T5" fmla="*/ 18 h 18"/>
                        <a:gd name="T6" fmla="*/ 15 w 18"/>
                        <a:gd name="T7" fmla="*/ 0 h 18"/>
                      </a:gdLst>
                      <a:ahLst/>
                      <a:cxnLst>
                        <a:cxn ang="0">
                          <a:pos x="T0" y="T1"/>
                        </a:cxn>
                        <a:cxn ang="0">
                          <a:pos x="T2" y="T3"/>
                        </a:cxn>
                        <a:cxn ang="0">
                          <a:pos x="T4" y="T5"/>
                        </a:cxn>
                        <a:cxn ang="0">
                          <a:pos x="T6" y="T7"/>
                        </a:cxn>
                      </a:cxnLst>
                      <a:rect l="0" t="0" r="r" b="b"/>
                      <a:pathLst>
                        <a:path w="18" h="18">
                          <a:moveTo>
                            <a:pt x="15" y="0"/>
                          </a:moveTo>
                          <a:lnTo>
                            <a:pt x="18" y="15"/>
                          </a:lnTo>
                          <a:lnTo>
                            <a:pt x="0" y="18"/>
                          </a:lnTo>
                          <a:lnTo>
                            <a:pt x="15"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93" name="Freeform 111">
                      <a:extLst>
                        <a:ext uri="{FF2B5EF4-FFF2-40B4-BE49-F238E27FC236}">
                          <a16:creationId xmlns:a16="http://schemas.microsoft.com/office/drawing/2014/main" xmlns="" id="{FC6DC73D-CDA8-4777-925E-DCC589FDA385}"/>
                        </a:ext>
                      </a:extLst>
                    </p:cNvPr>
                    <p:cNvSpPr>
                      <a:spLocks/>
                    </p:cNvSpPr>
                    <p:nvPr/>
                  </p:nvSpPr>
                  <p:spPr bwMode="gray">
                    <a:xfrm>
                      <a:off x="2535" y="637"/>
                      <a:ext cx="33" cy="27"/>
                    </a:xfrm>
                    <a:custGeom>
                      <a:avLst/>
                      <a:gdLst>
                        <a:gd name="T0" fmla="*/ 15 w 33"/>
                        <a:gd name="T1" fmla="*/ 0 h 27"/>
                        <a:gd name="T2" fmla="*/ 0 w 33"/>
                        <a:gd name="T3" fmla="*/ 12 h 27"/>
                        <a:gd name="T4" fmla="*/ 21 w 33"/>
                        <a:gd name="T5" fmla="*/ 27 h 27"/>
                        <a:gd name="T6" fmla="*/ 33 w 33"/>
                        <a:gd name="T7" fmla="*/ 12 h 27"/>
                        <a:gd name="T8" fmla="*/ 15 w 33"/>
                        <a:gd name="T9" fmla="*/ 0 h 27"/>
                      </a:gdLst>
                      <a:ahLst/>
                      <a:cxnLst>
                        <a:cxn ang="0">
                          <a:pos x="T0" y="T1"/>
                        </a:cxn>
                        <a:cxn ang="0">
                          <a:pos x="T2" y="T3"/>
                        </a:cxn>
                        <a:cxn ang="0">
                          <a:pos x="T4" y="T5"/>
                        </a:cxn>
                        <a:cxn ang="0">
                          <a:pos x="T6" y="T7"/>
                        </a:cxn>
                        <a:cxn ang="0">
                          <a:pos x="T8" y="T9"/>
                        </a:cxn>
                      </a:cxnLst>
                      <a:rect l="0" t="0" r="r" b="b"/>
                      <a:pathLst>
                        <a:path w="33" h="27">
                          <a:moveTo>
                            <a:pt x="15" y="0"/>
                          </a:moveTo>
                          <a:lnTo>
                            <a:pt x="0" y="12"/>
                          </a:lnTo>
                          <a:lnTo>
                            <a:pt x="21" y="27"/>
                          </a:lnTo>
                          <a:lnTo>
                            <a:pt x="33" y="12"/>
                          </a:lnTo>
                          <a:lnTo>
                            <a:pt x="15"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94" name="Freeform 112">
                      <a:extLst>
                        <a:ext uri="{FF2B5EF4-FFF2-40B4-BE49-F238E27FC236}">
                          <a16:creationId xmlns:a16="http://schemas.microsoft.com/office/drawing/2014/main" xmlns="" id="{9A68D9F0-5317-4155-A592-E12A29AE9368}"/>
                        </a:ext>
                      </a:extLst>
                    </p:cNvPr>
                    <p:cNvSpPr>
                      <a:spLocks/>
                    </p:cNvSpPr>
                    <p:nvPr/>
                  </p:nvSpPr>
                  <p:spPr bwMode="gray">
                    <a:xfrm>
                      <a:off x="2565" y="613"/>
                      <a:ext cx="34" cy="27"/>
                    </a:xfrm>
                    <a:custGeom>
                      <a:avLst/>
                      <a:gdLst>
                        <a:gd name="T0" fmla="*/ 0 w 34"/>
                        <a:gd name="T1" fmla="*/ 9 h 27"/>
                        <a:gd name="T2" fmla="*/ 15 w 34"/>
                        <a:gd name="T3" fmla="*/ 27 h 27"/>
                        <a:gd name="T4" fmla="*/ 34 w 34"/>
                        <a:gd name="T5" fmla="*/ 15 h 27"/>
                        <a:gd name="T6" fmla="*/ 18 w 34"/>
                        <a:gd name="T7" fmla="*/ 0 h 27"/>
                        <a:gd name="T8" fmla="*/ 0 w 34"/>
                        <a:gd name="T9" fmla="*/ 9 h 27"/>
                      </a:gdLst>
                      <a:ahLst/>
                      <a:cxnLst>
                        <a:cxn ang="0">
                          <a:pos x="T0" y="T1"/>
                        </a:cxn>
                        <a:cxn ang="0">
                          <a:pos x="T2" y="T3"/>
                        </a:cxn>
                        <a:cxn ang="0">
                          <a:pos x="T4" y="T5"/>
                        </a:cxn>
                        <a:cxn ang="0">
                          <a:pos x="T6" y="T7"/>
                        </a:cxn>
                        <a:cxn ang="0">
                          <a:pos x="T8" y="T9"/>
                        </a:cxn>
                      </a:cxnLst>
                      <a:rect l="0" t="0" r="r" b="b"/>
                      <a:pathLst>
                        <a:path w="34" h="27">
                          <a:moveTo>
                            <a:pt x="0" y="9"/>
                          </a:moveTo>
                          <a:lnTo>
                            <a:pt x="15" y="27"/>
                          </a:lnTo>
                          <a:lnTo>
                            <a:pt x="34" y="15"/>
                          </a:lnTo>
                          <a:lnTo>
                            <a:pt x="18" y="0"/>
                          </a:lnTo>
                          <a:lnTo>
                            <a:pt x="0" y="9"/>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95" name="Freeform 113">
                      <a:extLst>
                        <a:ext uri="{FF2B5EF4-FFF2-40B4-BE49-F238E27FC236}">
                          <a16:creationId xmlns:a16="http://schemas.microsoft.com/office/drawing/2014/main" xmlns="" id="{D7D01EDF-3BC5-4563-9FE1-F1FDD7569336}"/>
                        </a:ext>
                      </a:extLst>
                    </p:cNvPr>
                    <p:cNvSpPr>
                      <a:spLocks/>
                    </p:cNvSpPr>
                    <p:nvPr/>
                  </p:nvSpPr>
                  <p:spPr bwMode="gray">
                    <a:xfrm>
                      <a:off x="2653" y="562"/>
                      <a:ext cx="48" cy="33"/>
                    </a:xfrm>
                    <a:custGeom>
                      <a:avLst/>
                      <a:gdLst>
                        <a:gd name="T0" fmla="*/ 21 w 48"/>
                        <a:gd name="T1" fmla="*/ 9 h 33"/>
                        <a:gd name="T2" fmla="*/ 30 w 48"/>
                        <a:gd name="T3" fmla="*/ 15 h 33"/>
                        <a:gd name="T4" fmla="*/ 48 w 48"/>
                        <a:gd name="T5" fmla="*/ 0 h 33"/>
                        <a:gd name="T6" fmla="*/ 39 w 48"/>
                        <a:gd name="T7" fmla="*/ 30 h 33"/>
                        <a:gd name="T8" fmla="*/ 21 w 48"/>
                        <a:gd name="T9" fmla="*/ 33 h 33"/>
                        <a:gd name="T10" fmla="*/ 0 w 48"/>
                        <a:gd name="T11" fmla="*/ 12 h 33"/>
                        <a:gd name="T12" fmla="*/ 21 w 48"/>
                        <a:gd name="T13" fmla="*/ 9 h 33"/>
                      </a:gdLst>
                      <a:ahLst/>
                      <a:cxnLst>
                        <a:cxn ang="0">
                          <a:pos x="T0" y="T1"/>
                        </a:cxn>
                        <a:cxn ang="0">
                          <a:pos x="T2" y="T3"/>
                        </a:cxn>
                        <a:cxn ang="0">
                          <a:pos x="T4" y="T5"/>
                        </a:cxn>
                        <a:cxn ang="0">
                          <a:pos x="T6" y="T7"/>
                        </a:cxn>
                        <a:cxn ang="0">
                          <a:pos x="T8" y="T9"/>
                        </a:cxn>
                        <a:cxn ang="0">
                          <a:pos x="T10" y="T11"/>
                        </a:cxn>
                        <a:cxn ang="0">
                          <a:pos x="T12" y="T13"/>
                        </a:cxn>
                      </a:cxnLst>
                      <a:rect l="0" t="0" r="r" b="b"/>
                      <a:pathLst>
                        <a:path w="48" h="33">
                          <a:moveTo>
                            <a:pt x="21" y="9"/>
                          </a:moveTo>
                          <a:lnTo>
                            <a:pt x="30" y="15"/>
                          </a:lnTo>
                          <a:lnTo>
                            <a:pt x="48" y="0"/>
                          </a:lnTo>
                          <a:lnTo>
                            <a:pt x="39" y="30"/>
                          </a:lnTo>
                          <a:lnTo>
                            <a:pt x="21" y="33"/>
                          </a:lnTo>
                          <a:lnTo>
                            <a:pt x="0" y="12"/>
                          </a:lnTo>
                          <a:lnTo>
                            <a:pt x="21" y="9"/>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96" name="Freeform 114">
                      <a:extLst>
                        <a:ext uri="{FF2B5EF4-FFF2-40B4-BE49-F238E27FC236}">
                          <a16:creationId xmlns:a16="http://schemas.microsoft.com/office/drawing/2014/main" xmlns="" id="{91C58593-7B46-4CE2-8CE4-57E507BD6393}"/>
                        </a:ext>
                      </a:extLst>
                    </p:cNvPr>
                    <p:cNvSpPr>
                      <a:spLocks/>
                    </p:cNvSpPr>
                    <p:nvPr/>
                  </p:nvSpPr>
                  <p:spPr bwMode="gray">
                    <a:xfrm>
                      <a:off x="2746" y="532"/>
                      <a:ext cx="24" cy="18"/>
                    </a:xfrm>
                    <a:custGeom>
                      <a:avLst/>
                      <a:gdLst>
                        <a:gd name="T0" fmla="*/ 12 w 24"/>
                        <a:gd name="T1" fmla="*/ 0 h 18"/>
                        <a:gd name="T2" fmla="*/ 21 w 24"/>
                        <a:gd name="T3" fmla="*/ 6 h 18"/>
                        <a:gd name="T4" fmla="*/ 24 w 24"/>
                        <a:gd name="T5" fmla="*/ 18 h 18"/>
                        <a:gd name="T6" fmla="*/ 0 w 24"/>
                        <a:gd name="T7" fmla="*/ 18 h 18"/>
                        <a:gd name="T8" fmla="*/ 12 w 24"/>
                        <a:gd name="T9" fmla="*/ 0 h 18"/>
                      </a:gdLst>
                      <a:ahLst/>
                      <a:cxnLst>
                        <a:cxn ang="0">
                          <a:pos x="T0" y="T1"/>
                        </a:cxn>
                        <a:cxn ang="0">
                          <a:pos x="T2" y="T3"/>
                        </a:cxn>
                        <a:cxn ang="0">
                          <a:pos x="T4" y="T5"/>
                        </a:cxn>
                        <a:cxn ang="0">
                          <a:pos x="T6" y="T7"/>
                        </a:cxn>
                        <a:cxn ang="0">
                          <a:pos x="T8" y="T9"/>
                        </a:cxn>
                      </a:cxnLst>
                      <a:rect l="0" t="0" r="r" b="b"/>
                      <a:pathLst>
                        <a:path w="24" h="18">
                          <a:moveTo>
                            <a:pt x="12" y="0"/>
                          </a:moveTo>
                          <a:lnTo>
                            <a:pt x="21" y="6"/>
                          </a:lnTo>
                          <a:lnTo>
                            <a:pt x="24" y="18"/>
                          </a:lnTo>
                          <a:lnTo>
                            <a:pt x="0" y="18"/>
                          </a:lnTo>
                          <a:lnTo>
                            <a:pt x="12" y="0"/>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97" name="Freeform 115">
                      <a:extLst>
                        <a:ext uri="{FF2B5EF4-FFF2-40B4-BE49-F238E27FC236}">
                          <a16:creationId xmlns:a16="http://schemas.microsoft.com/office/drawing/2014/main" xmlns="" id="{50ADC7FC-F32B-4629-8EA7-5BE955C4A689}"/>
                        </a:ext>
                      </a:extLst>
                    </p:cNvPr>
                    <p:cNvSpPr>
                      <a:spLocks/>
                    </p:cNvSpPr>
                    <p:nvPr/>
                  </p:nvSpPr>
                  <p:spPr bwMode="gray">
                    <a:xfrm>
                      <a:off x="2129" y="1146"/>
                      <a:ext cx="36" cy="21"/>
                    </a:xfrm>
                    <a:custGeom>
                      <a:avLst/>
                      <a:gdLst>
                        <a:gd name="T0" fmla="*/ 36 w 36"/>
                        <a:gd name="T1" fmla="*/ 12 h 21"/>
                        <a:gd name="T2" fmla="*/ 9 w 36"/>
                        <a:gd name="T3" fmla="*/ 0 h 21"/>
                        <a:gd name="T4" fmla="*/ 0 w 36"/>
                        <a:gd name="T5" fmla="*/ 9 h 21"/>
                        <a:gd name="T6" fmla="*/ 3 w 36"/>
                        <a:gd name="T7" fmla="*/ 21 h 21"/>
                        <a:gd name="T8" fmla="*/ 36 w 36"/>
                        <a:gd name="T9" fmla="*/ 12 h 21"/>
                      </a:gdLst>
                      <a:ahLst/>
                      <a:cxnLst>
                        <a:cxn ang="0">
                          <a:pos x="T0" y="T1"/>
                        </a:cxn>
                        <a:cxn ang="0">
                          <a:pos x="T2" y="T3"/>
                        </a:cxn>
                        <a:cxn ang="0">
                          <a:pos x="T4" y="T5"/>
                        </a:cxn>
                        <a:cxn ang="0">
                          <a:pos x="T6" y="T7"/>
                        </a:cxn>
                        <a:cxn ang="0">
                          <a:pos x="T8" y="T9"/>
                        </a:cxn>
                      </a:cxnLst>
                      <a:rect l="0" t="0" r="r" b="b"/>
                      <a:pathLst>
                        <a:path w="36" h="21">
                          <a:moveTo>
                            <a:pt x="36" y="12"/>
                          </a:moveTo>
                          <a:lnTo>
                            <a:pt x="9" y="0"/>
                          </a:lnTo>
                          <a:lnTo>
                            <a:pt x="0" y="9"/>
                          </a:lnTo>
                          <a:lnTo>
                            <a:pt x="3" y="21"/>
                          </a:lnTo>
                          <a:lnTo>
                            <a:pt x="36" y="12"/>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grpSp>
            <p:sp>
              <p:nvSpPr>
                <p:cNvPr id="298" name="Freeform 118">
                  <a:extLst>
                    <a:ext uri="{FF2B5EF4-FFF2-40B4-BE49-F238E27FC236}">
                      <a16:creationId xmlns:a16="http://schemas.microsoft.com/office/drawing/2014/main" xmlns="" id="{5FCF5067-6CBF-4A9C-B88D-683BD9EE7C75}"/>
                    </a:ext>
                  </a:extLst>
                </p:cNvPr>
                <p:cNvSpPr>
                  <a:spLocks/>
                </p:cNvSpPr>
                <p:nvPr/>
              </p:nvSpPr>
              <p:spPr bwMode="gray">
                <a:xfrm>
                  <a:off x="2869231" y="4738300"/>
                  <a:ext cx="449439" cy="199892"/>
                </a:xfrm>
                <a:custGeom>
                  <a:avLst/>
                  <a:gdLst>
                    <a:gd name="T0" fmla="*/ 120 w 353"/>
                    <a:gd name="T1" fmla="*/ 8 h 157"/>
                    <a:gd name="T2" fmla="*/ 132 w 353"/>
                    <a:gd name="T3" fmla="*/ 0 h 157"/>
                    <a:gd name="T4" fmla="*/ 146 w 353"/>
                    <a:gd name="T5" fmla="*/ 0 h 157"/>
                    <a:gd name="T6" fmla="*/ 152 w 353"/>
                    <a:gd name="T7" fmla="*/ 11 h 157"/>
                    <a:gd name="T8" fmla="*/ 165 w 353"/>
                    <a:gd name="T9" fmla="*/ 2 h 157"/>
                    <a:gd name="T10" fmla="*/ 178 w 353"/>
                    <a:gd name="T11" fmla="*/ 6 h 157"/>
                    <a:gd name="T12" fmla="*/ 199 w 353"/>
                    <a:gd name="T13" fmla="*/ 27 h 157"/>
                    <a:gd name="T14" fmla="*/ 221 w 353"/>
                    <a:gd name="T15" fmla="*/ 36 h 157"/>
                    <a:gd name="T16" fmla="*/ 229 w 353"/>
                    <a:gd name="T17" fmla="*/ 38 h 157"/>
                    <a:gd name="T18" fmla="*/ 240 w 353"/>
                    <a:gd name="T19" fmla="*/ 29 h 157"/>
                    <a:gd name="T20" fmla="*/ 251 w 353"/>
                    <a:gd name="T21" fmla="*/ 25 h 157"/>
                    <a:gd name="T22" fmla="*/ 281 w 353"/>
                    <a:gd name="T23" fmla="*/ 33 h 157"/>
                    <a:gd name="T24" fmla="*/ 321 w 353"/>
                    <a:gd name="T25" fmla="*/ 42 h 157"/>
                    <a:gd name="T26" fmla="*/ 353 w 353"/>
                    <a:gd name="T27" fmla="*/ 51 h 157"/>
                    <a:gd name="T28" fmla="*/ 342 w 353"/>
                    <a:gd name="T29" fmla="*/ 64 h 157"/>
                    <a:gd name="T30" fmla="*/ 321 w 353"/>
                    <a:gd name="T31" fmla="*/ 85 h 157"/>
                    <a:gd name="T32" fmla="*/ 316 w 353"/>
                    <a:gd name="T33" fmla="*/ 92 h 157"/>
                    <a:gd name="T34" fmla="*/ 318 w 353"/>
                    <a:gd name="T35" fmla="*/ 107 h 157"/>
                    <a:gd name="T36" fmla="*/ 303 w 353"/>
                    <a:gd name="T37" fmla="*/ 107 h 157"/>
                    <a:gd name="T38" fmla="*/ 288 w 353"/>
                    <a:gd name="T39" fmla="*/ 96 h 157"/>
                    <a:gd name="T40" fmla="*/ 273 w 353"/>
                    <a:gd name="T41" fmla="*/ 92 h 157"/>
                    <a:gd name="T42" fmla="*/ 234 w 353"/>
                    <a:gd name="T43" fmla="*/ 101 h 157"/>
                    <a:gd name="T44" fmla="*/ 224 w 353"/>
                    <a:gd name="T45" fmla="*/ 110 h 157"/>
                    <a:gd name="T46" fmla="*/ 213 w 353"/>
                    <a:gd name="T47" fmla="*/ 124 h 157"/>
                    <a:gd name="T48" fmla="*/ 192 w 353"/>
                    <a:gd name="T49" fmla="*/ 137 h 157"/>
                    <a:gd name="T50" fmla="*/ 179 w 353"/>
                    <a:gd name="T51" fmla="*/ 137 h 157"/>
                    <a:gd name="T52" fmla="*/ 166 w 353"/>
                    <a:gd name="T53" fmla="*/ 126 h 157"/>
                    <a:gd name="T54" fmla="*/ 155 w 353"/>
                    <a:gd name="T55" fmla="*/ 126 h 157"/>
                    <a:gd name="T56" fmla="*/ 115 w 353"/>
                    <a:gd name="T57" fmla="*/ 145 h 157"/>
                    <a:gd name="T58" fmla="*/ 96 w 353"/>
                    <a:gd name="T59" fmla="*/ 155 h 157"/>
                    <a:gd name="T60" fmla="*/ 82 w 353"/>
                    <a:gd name="T61" fmla="*/ 157 h 157"/>
                    <a:gd name="T62" fmla="*/ 50 w 353"/>
                    <a:gd name="T63" fmla="*/ 155 h 157"/>
                    <a:gd name="T64" fmla="*/ 37 w 353"/>
                    <a:gd name="T65" fmla="*/ 155 h 157"/>
                    <a:gd name="T66" fmla="*/ 27 w 353"/>
                    <a:gd name="T67" fmla="*/ 140 h 157"/>
                    <a:gd name="T68" fmla="*/ 22 w 353"/>
                    <a:gd name="T69" fmla="*/ 135 h 157"/>
                    <a:gd name="T70" fmla="*/ 11 w 353"/>
                    <a:gd name="T71" fmla="*/ 129 h 157"/>
                    <a:gd name="T72" fmla="*/ 5 w 353"/>
                    <a:gd name="T73" fmla="*/ 122 h 157"/>
                    <a:gd name="T74" fmla="*/ 0 w 353"/>
                    <a:gd name="T75" fmla="*/ 107 h 157"/>
                    <a:gd name="T76" fmla="*/ 0 w 353"/>
                    <a:gd name="T77" fmla="*/ 90 h 157"/>
                    <a:gd name="T78" fmla="*/ 34 w 353"/>
                    <a:gd name="T79" fmla="*/ 76 h 157"/>
                    <a:gd name="T80" fmla="*/ 72 w 353"/>
                    <a:gd name="T81" fmla="*/ 76 h 157"/>
                    <a:gd name="T82" fmla="*/ 95 w 353"/>
                    <a:gd name="T83" fmla="*/ 55 h 157"/>
                    <a:gd name="T84" fmla="*/ 98 w 353"/>
                    <a:gd name="T85" fmla="*/ 19 h 157"/>
                    <a:gd name="T86" fmla="*/ 120 w 353"/>
                    <a:gd name="T87" fmla="*/ 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3" h="157">
                      <a:moveTo>
                        <a:pt x="120" y="8"/>
                      </a:moveTo>
                      <a:lnTo>
                        <a:pt x="132" y="0"/>
                      </a:lnTo>
                      <a:lnTo>
                        <a:pt x="146" y="0"/>
                      </a:lnTo>
                      <a:lnTo>
                        <a:pt x="152" y="11"/>
                      </a:lnTo>
                      <a:lnTo>
                        <a:pt x="165" y="2"/>
                      </a:lnTo>
                      <a:lnTo>
                        <a:pt x="178" y="6"/>
                      </a:lnTo>
                      <a:lnTo>
                        <a:pt x="199" y="27"/>
                      </a:lnTo>
                      <a:lnTo>
                        <a:pt x="221" y="36"/>
                      </a:lnTo>
                      <a:lnTo>
                        <a:pt x="229" y="38"/>
                      </a:lnTo>
                      <a:lnTo>
                        <a:pt x="240" y="29"/>
                      </a:lnTo>
                      <a:lnTo>
                        <a:pt x="251" y="25"/>
                      </a:lnTo>
                      <a:lnTo>
                        <a:pt x="281" y="33"/>
                      </a:lnTo>
                      <a:lnTo>
                        <a:pt x="321" y="42"/>
                      </a:lnTo>
                      <a:lnTo>
                        <a:pt x="353" y="51"/>
                      </a:lnTo>
                      <a:lnTo>
                        <a:pt x="342" y="64"/>
                      </a:lnTo>
                      <a:lnTo>
                        <a:pt x="321" y="85"/>
                      </a:lnTo>
                      <a:lnTo>
                        <a:pt x="316" y="92"/>
                      </a:lnTo>
                      <a:lnTo>
                        <a:pt x="318" y="107"/>
                      </a:lnTo>
                      <a:lnTo>
                        <a:pt x="303" y="107"/>
                      </a:lnTo>
                      <a:lnTo>
                        <a:pt x="288" y="96"/>
                      </a:lnTo>
                      <a:lnTo>
                        <a:pt x="273" y="92"/>
                      </a:lnTo>
                      <a:lnTo>
                        <a:pt x="234" y="101"/>
                      </a:lnTo>
                      <a:lnTo>
                        <a:pt x="224" y="110"/>
                      </a:lnTo>
                      <a:lnTo>
                        <a:pt x="213" y="124"/>
                      </a:lnTo>
                      <a:lnTo>
                        <a:pt x="192" y="137"/>
                      </a:lnTo>
                      <a:lnTo>
                        <a:pt x="179" y="137"/>
                      </a:lnTo>
                      <a:lnTo>
                        <a:pt x="166" y="126"/>
                      </a:lnTo>
                      <a:lnTo>
                        <a:pt x="155" y="126"/>
                      </a:lnTo>
                      <a:lnTo>
                        <a:pt x="115" y="145"/>
                      </a:lnTo>
                      <a:lnTo>
                        <a:pt x="96" y="155"/>
                      </a:lnTo>
                      <a:lnTo>
                        <a:pt x="82" y="157"/>
                      </a:lnTo>
                      <a:lnTo>
                        <a:pt x="50" y="155"/>
                      </a:lnTo>
                      <a:lnTo>
                        <a:pt x="37" y="155"/>
                      </a:lnTo>
                      <a:lnTo>
                        <a:pt x="27" y="140"/>
                      </a:lnTo>
                      <a:lnTo>
                        <a:pt x="22" y="135"/>
                      </a:lnTo>
                      <a:lnTo>
                        <a:pt x="11" y="129"/>
                      </a:lnTo>
                      <a:lnTo>
                        <a:pt x="5" y="122"/>
                      </a:lnTo>
                      <a:lnTo>
                        <a:pt x="0" y="107"/>
                      </a:lnTo>
                      <a:lnTo>
                        <a:pt x="0" y="90"/>
                      </a:lnTo>
                      <a:lnTo>
                        <a:pt x="34" y="76"/>
                      </a:lnTo>
                      <a:lnTo>
                        <a:pt x="72" y="76"/>
                      </a:lnTo>
                      <a:lnTo>
                        <a:pt x="95" y="55"/>
                      </a:lnTo>
                      <a:lnTo>
                        <a:pt x="98" y="19"/>
                      </a:lnTo>
                      <a:lnTo>
                        <a:pt x="120" y="8"/>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299" name="Freeform 119">
                  <a:extLst>
                    <a:ext uri="{FF2B5EF4-FFF2-40B4-BE49-F238E27FC236}">
                      <a16:creationId xmlns:a16="http://schemas.microsoft.com/office/drawing/2014/main" xmlns="" id="{32CE3B52-42F6-4CEA-A825-E09E8C1355D9}"/>
                    </a:ext>
                  </a:extLst>
                </p:cNvPr>
                <p:cNvSpPr>
                  <a:spLocks/>
                </p:cNvSpPr>
                <p:nvPr/>
              </p:nvSpPr>
              <p:spPr bwMode="gray">
                <a:xfrm>
                  <a:off x="2759737" y="5224661"/>
                  <a:ext cx="301748" cy="281377"/>
                </a:xfrm>
                <a:custGeom>
                  <a:avLst/>
                  <a:gdLst>
                    <a:gd name="T0" fmla="*/ 219 w 237"/>
                    <a:gd name="T1" fmla="*/ 31 h 221"/>
                    <a:gd name="T2" fmla="*/ 207 w 237"/>
                    <a:gd name="T3" fmla="*/ 31 h 221"/>
                    <a:gd name="T4" fmla="*/ 194 w 237"/>
                    <a:gd name="T5" fmla="*/ 22 h 221"/>
                    <a:gd name="T6" fmla="*/ 177 w 237"/>
                    <a:gd name="T7" fmla="*/ 13 h 221"/>
                    <a:gd name="T8" fmla="*/ 156 w 237"/>
                    <a:gd name="T9" fmla="*/ 24 h 221"/>
                    <a:gd name="T10" fmla="*/ 137 w 237"/>
                    <a:gd name="T11" fmla="*/ 19 h 221"/>
                    <a:gd name="T12" fmla="*/ 120 w 237"/>
                    <a:gd name="T13" fmla="*/ 27 h 221"/>
                    <a:gd name="T14" fmla="*/ 119 w 237"/>
                    <a:gd name="T15" fmla="*/ 19 h 221"/>
                    <a:gd name="T16" fmla="*/ 104 w 237"/>
                    <a:gd name="T17" fmla="*/ 18 h 221"/>
                    <a:gd name="T18" fmla="*/ 86 w 237"/>
                    <a:gd name="T19" fmla="*/ 0 h 221"/>
                    <a:gd name="T20" fmla="*/ 59 w 237"/>
                    <a:gd name="T21" fmla="*/ 30 h 221"/>
                    <a:gd name="T22" fmla="*/ 17 w 237"/>
                    <a:gd name="T23" fmla="*/ 16 h 221"/>
                    <a:gd name="T24" fmla="*/ 0 w 237"/>
                    <a:gd name="T25" fmla="*/ 21 h 221"/>
                    <a:gd name="T26" fmla="*/ 0 w 237"/>
                    <a:gd name="T27" fmla="*/ 31 h 221"/>
                    <a:gd name="T28" fmla="*/ 45 w 237"/>
                    <a:gd name="T29" fmla="*/ 78 h 221"/>
                    <a:gd name="T30" fmla="*/ 56 w 237"/>
                    <a:gd name="T31" fmla="*/ 109 h 221"/>
                    <a:gd name="T32" fmla="*/ 80 w 237"/>
                    <a:gd name="T33" fmla="*/ 127 h 221"/>
                    <a:gd name="T34" fmla="*/ 90 w 237"/>
                    <a:gd name="T35" fmla="*/ 124 h 221"/>
                    <a:gd name="T36" fmla="*/ 149 w 237"/>
                    <a:gd name="T37" fmla="*/ 187 h 221"/>
                    <a:gd name="T38" fmla="*/ 153 w 237"/>
                    <a:gd name="T39" fmla="*/ 201 h 221"/>
                    <a:gd name="T40" fmla="*/ 149 w 237"/>
                    <a:gd name="T41" fmla="*/ 211 h 221"/>
                    <a:gd name="T42" fmla="*/ 153 w 237"/>
                    <a:gd name="T43" fmla="*/ 221 h 221"/>
                    <a:gd name="T44" fmla="*/ 170 w 237"/>
                    <a:gd name="T45" fmla="*/ 212 h 221"/>
                    <a:gd name="T46" fmla="*/ 183 w 237"/>
                    <a:gd name="T47" fmla="*/ 207 h 221"/>
                    <a:gd name="T48" fmla="*/ 183 w 237"/>
                    <a:gd name="T49" fmla="*/ 186 h 221"/>
                    <a:gd name="T50" fmla="*/ 200 w 237"/>
                    <a:gd name="T51" fmla="*/ 172 h 221"/>
                    <a:gd name="T52" fmla="*/ 207 w 237"/>
                    <a:gd name="T53" fmla="*/ 157 h 221"/>
                    <a:gd name="T54" fmla="*/ 225 w 237"/>
                    <a:gd name="T55" fmla="*/ 150 h 221"/>
                    <a:gd name="T56" fmla="*/ 228 w 237"/>
                    <a:gd name="T57" fmla="*/ 132 h 221"/>
                    <a:gd name="T58" fmla="*/ 225 w 237"/>
                    <a:gd name="T59" fmla="*/ 115 h 221"/>
                    <a:gd name="T60" fmla="*/ 234 w 237"/>
                    <a:gd name="T61" fmla="*/ 108 h 221"/>
                    <a:gd name="T62" fmla="*/ 218 w 237"/>
                    <a:gd name="T63" fmla="*/ 85 h 221"/>
                    <a:gd name="T64" fmla="*/ 237 w 237"/>
                    <a:gd name="T65" fmla="*/ 52 h 221"/>
                    <a:gd name="T66" fmla="*/ 219 w 237"/>
                    <a:gd name="T67" fmla="*/ 3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21">
                      <a:moveTo>
                        <a:pt x="219" y="31"/>
                      </a:moveTo>
                      <a:lnTo>
                        <a:pt x="207" y="31"/>
                      </a:lnTo>
                      <a:lnTo>
                        <a:pt x="194" y="22"/>
                      </a:lnTo>
                      <a:lnTo>
                        <a:pt x="177" y="13"/>
                      </a:lnTo>
                      <a:lnTo>
                        <a:pt x="156" y="24"/>
                      </a:lnTo>
                      <a:lnTo>
                        <a:pt x="137" y="19"/>
                      </a:lnTo>
                      <a:lnTo>
                        <a:pt x="120" y="27"/>
                      </a:lnTo>
                      <a:lnTo>
                        <a:pt x="119" y="19"/>
                      </a:lnTo>
                      <a:lnTo>
                        <a:pt x="104" y="18"/>
                      </a:lnTo>
                      <a:lnTo>
                        <a:pt x="86" y="0"/>
                      </a:lnTo>
                      <a:lnTo>
                        <a:pt x="59" y="30"/>
                      </a:lnTo>
                      <a:lnTo>
                        <a:pt x="17" y="16"/>
                      </a:lnTo>
                      <a:lnTo>
                        <a:pt x="0" y="21"/>
                      </a:lnTo>
                      <a:lnTo>
                        <a:pt x="0" y="31"/>
                      </a:lnTo>
                      <a:lnTo>
                        <a:pt x="45" y="78"/>
                      </a:lnTo>
                      <a:lnTo>
                        <a:pt x="56" y="109"/>
                      </a:lnTo>
                      <a:lnTo>
                        <a:pt x="80" y="127"/>
                      </a:lnTo>
                      <a:lnTo>
                        <a:pt x="90" y="124"/>
                      </a:lnTo>
                      <a:lnTo>
                        <a:pt x="149" y="187"/>
                      </a:lnTo>
                      <a:lnTo>
                        <a:pt x="153" y="201"/>
                      </a:lnTo>
                      <a:lnTo>
                        <a:pt x="149" y="211"/>
                      </a:lnTo>
                      <a:lnTo>
                        <a:pt x="153" y="221"/>
                      </a:lnTo>
                      <a:lnTo>
                        <a:pt x="170" y="212"/>
                      </a:lnTo>
                      <a:lnTo>
                        <a:pt x="183" y="207"/>
                      </a:lnTo>
                      <a:lnTo>
                        <a:pt x="183" y="186"/>
                      </a:lnTo>
                      <a:lnTo>
                        <a:pt x="200" y="172"/>
                      </a:lnTo>
                      <a:lnTo>
                        <a:pt x="207" y="157"/>
                      </a:lnTo>
                      <a:lnTo>
                        <a:pt x="225" y="150"/>
                      </a:lnTo>
                      <a:lnTo>
                        <a:pt x="228" y="132"/>
                      </a:lnTo>
                      <a:lnTo>
                        <a:pt x="225" y="115"/>
                      </a:lnTo>
                      <a:lnTo>
                        <a:pt x="234" y="108"/>
                      </a:lnTo>
                      <a:lnTo>
                        <a:pt x="218" y="85"/>
                      </a:lnTo>
                      <a:lnTo>
                        <a:pt x="237" y="52"/>
                      </a:lnTo>
                      <a:lnTo>
                        <a:pt x="219" y="31"/>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300" name="Freeform 120">
                  <a:extLst>
                    <a:ext uri="{FF2B5EF4-FFF2-40B4-BE49-F238E27FC236}">
                      <a16:creationId xmlns:a16="http://schemas.microsoft.com/office/drawing/2014/main" xmlns="" id="{49426910-8E14-486E-92E2-10388F64211B}"/>
                    </a:ext>
                  </a:extLst>
                </p:cNvPr>
                <p:cNvSpPr>
                  <a:spLocks/>
                </p:cNvSpPr>
                <p:nvPr/>
              </p:nvSpPr>
              <p:spPr bwMode="gray">
                <a:xfrm>
                  <a:off x="3173526" y="5590069"/>
                  <a:ext cx="206258" cy="140052"/>
                </a:xfrm>
                <a:custGeom>
                  <a:avLst/>
                  <a:gdLst>
                    <a:gd name="T0" fmla="*/ 6 w 162"/>
                    <a:gd name="T1" fmla="*/ 33 h 110"/>
                    <a:gd name="T2" fmla="*/ 34 w 162"/>
                    <a:gd name="T3" fmla="*/ 14 h 110"/>
                    <a:gd name="T4" fmla="*/ 52 w 162"/>
                    <a:gd name="T5" fmla="*/ 11 h 110"/>
                    <a:gd name="T6" fmla="*/ 70 w 162"/>
                    <a:gd name="T7" fmla="*/ 6 h 110"/>
                    <a:gd name="T8" fmla="*/ 85 w 162"/>
                    <a:gd name="T9" fmla="*/ 6 h 110"/>
                    <a:gd name="T10" fmla="*/ 100 w 162"/>
                    <a:gd name="T11" fmla="*/ 0 h 110"/>
                    <a:gd name="T12" fmla="*/ 126 w 162"/>
                    <a:gd name="T13" fmla="*/ 6 h 110"/>
                    <a:gd name="T14" fmla="*/ 141 w 162"/>
                    <a:gd name="T15" fmla="*/ 5 h 110"/>
                    <a:gd name="T16" fmla="*/ 156 w 162"/>
                    <a:gd name="T17" fmla="*/ 20 h 110"/>
                    <a:gd name="T18" fmla="*/ 154 w 162"/>
                    <a:gd name="T19" fmla="*/ 63 h 110"/>
                    <a:gd name="T20" fmla="*/ 162 w 162"/>
                    <a:gd name="T21" fmla="*/ 68 h 110"/>
                    <a:gd name="T22" fmla="*/ 151 w 162"/>
                    <a:gd name="T23" fmla="*/ 86 h 110"/>
                    <a:gd name="T24" fmla="*/ 115 w 162"/>
                    <a:gd name="T25" fmla="*/ 93 h 110"/>
                    <a:gd name="T26" fmla="*/ 100 w 162"/>
                    <a:gd name="T27" fmla="*/ 89 h 110"/>
                    <a:gd name="T28" fmla="*/ 90 w 162"/>
                    <a:gd name="T29" fmla="*/ 110 h 110"/>
                    <a:gd name="T30" fmla="*/ 63 w 162"/>
                    <a:gd name="T31" fmla="*/ 108 h 110"/>
                    <a:gd name="T32" fmla="*/ 52 w 162"/>
                    <a:gd name="T33" fmla="*/ 105 h 110"/>
                    <a:gd name="T34" fmla="*/ 36 w 162"/>
                    <a:gd name="T35" fmla="*/ 104 h 110"/>
                    <a:gd name="T36" fmla="*/ 27 w 162"/>
                    <a:gd name="T37" fmla="*/ 95 h 110"/>
                    <a:gd name="T38" fmla="*/ 21 w 162"/>
                    <a:gd name="T39" fmla="*/ 98 h 110"/>
                    <a:gd name="T40" fmla="*/ 9 w 162"/>
                    <a:gd name="T41" fmla="*/ 89 h 110"/>
                    <a:gd name="T42" fmla="*/ 0 w 162"/>
                    <a:gd name="T43" fmla="*/ 63 h 110"/>
                    <a:gd name="T44" fmla="*/ 7 w 162"/>
                    <a:gd name="T45" fmla="*/ 50 h 110"/>
                    <a:gd name="T46" fmla="*/ 6 w 162"/>
                    <a:gd name="T47" fmla="*/ 3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2" h="110">
                      <a:moveTo>
                        <a:pt x="6" y="33"/>
                      </a:moveTo>
                      <a:lnTo>
                        <a:pt x="34" y="14"/>
                      </a:lnTo>
                      <a:lnTo>
                        <a:pt x="52" y="11"/>
                      </a:lnTo>
                      <a:lnTo>
                        <a:pt x="70" y="6"/>
                      </a:lnTo>
                      <a:lnTo>
                        <a:pt x="85" y="6"/>
                      </a:lnTo>
                      <a:lnTo>
                        <a:pt x="100" y="0"/>
                      </a:lnTo>
                      <a:lnTo>
                        <a:pt x="126" y="6"/>
                      </a:lnTo>
                      <a:lnTo>
                        <a:pt x="141" y="5"/>
                      </a:lnTo>
                      <a:lnTo>
                        <a:pt x="156" y="20"/>
                      </a:lnTo>
                      <a:lnTo>
                        <a:pt x="154" y="63"/>
                      </a:lnTo>
                      <a:lnTo>
                        <a:pt x="162" y="68"/>
                      </a:lnTo>
                      <a:lnTo>
                        <a:pt x="151" y="86"/>
                      </a:lnTo>
                      <a:lnTo>
                        <a:pt x="115" y="93"/>
                      </a:lnTo>
                      <a:lnTo>
                        <a:pt x="100" y="89"/>
                      </a:lnTo>
                      <a:lnTo>
                        <a:pt x="90" y="110"/>
                      </a:lnTo>
                      <a:lnTo>
                        <a:pt x="63" y="108"/>
                      </a:lnTo>
                      <a:lnTo>
                        <a:pt x="52" y="105"/>
                      </a:lnTo>
                      <a:lnTo>
                        <a:pt x="36" y="104"/>
                      </a:lnTo>
                      <a:lnTo>
                        <a:pt x="27" y="95"/>
                      </a:lnTo>
                      <a:lnTo>
                        <a:pt x="21" y="98"/>
                      </a:lnTo>
                      <a:lnTo>
                        <a:pt x="9" y="89"/>
                      </a:lnTo>
                      <a:lnTo>
                        <a:pt x="0" y="63"/>
                      </a:lnTo>
                      <a:lnTo>
                        <a:pt x="7" y="50"/>
                      </a:lnTo>
                      <a:lnTo>
                        <a:pt x="6" y="33"/>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sp>
              <p:nvSpPr>
                <p:cNvPr id="301" name="Freeform 121">
                  <a:extLst>
                    <a:ext uri="{FF2B5EF4-FFF2-40B4-BE49-F238E27FC236}">
                      <a16:creationId xmlns:a16="http://schemas.microsoft.com/office/drawing/2014/main" xmlns="" id="{D320F1BE-6247-41D9-B8CD-088051FBA9D5}"/>
                    </a:ext>
                  </a:extLst>
                </p:cNvPr>
                <p:cNvSpPr>
                  <a:spLocks/>
                </p:cNvSpPr>
                <p:nvPr/>
              </p:nvSpPr>
              <p:spPr bwMode="gray">
                <a:xfrm>
                  <a:off x="2951990" y="5136811"/>
                  <a:ext cx="417608" cy="494000"/>
                </a:xfrm>
                <a:custGeom>
                  <a:avLst/>
                  <a:gdLst>
                    <a:gd name="T0" fmla="*/ 121 w 328"/>
                    <a:gd name="T1" fmla="*/ 3 h 388"/>
                    <a:gd name="T2" fmla="*/ 169 w 328"/>
                    <a:gd name="T3" fmla="*/ 1 h 388"/>
                    <a:gd name="T4" fmla="*/ 181 w 328"/>
                    <a:gd name="T5" fmla="*/ 12 h 388"/>
                    <a:gd name="T6" fmla="*/ 188 w 328"/>
                    <a:gd name="T7" fmla="*/ 21 h 388"/>
                    <a:gd name="T8" fmla="*/ 197 w 328"/>
                    <a:gd name="T9" fmla="*/ 58 h 388"/>
                    <a:gd name="T10" fmla="*/ 224 w 328"/>
                    <a:gd name="T11" fmla="*/ 66 h 388"/>
                    <a:gd name="T12" fmla="*/ 236 w 328"/>
                    <a:gd name="T13" fmla="*/ 118 h 388"/>
                    <a:gd name="T14" fmla="*/ 253 w 328"/>
                    <a:gd name="T15" fmla="*/ 132 h 388"/>
                    <a:gd name="T16" fmla="*/ 283 w 328"/>
                    <a:gd name="T17" fmla="*/ 127 h 388"/>
                    <a:gd name="T18" fmla="*/ 304 w 328"/>
                    <a:gd name="T19" fmla="*/ 156 h 388"/>
                    <a:gd name="T20" fmla="*/ 302 w 328"/>
                    <a:gd name="T21" fmla="*/ 180 h 388"/>
                    <a:gd name="T22" fmla="*/ 298 w 328"/>
                    <a:gd name="T23" fmla="*/ 193 h 388"/>
                    <a:gd name="T24" fmla="*/ 307 w 328"/>
                    <a:gd name="T25" fmla="*/ 229 h 388"/>
                    <a:gd name="T26" fmla="*/ 328 w 328"/>
                    <a:gd name="T27" fmla="*/ 244 h 388"/>
                    <a:gd name="T28" fmla="*/ 299 w 328"/>
                    <a:gd name="T29" fmla="*/ 290 h 388"/>
                    <a:gd name="T30" fmla="*/ 296 w 328"/>
                    <a:gd name="T31" fmla="*/ 344 h 388"/>
                    <a:gd name="T32" fmla="*/ 272 w 328"/>
                    <a:gd name="T33" fmla="*/ 356 h 388"/>
                    <a:gd name="T34" fmla="*/ 242 w 328"/>
                    <a:gd name="T35" fmla="*/ 362 h 388"/>
                    <a:gd name="T36" fmla="*/ 206 w 328"/>
                    <a:gd name="T37" fmla="*/ 370 h 388"/>
                    <a:gd name="T38" fmla="*/ 179 w 328"/>
                    <a:gd name="T39" fmla="*/ 353 h 388"/>
                    <a:gd name="T40" fmla="*/ 154 w 328"/>
                    <a:gd name="T41" fmla="*/ 341 h 388"/>
                    <a:gd name="T42" fmla="*/ 136 w 328"/>
                    <a:gd name="T43" fmla="*/ 325 h 388"/>
                    <a:gd name="T44" fmla="*/ 105 w 328"/>
                    <a:gd name="T45" fmla="*/ 325 h 388"/>
                    <a:gd name="T46" fmla="*/ 91 w 328"/>
                    <a:gd name="T47" fmla="*/ 359 h 388"/>
                    <a:gd name="T48" fmla="*/ 13 w 328"/>
                    <a:gd name="T49" fmla="*/ 320 h 388"/>
                    <a:gd name="T50" fmla="*/ 18 w 328"/>
                    <a:gd name="T51" fmla="*/ 284 h 388"/>
                    <a:gd name="T52" fmla="*/ 33 w 328"/>
                    <a:gd name="T53" fmla="*/ 253 h 388"/>
                    <a:gd name="T54" fmla="*/ 55 w 328"/>
                    <a:gd name="T55" fmla="*/ 228 h 388"/>
                    <a:gd name="T56" fmla="*/ 75 w 328"/>
                    <a:gd name="T57" fmla="*/ 202 h 388"/>
                    <a:gd name="T58" fmla="*/ 84 w 328"/>
                    <a:gd name="T59" fmla="*/ 177 h 388"/>
                    <a:gd name="T60" fmla="*/ 85 w 328"/>
                    <a:gd name="T61" fmla="*/ 123 h 388"/>
                    <a:gd name="T62" fmla="*/ 72 w 328"/>
                    <a:gd name="T63" fmla="*/ 79 h 388"/>
                    <a:gd name="T64" fmla="*/ 55 w 328"/>
                    <a:gd name="T65" fmla="*/ 27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 h="388">
                      <a:moveTo>
                        <a:pt x="55" y="27"/>
                      </a:moveTo>
                      <a:lnTo>
                        <a:pt x="121" y="3"/>
                      </a:lnTo>
                      <a:lnTo>
                        <a:pt x="151" y="0"/>
                      </a:lnTo>
                      <a:lnTo>
                        <a:pt x="169" y="1"/>
                      </a:lnTo>
                      <a:lnTo>
                        <a:pt x="176" y="6"/>
                      </a:lnTo>
                      <a:lnTo>
                        <a:pt x="181" y="12"/>
                      </a:lnTo>
                      <a:lnTo>
                        <a:pt x="182" y="19"/>
                      </a:lnTo>
                      <a:lnTo>
                        <a:pt x="188" y="21"/>
                      </a:lnTo>
                      <a:lnTo>
                        <a:pt x="196" y="36"/>
                      </a:lnTo>
                      <a:lnTo>
                        <a:pt x="197" y="58"/>
                      </a:lnTo>
                      <a:lnTo>
                        <a:pt x="205" y="66"/>
                      </a:lnTo>
                      <a:lnTo>
                        <a:pt x="224" y="66"/>
                      </a:lnTo>
                      <a:lnTo>
                        <a:pt x="236" y="97"/>
                      </a:lnTo>
                      <a:lnTo>
                        <a:pt x="236" y="118"/>
                      </a:lnTo>
                      <a:lnTo>
                        <a:pt x="244" y="132"/>
                      </a:lnTo>
                      <a:lnTo>
                        <a:pt x="253" y="132"/>
                      </a:lnTo>
                      <a:lnTo>
                        <a:pt x="272" y="118"/>
                      </a:lnTo>
                      <a:lnTo>
                        <a:pt x="283" y="127"/>
                      </a:lnTo>
                      <a:lnTo>
                        <a:pt x="284" y="145"/>
                      </a:lnTo>
                      <a:lnTo>
                        <a:pt x="304" y="156"/>
                      </a:lnTo>
                      <a:lnTo>
                        <a:pt x="301" y="175"/>
                      </a:lnTo>
                      <a:lnTo>
                        <a:pt x="302" y="180"/>
                      </a:lnTo>
                      <a:lnTo>
                        <a:pt x="305" y="183"/>
                      </a:lnTo>
                      <a:lnTo>
                        <a:pt x="298" y="193"/>
                      </a:lnTo>
                      <a:lnTo>
                        <a:pt x="296" y="205"/>
                      </a:lnTo>
                      <a:lnTo>
                        <a:pt x="307" y="229"/>
                      </a:lnTo>
                      <a:lnTo>
                        <a:pt x="323" y="232"/>
                      </a:lnTo>
                      <a:lnTo>
                        <a:pt x="328" y="244"/>
                      </a:lnTo>
                      <a:lnTo>
                        <a:pt x="323" y="268"/>
                      </a:lnTo>
                      <a:lnTo>
                        <a:pt x="299" y="290"/>
                      </a:lnTo>
                      <a:lnTo>
                        <a:pt x="305" y="328"/>
                      </a:lnTo>
                      <a:lnTo>
                        <a:pt x="296" y="344"/>
                      </a:lnTo>
                      <a:lnTo>
                        <a:pt x="302" y="362"/>
                      </a:lnTo>
                      <a:lnTo>
                        <a:pt x="272" y="356"/>
                      </a:lnTo>
                      <a:lnTo>
                        <a:pt x="257" y="362"/>
                      </a:lnTo>
                      <a:lnTo>
                        <a:pt x="242" y="362"/>
                      </a:lnTo>
                      <a:lnTo>
                        <a:pt x="224" y="367"/>
                      </a:lnTo>
                      <a:lnTo>
                        <a:pt x="206" y="370"/>
                      </a:lnTo>
                      <a:lnTo>
                        <a:pt x="178" y="388"/>
                      </a:lnTo>
                      <a:lnTo>
                        <a:pt x="179" y="353"/>
                      </a:lnTo>
                      <a:lnTo>
                        <a:pt x="173" y="344"/>
                      </a:lnTo>
                      <a:lnTo>
                        <a:pt x="154" y="341"/>
                      </a:lnTo>
                      <a:lnTo>
                        <a:pt x="148" y="326"/>
                      </a:lnTo>
                      <a:lnTo>
                        <a:pt x="136" y="325"/>
                      </a:lnTo>
                      <a:lnTo>
                        <a:pt x="131" y="329"/>
                      </a:lnTo>
                      <a:lnTo>
                        <a:pt x="105" y="325"/>
                      </a:lnTo>
                      <a:lnTo>
                        <a:pt x="96" y="332"/>
                      </a:lnTo>
                      <a:lnTo>
                        <a:pt x="91" y="359"/>
                      </a:lnTo>
                      <a:lnTo>
                        <a:pt x="81" y="380"/>
                      </a:lnTo>
                      <a:lnTo>
                        <a:pt x="13" y="320"/>
                      </a:lnTo>
                      <a:lnTo>
                        <a:pt x="0" y="292"/>
                      </a:lnTo>
                      <a:lnTo>
                        <a:pt x="18" y="284"/>
                      </a:lnTo>
                      <a:lnTo>
                        <a:pt x="33" y="276"/>
                      </a:lnTo>
                      <a:lnTo>
                        <a:pt x="33" y="253"/>
                      </a:lnTo>
                      <a:lnTo>
                        <a:pt x="48" y="244"/>
                      </a:lnTo>
                      <a:lnTo>
                        <a:pt x="55" y="228"/>
                      </a:lnTo>
                      <a:lnTo>
                        <a:pt x="72" y="217"/>
                      </a:lnTo>
                      <a:lnTo>
                        <a:pt x="75" y="202"/>
                      </a:lnTo>
                      <a:lnTo>
                        <a:pt x="73" y="186"/>
                      </a:lnTo>
                      <a:lnTo>
                        <a:pt x="84" y="177"/>
                      </a:lnTo>
                      <a:lnTo>
                        <a:pt x="69" y="154"/>
                      </a:lnTo>
                      <a:lnTo>
                        <a:pt x="85" y="123"/>
                      </a:lnTo>
                      <a:lnTo>
                        <a:pt x="67" y="102"/>
                      </a:lnTo>
                      <a:lnTo>
                        <a:pt x="72" y="79"/>
                      </a:lnTo>
                      <a:lnTo>
                        <a:pt x="55" y="58"/>
                      </a:lnTo>
                      <a:lnTo>
                        <a:pt x="55" y="27"/>
                      </a:lnTo>
                      <a:close/>
                    </a:path>
                  </a:pathLst>
                </a:custGeom>
                <a:solidFill>
                  <a:schemeClr val="accent5">
                    <a:lumMod val="20000"/>
                    <a:lumOff val="80000"/>
                  </a:schemeClr>
                </a:solidFill>
                <a:ln w="9525">
                  <a:solidFill>
                    <a:schemeClr val="accent5"/>
                  </a:solidFill>
                  <a:prstDash val="solid"/>
                  <a:round/>
                  <a:headEnd/>
                  <a:tailEnd/>
                </a:ln>
              </p:spPr>
              <p:txBody>
                <a:bodyPr/>
                <a:lstStyle/>
                <a:p>
                  <a:endParaRPr lang="de-DE" dirty="0"/>
                </a:p>
              </p:txBody>
            </p:sp>
          </p:grpSp>
          <p:grpSp>
            <p:nvGrpSpPr>
              <p:cNvPr id="8" name="Gruppieren 7">
                <a:extLst>
                  <a:ext uri="{FF2B5EF4-FFF2-40B4-BE49-F238E27FC236}">
                    <a16:creationId xmlns:a16="http://schemas.microsoft.com/office/drawing/2014/main" xmlns="" id="{8C0C22AA-53BA-447D-8C83-9D1F6A5F51DD}"/>
                  </a:ext>
                </a:extLst>
              </p:cNvPr>
              <p:cNvGrpSpPr/>
              <p:nvPr/>
            </p:nvGrpSpPr>
            <p:grpSpPr bwMode="gray">
              <a:xfrm>
                <a:off x="2564040" y="3050950"/>
                <a:ext cx="2086297" cy="1978442"/>
                <a:chOff x="2564040" y="3050950"/>
                <a:chExt cx="2086297" cy="1978442"/>
              </a:xfrm>
            </p:grpSpPr>
            <p:sp>
              <p:nvSpPr>
                <p:cNvPr id="7" name="Ellipse 6">
                  <a:extLst>
                    <a:ext uri="{FF2B5EF4-FFF2-40B4-BE49-F238E27FC236}">
                      <a16:creationId xmlns:a16="http://schemas.microsoft.com/office/drawing/2014/main" xmlns="" id="{8278C4F1-7CC2-4170-9C76-229CE53DD8B3}"/>
                    </a:ext>
                  </a:extLst>
                </p:cNvPr>
                <p:cNvSpPr/>
                <p:nvPr/>
              </p:nvSpPr>
              <p:spPr bwMode="gray">
                <a:xfrm>
                  <a:off x="4533716" y="3050950"/>
                  <a:ext cx="116621" cy="116621"/>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40" name="Ellipse 79">
                  <a:extLst>
                    <a:ext uri="{FF2B5EF4-FFF2-40B4-BE49-F238E27FC236}">
                      <a16:creationId xmlns:a16="http://schemas.microsoft.com/office/drawing/2014/main" xmlns="" id="{55D129EE-9FBE-4BA4-9C35-2BD2868011D2}"/>
                    </a:ext>
                  </a:extLst>
                </p:cNvPr>
                <p:cNvSpPr/>
                <p:nvPr/>
              </p:nvSpPr>
              <p:spPr bwMode="gray">
                <a:xfrm>
                  <a:off x="3199766" y="3702278"/>
                  <a:ext cx="116621" cy="116621"/>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54" name="Ellipse 80">
                  <a:extLst>
                    <a:ext uri="{FF2B5EF4-FFF2-40B4-BE49-F238E27FC236}">
                      <a16:creationId xmlns:a16="http://schemas.microsoft.com/office/drawing/2014/main" xmlns="" id="{B782C5EA-954B-41D3-87CB-DDFFEBEE8F46}"/>
                    </a:ext>
                  </a:extLst>
                </p:cNvPr>
                <p:cNvSpPr/>
                <p:nvPr/>
              </p:nvSpPr>
              <p:spPr bwMode="gray">
                <a:xfrm>
                  <a:off x="4390876" y="4383992"/>
                  <a:ext cx="116621" cy="116621"/>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43" name="Ellipse 80">
                  <a:extLst>
                    <a:ext uri="{FF2B5EF4-FFF2-40B4-BE49-F238E27FC236}">
                      <a16:creationId xmlns:a16="http://schemas.microsoft.com/office/drawing/2014/main" xmlns="" id="{60A4C1BE-E7AD-448C-9843-2CAD1FB0F475}"/>
                    </a:ext>
                  </a:extLst>
                </p:cNvPr>
                <p:cNvSpPr>
                  <a:spLocks noChangeAspect="1"/>
                </p:cNvSpPr>
                <p:nvPr/>
              </p:nvSpPr>
              <p:spPr bwMode="gray">
                <a:xfrm>
                  <a:off x="4421353" y="4405765"/>
                  <a:ext cx="72000" cy="72000"/>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44" name="Ellipse 143">
                  <a:extLst>
                    <a:ext uri="{FF2B5EF4-FFF2-40B4-BE49-F238E27FC236}">
                      <a16:creationId xmlns:a16="http://schemas.microsoft.com/office/drawing/2014/main" xmlns="" id="{24B50F3F-4CD3-4FAA-8A9E-49757AA33666}"/>
                    </a:ext>
                  </a:extLst>
                </p:cNvPr>
                <p:cNvSpPr/>
                <p:nvPr/>
              </p:nvSpPr>
              <p:spPr bwMode="gray">
                <a:xfrm>
                  <a:off x="4167961" y="3442837"/>
                  <a:ext cx="116621" cy="116621"/>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53" name="Ellipse 79">
                  <a:extLst>
                    <a:ext uri="{FF2B5EF4-FFF2-40B4-BE49-F238E27FC236}">
                      <a16:creationId xmlns:a16="http://schemas.microsoft.com/office/drawing/2014/main" xmlns="" id="{610723EF-3A9E-4831-8D95-8DA99C20CCBE}"/>
                    </a:ext>
                  </a:extLst>
                </p:cNvPr>
                <p:cNvSpPr/>
                <p:nvPr/>
              </p:nvSpPr>
              <p:spPr bwMode="gray">
                <a:xfrm>
                  <a:off x="3299914" y="4229142"/>
                  <a:ext cx="116621" cy="11662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75" name="Ellipse 79">
                  <a:extLst>
                    <a:ext uri="{FF2B5EF4-FFF2-40B4-BE49-F238E27FC236}">
                      <a16:creationId xmlns:a16="http://schemas.microsoft.com/office/drawing/2014/main" xmlns="" id="{D2F7F663-239C-4281-AFEE-3B90FC1FA2E5}"/>
                    </a:ext>
                  </a:extLst>
                </p:cNvPr>
                <p:cNvSpPr/>
                <p:nvPr/>
              </p:nvSpPr>
              <p:spPr bwMode="gray">
                <a:xfrm>
                  <a:off x="3892097" y="4664576"/>
                  <a:ext cx="116621" cy="116621"/>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81" name="Ellipse 79">
                  <a:extLst>
                    <a:ext uri="{FF2B5EF4-FFF2-40B4-BE49-F238E27FC236}">
                      <a16:creationId xmlns:a16="http://schemas.microsoft.com/office/drawing/2014/main" xmlns="" id="{057EC11B-930F-443D-8695-7D288ADCC29F}"/>
                    </a:ext>
                  </a:extLst>
                </p:cNvPr>
                <p:cNvSpPr/>
                <p:nvPr/>
              </p:nvSpPr>
              <p:spPr bwMode="gray">
                <a:xfrm>
                  <a:off x="2564040" y="4912771"/>
                  <a:ext cx="116621" cy="116621"/>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12" name="Ellipse 311">
                  <a:extLst>
                    <a:ext uri="{FF2B5EF4-FFF2-40B4-BE49-F238E27FC236}">
                      <a16:creationId xmlns:a16="http://schemas.microsoft.com/office/drawing/2014/main" xmlns="" id="{CAF6C1E2-4178-491F-A1E8-3BE4A76800AE}"/>
                    </a:ext>
                  </a:extLst>
                </p:cNvPr>
                <p:cNvSpPr/>
                <p:nvPr/>
              </p:nvSpPr>
              <p:spPr bwMode="gray">
                <a:xfrm>
                  <a:off x="2839894" y="3386228"/>
                  <a:ext cx="116621" cy="116621"/>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grpSp>
        <p:sp>
          <p:nvSpPr>
            <p:cNvPr id="10" name="Rechteck 9">
              <a:extLst>
                <a:ext uri="{FF2B5EF4-FFF2-40B4-BE49-F238E27FC236}">
                  <a16:creationId xmlns:a16="http://schemas.microsoft.com/office/drawing/2014/main" xmlns="" id="{10E897C8-3FC4-475E-96F1-DF8643C2D7EF}"/>
                </a:ext>
              </a:extLst>
            </p:cNvPr>
            <p:cNvSpPr/>
            <p:nvPr/>
          </p:nvSpPr>
          <p:spPr bwMode="gray">
            <a:xfrm>
              <a:off x="4514334" y="1628775"/>
              <a:ext cx="720080" cy="4392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sp>
        <p:nvSpPr>
          <p:cNvPr id="25" name="Rechteck 24">
            <a:extLst>
              <a:ext uri="{FF2B5EF4-FFF2-40B4-BE49-F238E27FC236}">
                <a16:creationId xmlns:a16="http://schemas.microsoft.com/office/drawing/2014/main" xmlns="" id="{752FCCFE-CF9D-44FD-8E51-A030F156480E}"/>
              </a:ext>
            </a:extLst>
          </p:cNvPr>
          <p:cNvSpPr/>
          <p:nvPr/>
        </p:nvSpPr>
        <p:spPr>
          <a:xfrm>
            <a:off x="4652080" y="1531034"/>
            <a:ext cx="3952170" cy="43968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2" name="Titel 1"/>
          <p:cNvSpPr>
            <a:spLocks noGrp="1"/>
          </p:cNvSpPr>
          <p:nvPr>
            <p:ph type="title"/>
          </p:nvPr>
        </p:nvSpPr>
        <p:spPr bwMode="gray"/>
        <p:txBody>
          <a:bodyPr/>
          <a:lstStyle/>
          <a:p>
            <a:r>
              <a:rPr lang="de-DE" dirty="0"/>
              <a:t>Insbesondere die Finanzierung durch den MIV, durch Arbeitgeber/Gewerbe und über Immobilien ist verbreitet</a:t>
            </a:r>
          </a:p>
        </p:txBody>
      </p:sp>
      <p:sp>
        <p:nvSpPr>
          <p:cNvPr id="3" name="Inhaltsplatzhalter 2"/>
          <p:cNvSpPr>
            <a:spLocks noGrp="1"/>
          </p:cNvSpPr>
          <p:nvPr>
            <p:ph idx="1"/>
          </p:nvPr>
        </p:nvSpPr>
        <p:spPr bwMode="gray"/>
        <p:txBody>
          <a:bodyPr/>
          <a:lstStyle/>
          <a:p>
            <a:r>
              <a:rPr lang="de-DE" dirty="0"/>
              <a:t>Beispiele internationaler ÖPNV-Finanzierung</a:t>
            </a:r>
          </a:p>
        </p:txBody>
      </p:sp>
      <p:sp>
        <p:nvSpPr>
          <p:cNvPr id="4" name="Foliennummernplatzhalter 3"/>
          <p:cNvSpPr>
            <a:spLocks noGrp="1"/>
          </p:cNvSpPr>
          <p:nvPr>
            <p:ph type="sldNum" sz="quarter" idx="11"/>
          </p:nvPr>
        </p:nvSpPr>
        <p:spPr bwMode="gray">
          <a:xfrm>
            <a:off x="519428" y="6295779"/>
            <a:ext cx="227626" cy="246221"/>
          </a:xfrm>
        </p:spPr>
        <p:txBody>
          <a:bodyPr/>
          <a:lstStyle/>
          <a:p>
            <a:fld id="{CD21EFEB-933F-4F46-A5AD-B6372944D9E5}" type="slidenum">
              <a:rPr lang="de-DE" smtClean="0"/>
              <a:pPr/>
              <a:t>41</a:t>
            </a:fld>
            <a:endParaRPr lang="de-DE" dirty="0"/>
          </a:p>
        </p:txBody>
      </p:sp>
      <p:sp>
        <p:nvSpPr>
          <p:cNvPr id="85" name="Inhaltsplatzhalter 2">
            <a:extLst>
              <a:ext uri="{FF2B5EF4-FFF2-40B4-BE49-F238E27FC236}">
                <a16:creationId xmlns:a16="http://schemas.microsoft.com/office/drawing/2014/main" xmlns="" id="{7B3BCFC4-F822-4963-882F-C07A4AB89333}"/>
              </a:ext>
            </a:extLst>
          </p:cNvPr>
          <p:cNvSpPr txBox="1">
            <a:spLocks/>
          </p:cNvSpPr>
          <p:nvPr/>
        </p:nvSpPr>
        <p:spPr bwMode="gray">
          <a:xfrm>
            <a:off x="3228779" y="1507026"/>
            <a:ext cx="803105"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Stockholm</a:t>
            </a:r>
          </a:p>
          <a:p>
            <a:pPr lvl="1">
              <a:spcBef>
                <a:spcPts val="0"/>
              </a:spcBef>
            </a:pPr>
            <a:r>
              <a:rPr lang="de-DE" sz="1200" i="1" dirty="0"/>
              <a:t>(City-Maut) </a:t>
            </a:r>
          </a:p>
        </p:txBody>
      </p:sp>
      <p:sp>
        <p:nvSpPr>
          <p:cNvPr id="339" name="Inhaltsplatzhalter 2">
            <a:extLst>
              <a:ext uri="{FF2B5EF4-FFF2-40B4-BE49-F238E27FC236}">
                <a16:creationId xmlns:a16="http://schemas.microsoft.com/office/drawing/2014/main" xmlns="" id="{182F9D97-E5B0-472C-8DB4-32F48C55287C}"/>
              </a:ext>
            </a:extLst>
          </p:cNvPr>
          <p:cNvSpPr txBox="1">
            <a:spLocks/>
          </p:cNvSpPr>
          <p:nvPr/>
        </p:nvSpPr>
        <p:spPr bwMode="gray">
          <a:xfrm>
            <a:off x="548166" y="2496690"/>
            <a:ext cx="759823"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200"/>
              </a:spcBef>
            </a:pPr>
            <a:r>
              <a:rPr lang="de-DE" sz="1200" b="1" dirty="0"/>
              <a:t>London</a:t>
            </a:r>
          </a:p>
          <a:p>
            <a:pPr lvl="1">
              <a:spcBef>
                <a:spcPts val="0"/>
              </a:spcBef>
            </a:pPr>
            <a:r>
              <a:rPr lang="de-DE" sz="1200" i="1" dirty="0"/>
              <a:t>(City-Maut)</a:t>
            </a:r>
          </a:p>
        </p:txBody>
      </p:sp>
      <p:sp>
        <p:nvSpPr>
          <p:cNvPr id="148" name="Abgerundetes Rechteck 9">
            <a:extLst>
              <a:ext uri="{FF2B5EF4-FFF2-40B4-BE49-F238E27FC236}">
                <a16:creationId xmlns:a16="http://schemas.microsoft.com/office/drawing/2014/main" xmlns="" id="{42C0549F-202C-4943-9F5D-BC8FDB4A764C}"/>
              </a:ext>
            </a:extLst>
          </p:cNvPr>
          <p:cNvSpPr/>
          <p:nvPr>
            <p:custDataLst>
              <p:tags r:id="rId4"/>
            </p:custDataLst>
          </p:nvPr>
        </p:nvSpPr>
        <p:spPr bwMode="gray">
          <a:xfrm>
            <a:off x="7275974" y="1105583"/>
            <a:ext cx="1310003" cy="24628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4000" tIns="18000" rIns="234000" bIns="0" rtlCol="0" anchor="ctr">
            <a:spAutoFit/>
          </a:bodyPr>
          <a:lstStyle/>
          <a:p>
            <a:pPr algn="r">
              <a:lnSpc>
                <a:spcPct val="85000"/>
              </a:lnSpc>
            </a:pPr>
            <a:r>
              <a:rPr lang="de-DE" sz="1200" b="1" cap="all" dirty="0">
                <a:solidFill>
                  <a:schemeClr val="tx1"/>
                </a:solidFill>
              </a:rPr>
              <a:t>AUSWAHL</a:t>
            </a:r>
          </a:p>
        </p:txBody>
      </p:sp>
      <p:sp>
        <p:nvSpPr>
          <p:cNvPr id="150" name="Inhaltsplatzhalter 2">
            <a:extLst>
              <a:ext uri="{FF2B5EF4-FFF2-40B4-BE49-F238E27FC236}">
                <a16:creationId xmlns:a16="http://schemas.microsoft.com/office/drawing/2014/main" xmlns="" id="{440069FF-F543-428A-873E-36C03983DBA1}"/>
              </a:ext>
            </a:extLst>
          </p:cNvPr>
          <p:cNvSpPr txBox="1">
            <a:spLocks/>
          </p:cNvSpPr>
          <p:nvPr/>
        </p:nvSpPr>
        <p:spPr bwMode="gray">
          <a:xfrm>
            <a:off x="548166" y="4956130"/>
            <a:ext cx="1174809"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Frankreich</a:t>
            </a:r>
          </a:p>
          <a:p>
            <a:pPr lvl="1">
              <a:spcBef>
                <a:spcPts val="0"/>
              </a:spcBef>
            </a:pPr>
            <a:r>
              <a:rPr lang="de-DE" sz="1200" i="1" dirty="0"/>
              <a:t>(Transportsteuer)</a:t>
            </a:r>
          </a:p>
        </p:txBody>
      </p:sp>
      <p:sp>
        <p:nvSpPr>
          <p:cNvPr id="157" name="Inhaltsplatzhalter 2">
            <a:extLst>
              <a:ext uri="{FF2B5EF4-FFF2-40B4-BE49-F238E27FC236}">
                <a16:creationId xmlns:a16="http://schemas.microsoft.com/office/drawing/2014/main" xmlns="" id="{9ED7E19D-2099-44F4-91C5-68D6CC42CD19}"/>
              </a:ext>
            </a:extLst>
          </p:cNvPr>
          <p:cNvSpPr txBox="1">
            <a:spLocks/>
          </p:cNvSpPr>
          <p:nvPr/>
        </p:nvSpPr>
        <p:spPr bwMode="gray">
          <a:xfrm>
            <a:off x="3267459" y="5416484"/>
            <a:ext cx="886461" cy="553998"/>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Wien</a:t>
            </a:r>
          </a:p>
          <a:p>
            <a:pPr lvl="1">
              <a:spcBef>
                <a:spcPts val="0"/>
              </a:spcBef>
            </a:pPr>
            <a:r>
              <a:rPr lang="de-DE" sz="1200" i="1" dirty="0"/>
              <a:t>(Parken &amp; </a:t>
            </a:r>
            <a:br>
              <a:rPr lang="de-DE" sz="1200" i="1" dirty="0"/>
            </a:br>
            <a:r>
              <a:rPr lang="de-DE" sz="1200" i="1" dirty="0"/>
              <a:t>Arbeitgeber) </a:t>
            </a:r>
          </a:p>
        </p:txBody>
      </p:sp>
      <p:sp>
        <p:nvSpPr>
          <p:cNvPr id="146" name="Inhaltsplatzhalter 2">
            <a:extLst>
              <a:ext uri="{FF2B5EF4-FFF2-40B4-BE49-F238E27FC236}">
                <a16:creationId xmlns:a16="http://schemas.microsoft.com/office/drawing/2014/main" xmlns="" id="{89D083E8-36BC-4C26-8366-2CABCA2EA976}"/>
              </a:ext>
            </a:extLst>
          </p:cNvPr>
          <p:cNvSpPr txBox="1">
            <a:spLocks/>
          </p:cNvSpPr>
          <p:nvPr/>
        </p:nvSpPr>
        <p:spPr bwMode="gray">
          <a:xfrm>
            <a:off x="548166" y="1881831"/>
            <a:ext cx="1607812"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200"/>
              </a:spcBef>
            </a:pPr>
            <a:r>
              <a:rPr lang="de-DE" sz="1200" b="1" dirty="0"/>
              <a:t>Kopenhagen: </a:t>
            </a:r>
            <a:r>
              <a:rPr lang="de-DE" sz="1200" b="1" dirty="0" err="1"/>
              <a:t>Orestad</a:t>
            </a:r>
            <a:endParaRPr lang="de-DE" sz="1200" b="1" dirty="0"/>
          </a:p>
          <a:p>
            <a:pPr lvl="1">
              <a:spcBef>
                <a:spcPts val="0"/>
              </a:spcBef>
            </a:pPr>
            <a:r>
              <a:rPr lang="de-DE" sz="1200" i="1" dirty="0"/>
              <a:t>(Land Value Capture) </a:t>
            </a:r>
          </a:p>
        </p:txBody>
      </p:sp>
      <p:sp>
        <p:nvSpPr>
          <p:cNvPr id="159" name="Inhaltsplatzhalter 2">
            <a:extLst>
              <a:ext uri="{FF2B5EF4-FFF2-40B4-BE49-F238E27FC236}">
                <a16:creationId xmlns:a16="http://schemas.microsoft.com/office/drawing/2014/main" xmlns="" id="{BCB725D1-04D3-4AA6-A789-E753BFD534C6}"/>
              </a:ext>
            </a:extLst>
          </p:cNvPr>
          <p:cNvSpPr txBox="1">
            <a:spLocks/>
          </p:cNvSpPr>
          <p:nvPr/>
        </p:nvSpPr>
        <p:spPr bwMode="gray">
          <a:xfrm>
            <a:off x="4797665" y="5151156"/>
            <a:ext cx="1094852" cy="738664"/>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San Francisco </a:t>
            </a:r>
            <a:br>
              <a:rPr lang="de-DE" sz="1200" b="1" dirty="0"/>
            </a:br>
            <a:r>
              <a:rPr lang="de-DE" sz="1200" b="1" dirty="0"/>
              <a:t>Bay Area</a:t>
            </a:r>
          </a:p>
          <a:p>
            <a:pPr marL="0" lvl="2" indent="0">
              <a:spcBef>
                <a:spcPts val="0"/>
              </a:spcBef>
              <a:buNone/>
            </a:pPr>
            <a:r>
              <a:rPr lang="de-DE" sz="1200" dirty="0"/>
              <a:t>(Impact </a:t>
            </a:r>
            <a:r>
              <a:rPr lang="de-DE" sz="1200" dirty="0" err="1"/>
              <a:t>fee</a:t>
            </a:r>
            <a:r>
              <a:rPr lang="de-DE" sz="1200" dirty="0"/>
              <a:t>, </a:t>
            </a:r>
            <a:br>
              <a:rPr lang="de-DE" sz="1200" dirty="0"/>
            </a:br>
            <a:r>
              <a:rPr lang="de-DE" sz="1200" i="1" dirty="0"/>
              <a:t>Sales </a:t>
            </a:r>
            <a:r>
              <a:rPr lang="de-DE" sz="1200" i="1" dirty="0" err="1"/>
              <a:t>Tax</a:t>
            </a:r>
            <a:r>
              <a:rPr lang="de-DE" sz="1200" i="1" dirty="0"/>
              <a:t>)</a:t>
            </a:r>
          </a:p>
        </p:txBody>
      </p:sp>
      <p:sp>
        <p:nvSpPr>
          <p:cNvPr id="163" name="Inhaltsplatzhalter 2">
            <a:extLst>
              <a:ext uri="{FF2B5EF4-FFF2-40B4-BE49-F238E27FC236}">
                <a16:creationId xmlns:a16="http://schemas.microsoft.com/office/drawing/2014/main" xmlns="" id="{C8BCE1D8-7C44-43FE-8903-78C8F1207945}"/>
              </a:ext>
            </a:extLst>
          </p:cNvPr>
          <p:cNvSpPr txBox="1">
            <a:spLocks/>
          </p:cNvSpPr>
          <p:nvPr/>
        </p:nvSpPr>
        <p:spPr bwMode="gray">
          <a:xfrm>
            <a:off x="6479193" y="4547787"/>
            <a:ext cx="1357543"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Lagos</a:t>
            </a:r>
          </a:p>
          <a:p>
            <a:pPr marL="0" lvl="2" indent="0">
              <a:spcBef>
                <a:spcPts val="0"/>
              </a:spcBef>
              <a:buNone/>
            </a:pPr>
            <a:r>
              <a:rPr lang="de-DE" sz="1200" dirty="0"/>
              <a:t>(</a:t>
            </a:r>
            <a:r>
              <a:rPr lang="de-DE" sz="1200" i="1" dirty="0"/>
              <a:t>Zulassungssteuer)</a:t>
            </a:r>
          </a:p>
        </p:txBody>
      </p:sp>
      <p:sp>
        <p:nvSpPr>
          <p:cNvPr id="169" name="Inhaltsplatzhalter 2">
            <a:extLst>
              <a:ext uri="{FF2B5EF4-FFF2-40B4-BE49-F238E27FC236}">
                <a16:creationId xmlns:a16="http://schemas.microsoft.com/office/drawing/2014/main" xmlns="" id="{72EF2686-A926-4C5F-BB2C-9928C41200CD}"/>
              </a:ext>
            </a:extLst>
          </p:cNvPr>
          <p:cNvSpPr txBox="1">
            <a:spLocks/>
          </p:cNvSpPr>
          <p:nvPr/>
        </p:nvSpPr>
        <p:spPr bwMode="gray">
          <a:xfrm>
            <a:off x="7133869" y="5129467"/>
            <a:ext cx="1417760" cy="738664"/>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Sydney, Perth </a:t>
            </a:r>
            <a:br>
              <a:rPr lang="de-DE" sz="1200" b="1" dirty="0"/>
            </a:br>
            <a:r>
              <a:rPr lang="de-DE" sz="1200" b="1" dirty="0"/>
              <a:t>&amp; Melbourne</a:t>
            </a:r>
          </a:p>
          <a:p>
            <a:pPr marL="0" lvl="2" indent="0">
              <a:spcBef>
                <a:spcPts val="0"/>
              </a:spcBef>
              <a:buNone/>
            </a:pPr>
            <a:r>
              <a:rPr lang="de-DE" sz="1200" dirty="0"/>
              <a:t>(</a:t>
            </a:r>
            <a:r>
              <a:rPr lang="de-DE" sz="1200" i="1" dirty="0"/>
              <a:t>Parken direkt zur </a:t>
            </a:r>
            <a:br>
              <a:rPr lang="de-DE" sz="1200" i="1" dirty="0"/>
            </a:br>
            <a:r>
              <a:rPr lang="de-DE" sz="1200" i="1" dirty="0"/>
              <a:t>ÖPNV-Finanzierung)</a:t>
            </a:r>
          </a:p>
        </p:txBody>
      </p:sp>
      <p:sp>
        <p:nvSpPr>
          <p:cNvPr id="176" name="Inhaltsplatzhalter 2">
            <a:extLst>
              <a:ext uri="{FF2B5EF4-FFF2-40B4-BE49-F238E27FC236}">
                <a16:creationId xmlns:a16="http://schemas.microsoft.com/office/drawing/2014/main" xmlns="" id="{A3741C03-9079-4197-9EF7-DAE43256EFE5}"/>
              </a:ext>
            </a:extLst>
          </p:cNvPr>
          <p:cNvSpPr txBox="1">
            <a:spLocks/>
          </p:cNvSpPr>
          <p:nvPr/>
        </p:nvSpPr>
        <p:spPr bwMode="gray">
          <a:xfrm>
            <a:off x="548166" y="3726410"/>
            <a:ext cx="803105"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Mailand</a:t>
            </a:r>
          </a:p>
          <a:p>
            <a:pPr lvl="1">
              <a:spcBef>
                <a:spcPts val="0"/>
              </a:spcBef>
            </a:pPr>
            <a:r>
              <a:rPr lang="de-DE" sz="1200" i="1" dirty="0"/>
              <a:t>(City-Maut) </a:t>
            </a:r>
          </a:p>
        </p:txBody>
      </p:sp>
      <p:sp>
        <p:nvSpPr>
          <p:cNvPr id="182" name="Inhaltsplatzhalter 2">
            <a:extLst>
              <a:ext uri="{FF2B5EF4-FFF2-40B4-BE49-F238E27FC236}">
                <a16:creationId xmlns:a16="http://schemas.microsoft.com/office/drawing/2014/main" xmlns="" id="{9BF3F351-C59B-4502-BB81-24309FA296E2}"/>
              </a:ext>
            </a:extLst>
          </p:cNvPr>
          <p:cNvSpPr txBox="1">
            <a:spLocks/>
          </p:cNvSpPr>
          <p:nvPr/>
        </p:nvSpPr>
        <p:spPr bwMode="gray">
          <a:xfrm>
            <a:off x="548166" y="4341270"/>
            <a:ext cx="876843"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Madrid</a:t>
            </a:r>
          </a:p>
          <a:p>
            <a:pPr lvl="1">
              <a:spcBef>
                <a:spcPts val="0"/>
              </a:spcBef>
            </a:pPr>
            <a:r>
              <a:rPr lang="de-DE" sz="1200" i="1" dirty="0"/>
              <a:t>(Sponsoring)</a:t>
            </a:r>
          </a:p>
        </p:txBody>
      </p:sp>
      <p:sp>
        <p:nvSpPr>
          <p:cNvPr id="188" name="Inhaltsplatzhalter 2">
            <a:extLst>
              <a:ext uri="{FF2B5EF4-FFF2-40B4-BE49-F238E27FC236}">
                <a16:creationId xmlns:a16="http://schemas.microsoft.com/office/drawing/2014/main" xmlns="" id="{CF4EF32F-5F5A-42AC-8D04-FEE653A0775F}"/>
              </a:ext>
            </a:extLst>
          </p:cNvPr>
          <p:cNvSpPr txBox="1">
            <a:spLocks/>
          </p:cNvSpPr>
          <p:nvPr/>
        </p:nvSpPr>
        <p:spPr bwMode="gray">
          <a:xfrm>
            <a:off x="4751458" y="1619271"/>
            <a:ext cx="908903" cy="553998"/>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New York,</a:t>
            </a:r>
          </a:p>
          <a:p>
            <a:pPr lvl="1">
              <a:spcBef>
                <a:spcPts val="0"/>
              </a:spcBef>
            </a:pPr>
            <a:r>
              <a:rPr lang="de-DE" sz="1200" b="1" dirty="0"/>
              <a:t>Philadelphia</a:t>
            </a:r>
          </a:p>
          <a:p>
            <a:pPr marL="0" lvl="2" indent="0">
              <a:spcBef>
                <a:spcPts val="0"/>
              </a:spcBef>
              <a:buNone/>
            </a:pPr>
            <a:r>
              <a:rPr lang="de-DE" sz="1200" dirty="0"/>
              <a:t>(</a:t>
            </a:r>
            <a:r>
              <a:rPr lang="de-DE" sz="1200" i="1" dirty="0"/>
              <a:t>Sponsoring)</a:t>
            </a:r>
          </a:p>
        </p:txBody>
      </p:sp>
      <p:sp>
        <p:nvSpPr>
          <p:cNvPr id="313" name="Inhaltsplatzhalter 2">
            <a:extLst>
              <a:ext uri="{FF2B5EF4-FFF2-40B4-BE49-F238E27FC236}">
                <a16:creationId xmlns:a16="http://schemas.microsoft.com/office/drawing/2014/main" xmlns="" id="{119D7975-F025-497E-81EF-D8CDA4F3C1F5}"/>
              </a:ext>
            </a:extLst>
          </p:cNvPr>
          <p:cNvSpPr txBox="1">
            <a:spLocks/>
          </p:cNvSpPr>
          <p:nvPr/>
        </p:nvSpPr>
        <p:spPr bwMode="gray">
          <a:xfrm>
            <a:off x="548166" y="3111550"/>
            <a:ext cx="1502719"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200"/>
              </a:spcBef>
            </a:pPr>
            <a:r>
              <a:rPr lang="de-DE" sz="1200" b="1" dirty="0"/>
              <a:t>Dublin</a:t>
            </a:r>
          </a:p>
          <a:p>
            <a:pPr lvl="1">
              <a:spcBef>
                <a:spcPts val="0"/>
              </a:spcBef>
            </a:pPr>
            <a:r>
              <a:rPr lang="de-DE" sz="1200" i="1" dirty="0"/>
              <a:t>(Land Value Capture) </a:t>
            </a:r>
          </a:p>
        </p:txBody>
      </p:sp>
      <p:sp>
        <p:nvSpPr>
          <p:cNvPr id="318" name="Inhaltsplatzhalter 2">
            <a:extLst>
              <a:ext uri="{FF2B5EF4-FFF2-40B4-BE49-F238E27FC236}">
                <a16:creationId xmlns:a16="http://schemas.microsoft.com/office/drawing/2014/main" xmlns="" id="{0B6D3095-E21D-4700-8E87-55C88AFA0C16}"/>
              </a:ext>
            </a:extLst>
          </p:cNvPr>
          <p:cNvSpPr txBox="1">
            <a:spLocks/>
          </p:cNvSpPr>
          <p:nvPr/>
        </p:nvSpPr>
        <p:spPr bwMode="gray">
          <a:xfrm>
            <a:off x="6412853" y="2261290"/>
            <a:ext cx="863121" cy="553998"/>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Mumbai</a:t>
            </a:r>
          </a:p>
          <a:p>
            <a:pPr marL="0" lvl="2" indent="0">
              <a:spcBef>
                <a:spcPts val="0"/>
              </a:spcBef>
              <a:buNone/>
            </a:pPr>
            <a:r>
              <a:rPr lang="de-DE" sz="1200" dirty="0"/>
              <a:t>(</a:t>
            </a:r>
            <a:r>
              <a:rPr lang="de-DE" sz="1200" i="1" dirty="0"/>
              <a:t>Land Value </a:t>
            </a:r>
            <a:br>
              <a:rPr lang="de-DE" sz="1200" i="1" dirty="0"/>
            </a:br>
            <a:r>
              <a:rPr lang="de-DE" sz="1200" i="1" dirty="0"/>
              <a:t>Capture)</a:t>
            </a:r>
          </a:p>
        </p:txBody>
      </p:sp>
      <p:sp>
        <p:nvSpPr>
          <p:cNvPr id="321" name="Inhaltsplatzhalter 2">
            <a:extLst>
              <a:ext uri="{FF2B5EF4-FFF2-40B4-BE49-F238E27FC236}">
                <a16:creationId xmlns:a16="http://schemas.microsoft.com/office/drawing/2014/main" xmlns="" id="{7768AC09-FD40-4AA7-BE9E-91082871CD11}"/>
              </a:ext>
            </a:extLst>
          </p:cNvPr>
          <p:cNvSpPr txBox="1">
            <a:spLocks/>
          </p:cNvSpPr>
          <p:nvPr/>
        </p:nvSpPr>
        <p:spPr bwMode="gray">
          <a:xfrm>
            <a:off x="6148870" y="1634179"/>
            <a:ext cx="2018188" cy="369332"/>
          </a:xfrm>
          <a:prstGeom prst="rect">
            <a:avLst/>
          </a:prstGeom>
          <a:noFill/>
          <a:ln>
            <a:noFill/>
          </a:ln>
        </p:spPr>
        <p:txBody>
          <a:bodyPr vert="horz" wrap="squar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Shenzhen, Hongkong etc.</a:t>
            </a:r>
          </a:p>
          <a:p>
            <a:pPr marL="0" lvl="2" indent="0">
              <a:spcBef>
                <a:spcPts val="0"/>
              </a:spcBef>
              <a:buNone/>
            </a:pPr>
            <a:r>
              <a:rPr lang="de-DE" sz="1200" dirty="0"/>
              <a:t>(</a:t>
            </a:r>
            <a:r>
              <a:rPr lang="de-DE" sz="1200" i="1" dirty="0"/>
              <a:t>Land Value Capture)</a:t>
            </a:r>
          </a:p>
        </p:txBody>
      </p:sp>
      <p:sp>
        <p:nvSpPr>
          <p:cNvPr id="324" name="Inhaltsplatzhalter 2">
            <a:extLst>
              <a:ext uri="{FF2B5EF4-FFF2-40B4-BE49-F238E27FC236}">
                <a16:creationId xmlns:a16="http://schemas.microsoft.com/office/drawing/2014/main" xmlns="" id="{A1167EC6-83B4-4628-A5A2-1C3135E01988}"/>
              </a:ext>
            </a:extLst>
          </p:cNvPr>
          <p:cNvSpPr txBox="1">
            <a:spLocks/>
          </p:cNvSpPr>
          <p:nvPr/>
        </p:nvSpPr>
        <p:spPr bwMode="gray">
          <a:xfrm>
            <a:off x="8061786" y="2511767"/>
            <a:ext cx="419987"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Seoul</a:t>
            </a:r>
          </a:p>
          <a:p>
            <a:pPr marL="0" lvl="2" indent="0">
              <a:spcBef>
                <a:spcPts val="0"/>
              </a:spcBef>
              <a:buNone/>
            </a:pPr>
            <a:r>
              <a:rPr lang="de-DE" sz="1200" dirty="0"/>
              <a:t>(</a:t>
            </a:r>
            <a:r>
              <a:rPr lang="de-DE" sz="1200" i="1" dirty="0"/>
              <a:t>PPP)</a:t>
            </a:r>
          </a:p>
        </p:txBody>
      </p:sp>
      <p:sp>
        <p:nvSpPr>
          <p:cNvPr id="327" name="Inhaltsplatzhalter 2">
            <a:extLst>
              <a:ext uri="{FF2B5EF4-FFF2-40B4-BE49-F238E27FC236}">
                <a16:creationId xmlns:a16="http://schemas.microsoft.com/office/drawing/2014/main" xmlns="" id="{F54DF2C3-2F27-4048-ABC7-D209CB05A626}"/>
              </a:ext>
            </a:extLst>
          </p:cNvPr>
          <p:cNvSpPr txBox="1">
            <a:spLocks/>
          </p:cNvSpPr>
          <p:nvPr/>
        </p:nvSpPr>
        <p:spPr bwMode="gray">
          <a:xfrm>
            <a:off x="4985661" y="4547787"/>
            <a:ext cx="745397"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Sao Paulo</a:t>
            </a:r>
          </a:p>
          <a:p>
            <a:pPr marL="0" lvl="2" indent="0">
              <a:spcBef>
                <a:spcPts val="0"/>
              </a:spcBef>
              <a:buNone/>
            </a:pPr>
            <a:r>
              <a:rPr lang="de-DE" sz="1200" dirty="0"/>
              <a:t>(</a:t>
            </a:r>
            <a:r>
              <a:rPr lang="de-DE" sz="1200" i="1" dirty="0"/>
              <a:t>PPP)</a:t>
            </a:r>
          </a:p>
        </p:txBody>
      </p:sp>
      <p:sp>
        <p:nvSpPr>
          <p:cNvPr id="21" name="Freihandform: Form 20">
            <a:extLst>
              <a:ext uri="{FF2B5EF4-FFF2-40B4-BE49-F238E27FC236}">
                <a16:creationId xmlns:a16="http://schemas.microsoft.com/office/drawing/2014/main" xmlns="" id="{05239E8B-21A0-4826-9E7B-152A48B99B16}"/>
              </a:ext>
            </a:extLst>
          </p:cNvPr>
          <p:cNvSpPr/>
          <p:nvPr/>
        </p:nvSpPr>
        <p:spPr>
          <a:xfrm>
            <a:off x="3693204" y="4397519"/>
            <a:ext cx="459696" cy="1128855"/>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0" name="Freihandform: Form 329">
            <a:extLst>
              <a:ext uri="{FF2B5EF4-FFF2-40B4-BE49-F238E27FC236}">
                <a16:creationId xmlns:a16="http://schemas.microsoft.com/office/drawing/2014/main" xmlns="" id="{1246747A-AA55-4111-9978-6B2E60D12E2F}"/>
              </a:ext>
            </a:extLst>
          </p:cNvPr>
          <p:cNvSpPr/>
          <p:nvPr/>
        </p:nvSpPr>
        <p:spPr>
          <a:xfrm flipV="1">
            <a:off x="1092145" y="4449917"/>
            <a:ext cx="1230154" cy="369334"/>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1" name="Freihandform: Form 330">
            <a:extLst>
              <a:ext uri="{FF2B5EF4-FFF2-40B4-BE49-F238E27FC236}">
                <a16:creationId xmlns:a16="http://schemas.microsoft.com/office/drawing/2014/main" xmlns="" id="{7364D6D7-E391-4DD4-AD03-36A8086D4386}"/>
              </a:ext>
            </a:extLst>
          </p:cNvPr>
          <p:cNvSpPr/>
          <p:nvPr/>
        </p:nvSpPr>
        <p:spPr>
          <a:xfrm>
            <a:off x="2061836" y="4252145"/>
            <a:ext cx="997932" cy="1417091"/>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1" name="Inhaltsplatzhalter 2">
            <a:extLst>
              <a:ext uri="{FF2B5EF4-FFF2-40B4-BE49-F238E27FC236}">
                <a16:creationId xmlns:a16="http://schemas.microsoft.com/office/drawing/2014/main" xmlns="" id="{32AC9E24-2D34-44A1-8867-EBE49BCD189F}"/>
              </a:ext>
            </a:extLst>
          </p:cNvPr>
          <p:cNvSpPr txBox="1">
            <a:spLocks/>
          </p:cNvSpPr>
          <p:nvPr/>
        </p:nvSpPr>
        <p:spPr bwMode="gray">
          <a:xfrm>
            <a:off x="548166" y="5570988"/>
            <a:ext cx="1476366" cy="369332"/>
          </a:xfrm>
          <a:prstGeom prst="rect">
            <a:avLst/>
          </a:prstGeom>
          <a:noFill/>
          <a:ln>
            <a:noFill/>
          </a:ln>
        </p:spPr>
        <p:txBody>
          <a:bodyPr vert="horz" wrap="none" lIns="0" tIns="0" rIns="0" bIns="0" rtlCol="0" anchor="t">
            <a:sp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ts val="0"/>
              </a:spcBef>
            </a:pPr>
            <a:r>
              <a:rPr lang="de-DE" sz="1200" b="1" dirty="0"/>
              <a:t>Paris: </a:t>
            </a:r>
            <a:r>
              <a:rPr lang="de-DE" sz="1200" b="1" dirty="0" err="1"/>
              <a:t>Greater</a:t>
            </a:r>
            <a:r>
              <a:rPr lang="de-DE" sz="1200" b="1" dirty="0"/>
              <a:t> Metro</a:t>
            </a:r>
          </a:p>
          <a:p>
            <a:pPr lvl="1">
              <a:spcBef>
                <a:spcPts val="0"/>
              </a:spcBef>
            </a:pPr>
            <a:r>
              <a:rPr lang="de-DE" sz="1200" i="1" dirty="0"/>
              <a:t>(Land Value </a:t>
            </a:r>
            <a:r>
              <a:rPr lang="de-DE" sz="1200" i="1" dirty="0" err="1"/>
              <a:t>Captue</a:t>
            </a:r>
            <a:r>
              <a:rPr lang="de-DE" sz="1200" i="1" dirty="0"/>
              <a:t>)</a:t>
            </a:r>
          </a:p>
        </p:txBody>
      </p:sp>
      <p:sp>
        <p:nvSpPr>
          <p:cNvPr id="332" name="Freihandform: Form 331">
            <a:extLst>
              <a:ext uri="{FF2B5EF4-FFF2-40B4-BE49-F238E27FC236}">
                <a16:creationId xmlns:a16="http://schemas.microsoft.com/office/drawing/2014/main" xmlns="" id="{78402B04-33FE-46FE-B9B8-8A62DA03E184}"/>
              </a:ext>
            </a:extLst>
          </p:cNvPr>
          <p:cNvSpPr/>
          <p:nvPr/>
        </p:nvSpPr>
        <p:spPr>
          <a:xfrm>
            <a:off x="1425009" y="4252145"/>
            <a:ext cx="1639493" cy="836217"/>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3" name="Freihandform: Form 332">
            <a:extLst>
              <a:ext uri="{FF2B5EF4-FFF2-40B4-BE49-F238E27FC236}">
                <a16:creationId xmlns:a16="http://schemas.microsoft.com/office/drawing/2014/main" xmlns="" id="{F2BBE37D-FE53-42D4-A012-8BE11054177C}"/>
              </a:ext>
            </a:extLst>
          </p:cNvPr>
          <p:cNvSpPr/>
          <p:nvPr/>
        </p:nvSpPr>
        <p:spPr>
          <a:xfrm flipV="1">
            <a:off x="1181011" y="3856065"/>
            <a:ext cx="2469204" cy="717993"/>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4" name="Freihandform: Form 333">
            <a:extLst>
              <a:ext uri="{FF2B5EF4-FFF2-40B4-BE49-F238E27FC236}">
                <a16:creationId xmlns:a16="http://schemas.microsoft.com/office/drawing/2014/main" xmlns="" id="{82766D59-D051-46B5-BB4D-0B61C7455F8E}"/>
              </a:ext>
            </a:extLst>
          </p:cNvPr>
          <p:cNvSpPr/>
          <p:nvPr/>
        </p:nvSpPr>
        <p:spPr>
          <a:xfrm flipV="1">
            <a:off x="1169316" y="2599991"/>
            <a:ext cx="1791251" cy="1012798"/>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5" name="Freihandform: Form 334">
            <a:extLst>
              <a:ext uri="{FF2B5EF4-FFF2-40B4-BE49-F238E27FC236}">
                <a16:creationId xmlns:a16="http://schemas.microsoft.com/office/drawing/2014/main" xmlns="" id="{30467C42-B328-4903-83CC-3F127B998107}"/>
              </a:ext>
            </a:extLst>
          </p:cNvPr>
          <p:cNvSpPr/>
          <p:nvPr/>
        </p:nvSpPr>
        <p:spPr>
          <a:xfrm flipV="1">
            <a:off x="1108447" y="3232477"/>
            <a:ext cx="1498492" cy="57716"/>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6" name="Freihandform: Form 335">
            <a:extLst>
              <a:ext uri="{FF2B5EF4-FFF2-40B4-BE49-F238E27FC236}">
                <a16:creationId xmlns:a16="http://schemas.microsoft.com/office/drawing/2014/main" xmlns="" id="{20E758EB-2163-4905-98E5-0EA8054A8728}"/>
              </a:ext>
            </a:extLst>
          </p:cNvPr>
          <p:cNvSpPr/>
          <p:nvPr/>
        </p:nvSpPr>
        <p:spPr>
          <a:xfrm flipV="1">
            <a:off x="4082361" y="1615235"/>
            <a:ext cx="216572" cy="1339159"/>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7" name="Freihandform: Form 336">
            <a:extLst>
              <a:ext uri="{FF2B5EF4-FFF2-40B4-BE49-F238E27FC236}">
                <a16:creationId xmlns:a16="http://schemas.microsoft.com/office/drawing/2014/main" xmlns="" id="{7135BB04-C8CD-442C-BC43-C2A63E47EE17}"/>
              </a:ext>
            </a:extLst>
          </p:cNvPr>
          <p:cNvSpPr/>
          <p:nvPr/>
        </p:nvSpPr>
        <p:spPr>
          <a:xfrm flipV="1">
            <a:off x="2223611" y="1986067"/>
            <a:ext cx="1714150" cy="1374132"/>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5" name="Picture 39">
            <a:extLst>
              <a:ext uri="{FF2B5EF4-FFF2-40B4-BE49-F238E27FC236}">
                <a16:creationId xmlns:a16="http://schemas.microsoft.com/office/drawing/2014/main" xmlns="" id="{40328FB6-70D7-41AD-B62A-197BEB1214F8}"/>
              </a:ext>
            </a:extLst>
          </p:cNvPr>
          <p:cNvPicPr>
            <a:picLocks noChangeAspect="1"/>
          </p:cNvPicPr>
          <p:nvPr/>
        </p:nvPicPr>
        <p:blipFill>
          <a:blip r:embed="rId10"/>
          <a:stretch>
            <a:fillRect/>
          </a:stretch>
        </p:blipFill>
        <p:spPr bwMode="gray">
          <a:xfrm>
            <a:off x="4775582" y="2877946"/>
            <a:ext cx="3835431" cy="1716840"/>
          </a:xfrm>
          <a:prstGeom prst="rect">
            <a:avLst/>
          </a:prstGeom>
          <a:ln>
            <a:noFill/>
          </a:ln>
        </p:spPr>
      </p:pic>
      <p:sp>
        <p:nvSpPr>
          <p:cNvPr id="338" name="Freihandform: Form 337">
            <a:extLst>
              <a:ext uri="{FF2B5EF4-FFF2-40B4-BE49-F238E27FC236}">
                <a16:creationId xmlns:a16="http://schemas.microsoft.com/office/drawing/2014/main" xmlns="" id="{D1559A70-BA76-46BC-9E56-AC4222A59FD7}"/>
              </a:ext>
            </a:extLst>
          </p:cNvPr>
          <p:cNvSpPr/>
          <p:nvPr/>
        </p:nvSpPr>
        <p:spPr>
          <a:xfrm flipV="1">
            <a:off x="5546121" y="1725187"/>
            <a:ext cx="202165" cy="1805372"/>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1" name="Freihandform: Form 340">
            <a:extLst>
              <a:ext uri="{FF2B5EF4-FFF2-40B4-BE49-F238E27FC236}">
                <a16:creationId xmlns:a16="http://schemas.microsoft.com/office/drawing/2014/main" xmlns="" id="{9BBD750F-489A-4D82-98A0-AA03B71CB62E}"/>
              </a:ext>
            </a:extLst>
          </p:cNvPr>
          <p:cNvSpPr/>
          <p:nvPr/>
        </p:nvSpPr>
        <p:spPr>
          <a:xfrm flipV="1">
            <a:off x="7032383" y="2353357"/>
            <a:ext cx="391626" cy="1349359"/>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2" name="Freihandform: Form 341">
            <a:extLst>
              <a:ext uri="{FF2B5EF4-FFF2-40B4-BE49-F238E27FC236}">
                <a16:creationId xmlns:a16="http://schemas.microsoft.com/office/drawing/2014/main" xmlns="" id="{7081CBAB-029D-43A5-BB2D-F4A75433C5A7}"/>
              </a:ext>
            </a:extLst>
          </p:cNvPr>
          <p:cNvSpPr/>
          <p:nvPr/>
        </p:nvSpPr>
        <p:spPr>
          <a:xfrm flipH="1" flipV="1">
            <a:off x="7979008" y="2599990"/>
            <a:ext cx="47686" cy="968227"/>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7" name="Gerader Verbinder 26">
            <a:extLst>
              <a:ext uri="{FF2B5EF4-FFF2-40B4-BE49-F238E27FC236}">
                <a16:creationId xmlns:a16="http://schemas.microsoft.com/office/drawing/2014/main" xmlns="" id="{2B7D4417-E2F0-4C3A-9D7B-D517BCC517C7}"/>
              </a:ext>
            </a:extLst>
          </p:cNvPr>
          <p:cNvCxnSpPr>
            <a:stCxn id="320" idx="0"/>
          </p:cNvCxnSpPr>
          <p:nvPr/>
        </p:nvCxnSpPr>
        <p:spPr>
          <a:xfrm flipV="1">
            <a:off x="7804679" y="1865483"/>
            <a:ext cx="14701" cy="183723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44" name="Freihandform: Form 343">
            <a:extLst>
              <a:ext uri="{FF2B5EF4-FFF2-40B4-BE49-F238E27FC236}">
                <a16:creationId xmlns:a16="http://schemas.microsoft.com/office/drawing/2014/main" xmlns="" id="{E935A8F1-963B-4041-A4D7-7A5E5BF26CCB}"/>
              </a:ext>
            </a:extLst>
          </p:cNvPr>
          <p:cNvSpPr/>
          <p:nvPr/>
        </p:nvSpPr>
        <p:spPr>
          <a:xfrm flipV="1">
            <a:off x="6708624" y="3921340"/>
            <a:ext cx="287799" cy="736104"/>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5" name="Freihandform: Form 344">
            <a:extLst>
              <a:ext uri="{FF2B5EF4-FFF2-40B4-BE49-F238E27FC236}">
                <a16:creationId xmlns:a16="http://schemas.microsoft.com/office/drawing/2014/main" xmlns="" id="{594F7CA8-D569-47EE-95DF-1036EE92A952}"/>
              </a:ext>
            </a:extLst>
          </p:cNvPr>
          <p:cNvSpPr/>
          <p:nvPr/>
        </p:nvSpPr>
        <p:spPr>
          <a:xfrm flipH="1" flipV="1">
            <a:off x="4733993" y="3596924"/>
            <a:ext cx="497656" cy="1669214"/>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6" name="Freihandform: Form 345">
            <a:extLst>
              <a:ext uri="{FF2B5EF4-FFF2-40B4-BE49-F238E27FC236}">
                <a16:creationId xmlns:a16="http://schemas.microsoft.com/office/drawing/2014/main" xmlns="" id="{CB14A96D-0E77-40FB-A99D-79A5816C2CD9}"/>
              </a:ext>
            </a:extLst>
          </p:cNvPr>
          <p:cNvSpPr/>
          <p:nvPr/>
        </p:nvSpPr>
        <p:spPr>
          <a:xfrm rot="10800000" flipH="1" flipV="1">
            <a:off x="5766523" y="4206983"/>
            <a:ext cx="349167" cy="443679"/>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8" name="Freihandform: Form 347">
            <a:extLst>
              <a:ext uri="{FF2B5EF4-FFF2-40B4-BE49-F238E27FC236}">
                <a16:creationId xmlns:a16="http://schemas.microsoft.com/office/drawing/2014/main" xmlns="" id="{B41EC05A-5C69-44E8-A9E6-1E4D5215F594}"/>
              </a:ext>
            </a:extLst>
          </p:cNvPr>
          <p:cNvSpPr/>
          <p:nvPr/>
        </p:nvSpPr>
        <p:spPr>
          <a:xfrm flipV="1">
            <a:off x="7907244" y="4277445"/>
            <a:ext cx="287799" cy="988692"/>
          </a:xfrm>
          <a:custGeom>
            <a:avLst/>
            <a:gdLst>
              <a:gd name="connsiteX0" fmla="*/ 819150 w 819150"/>
              <a:gd name="connsiteY0" fmla="*/ 0 h 1276350"/>
              <a:gd name="connsiteX1" fmla="*/ 819150 w 819150"/>
              <a:gd name="connsiteY1" fmla="*/ 1276350 h 1276350"/>
              <a:gd name="connsiteX2" fmla="*/ 0 w 819150"/>
              <a:gd name="connsiteY2" fmla="*/ 1276350 h 1276350"/>
            </a:gdLst>
            <a:ahLst/>
            <a:cxnLst>
              <a:cxn ang="0">
                <a:pos x="connsiteX0" y="connsiteY0"/>
              </a:cxn>
              <a:cxn ang="0">
                <a:pos x="connsiteX1" y="connsiteY1"/>
              </a:cxn>
              <a:cxn ang="0">
                <a:pos x="connsiteX2" y="connsiteY2"/>
              </a:cxn>
            </a:cxnLst>
            <a:rect l="l" t="t" r="r" b="b"/>
            <a:pathLst>
              <a:path w="819150" h="1276350">
                <a:moveTo>
                  <a:pt x="819150" y="0"/>
                </a:moveTo>
                <a:lnTo>
                  <a:pt x="819150" y="1276350"/>
                </a:lnTo>
                <a:lnTo>
                  <a:pt x="0" y="127635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8" name="Gruppieren 27">
            <a:extLst>
              <a:ext uri="{FF2B5EF4-FFF2-40B4-BE49-F238E27FC236}">
                <a16:creationId xmlns:a16="http://schemas.microsoft.com/office/drawing/2014/main" xmlns="" id="{48860377-BA58-4C9C-B5F1-154FC0294F4F}"/>
              </a:ext>
            </a:extLst>
          </p:cNvPr>
          <p:cNvGrpSpPr/>
          <p:nvPr/>
        </p:nvGrpSpPr>
        <p:grpSpPr>
          <a:xfrm>
            <a:off x="5231650" y="3530559"/>
            <a:ext cx="3021003" cy="874432"/>
            <a:chOff x="5231650" y="3624078"/>
            <a:chExt cx="3021003" cy="874432"/>
          </a:xfrm>
        </p:grpSpPr>
        <p:sp>
          <p:nvSpPr>
            <p:cNvPr id="160" name="Ellipse 80">
              <a:extLst>
                <a:ext uri="{FF2B5EF4-FFF2-40B4-BE49-F238E27FC236}">
                  <a16:creationId xmlns:a16="http://schemas.microsoft.com/office/drawing/2014/main" xmlns="" id="{DBA471E2-D36B-4DB4-AD14-122A4016D04C}"/>
                </a:ext>
              </a:extLst>
            </p:cNvPr>
            <p:cNvSpPr>
              <a:spLocks noChangeAspect="1"/>
            </p:cNvSpPr>
            <p:nvPr/>
          </p:nvSpPr>
          <p:spPr bwMode="gray">
            <a:xfrm>
              <a:off x="5247794" y="3683263"/>
              <a:ext cx="88959" cy="88959"/>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62" name="Ellipse 80">
              <a:extLst>
                <a:ext uri="{FF2B5EF4-FFF2-40B4-BE49-F238E27FC236}">
                  <a16:creationId xmlns:a16="http://schemas.microsoft.com/office/drawing/2014/main" xmlns="" id="{0C477C00-F2EB-4CBF-9E81-4A3B7F449708}"/>
                </a:ext>
              </a:extLst>
            </p:cNvPr>
            <p:cNvSpPr>
              <a:spLocks noChangeAspect="1"/>
            </p:cNvSpPr>
            <p:nvPr/>
          </p:nvSpPr>
          <p:spPr bwMode="gray">
            <a:xfrm>
              <a:off x="6619666" y="3968396"/>
              <a:ext cx="88959" cy="8895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66" name="Ellipse 80">
              <a:extLst>
                <a:ext uri="{FF2B5EF4-FFF2-40B4-BE49-F238E27FC236}">
                  <a16:creationId xmlns:a16="http://schemas.microsoft.com/office/drawing/2014/main" xmlns="" id="{039D7711-88C4-4EE2-9F21-DED3FF9FF5A6}"/>
                </a:ext>
              </a:extLst>
            </p:cNvPr>
            <p:cNvSpPr>
              <a:spLocks noChangeAspect="1"/>
            </p:cNvSpPr>
            <p:nvPr/>
          </p:nvSpPr>
          <p:spPr bwMode="gray">
            <a:xfrm>
              <a:off x="7819380" y="4328853"/>
              <a:ext cx="88959" cy="8895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67" name="Ellipse 80">
              <a:extLst>
                <a:ext uri="{FF2B5EF4-FFF2-40B4-BE49-F238E27FC236}">
                  <a16:creationId xmlns:a16="http://schemas.microsoft.com/office/drawing/2014/main" xmlns="" id="{3D5B2C86-27AA-40D8-919B-2327F38B8A8F}"/>
                </a:ext>
              </a:extLst>
            </p:cNvPr>
            <p:cNvSpPr>
              <a:spLocks noChangeAspect="1"/>
            </p:cNvSpPr>
            <p:nvPr/>
          </p:nvSpPr>
          <p:spPr bwMode="gray">
            <a:xfrm>
              <a:off x="8115275" y="4409551"/>
              <a:ext cx="88959" cy="8895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68" name="Ellipse 80">
              <a:extLst>
                <a:ext uri="{FF2B5EF4-FFF2-40B4-BE49-F238E27FC236}">
                  <a16:creationId xmlns:a16="http://schemas.microsoft.com/office/drawing/2014/main" xmlns="" id="{CD0E190D-4D7B-485A-A4A4-8861E079F891}"/>
                </a:ext>
              </a:extLst>
            </p:cNvPr>
            <p:cNvSpPr>
              <a:spLocks noChangeAspect="1"/>
            </p:cNvSpPr>
            <p:nvPr/>
          </p:nvSpPr>
          <p:spPr bwMode="gray">
            <a:xfrm>
              <a:off x="8163694" y="4371885"/>
              <a:ext cx="88959" cy="8895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87" name="Ellipse 80">
              <a:extLst>
                <a:ext uri="{FF2B5EF4-FFF2-40B4-BE49-F238E27FC236}">
                  <a16:creationId xmlns:a16="http://schemas.microsoft.com/office/drawing/2014/main" xmlns="" id="{A27A55C3-0391-4DE0-A342-3C727F997D2B}"/>
                </a:ext>
              </a:extLst>
            </p:cNvPr>
            <p:cNvSpPr>
              <a:spLocks noChangeAspect="1"/>
            </p:cNvSpPr>
            <p:nvPr/>
          </p:nvSpPr>
          <p:spPr bwMode="gray">
            <a:xfrm>
              <a:off x="5705087" y="3624078"/>
              <a:ext cx="88959" cy="88959"/>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15" name="Ellipse 80">
              <a:extLst>
                <a:ext uri="{FF2B5EF4-FFF2-40B4-BE49-F238E27FC236}">
                  <a16:creationId xmlns:a16="http://schemas.microsoft.com/office/drawing/2014/main" xmlns="" id="{8A9A8569-3A42-4238-80FB-6FF84E3D0DAC}"/>
                </a:ext>
              </a:extLst>
            </p:cNvPr>
            <p:cNvSpPr>
              <a:spLocks noChangeAspect="1"/>
            </p:cNvSpPr>
            <p:nvPr/>
          </p:nvSpPr>
          <p:spPr bwMode="gray">
            <a:xfrm>
              <a:off x="5231650" y="3645601"/>
              <a:ext cx="88959" cy="88959"/>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16" name="Ellipse 80">
              <a:extLst>
                <a:ext uri="{FF2B5EF4-FFF2-40B4-BE49-F238E27FC236}">
                  <a16:creationId xmlns:a16="http://schemas.microsoft.com/office/drawing/2014/main" xmlns="" id="{3301C16C-D7FE-4524-88AE-F738FF2EABD8}"/>
                </a:ext>
              </a:extLst>
            </p:cNvPr>
            <p:cNvSpPr>
              <a:spLocks noChangeAspect="1"/>
            </p:cNvSpPr>
            <p:nvPr/>
          </p:nvSpPr>
          <p:spPr bwMode="gray">
            <a:xfrm>
              <a:off x="7378225" y="3801616"/>
              <a:ext cx="88959" cy="88959"/>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20" name="Ellipse 80">
              <a:extLst>
                <a:ext uri="{FF2B5EF4-FFF2-40B4-BE49-F238E27FC236}">
                  <a16:creationId xmlns:a16="http://schemas.microsoft.com/office/drawing/2014/main" xmlns="" id="{1FFD07B1-5FC8-480D-99F0-3CDE3F297258}"/>
                </a:ext>
              </a:extLst>
            </p:cNvPr>
            <p:cNvSpPr>
              <a:spLocks noChangeAspect="1"/>
            </p:cNvSpPr>
            <p:nvPr/>
          </p:nvSpPr>
          <p:spPr bwMode="gray">
            <a:xfrm>
              <a:off x="7760199" y="3796236"/>
              <a:ext cx="88959" cy="88959"/>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23" name="Ellipse 80">
              <a:extLst>
                <a:ext uri="{FF2B5EF4-FFF2-40B4-BE49-F238E27FC236}">
                  <a16:creationId xmlns:a16="http://schemas.microsoft.com/office/drawing/2014/main" xmlns="" id="{B24F3380-847A-4992-B058-7447D76DA499}"/>
                </a:ext>
              </a:extLst>
            </p:cNvPr>
            <p:cNvSpPr>
              <a:spLocks noChangeAspect="1"/>
            </p:cNvSpPr>
            <p:nvPr/>
          </p:nvSpPr>
          <p:spPr bwMode="gray">
            <a:xfrm>
              <a:off x="7937735" y="3661739"/>
              <a:ext cx="88959" cy="88959"/>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cxnSp>
          <p:nvCxnSpPr>
            <p:cNvPr id="325" name="Gerader Verbinder 324">
              <a:extLst>
                <a:ext uri="{FF2B5EF4-FFF2-40B4-BE49-F238E27FC236}">
                  <a16:creationId xmlns:a16="http://schemas.microsoft.com/office/drawing/2014/main" xmlns="" id="{ADC49F2B-F1C0-472B-8FBE-4C350F0F043E}"/>
                </a:ext>
              </a:extLst>
            </p:cNvPr>
            <p:cNvCxnSpPr>
              <a:cxnSpLocks/>
            </p:cNvCxnSpPr>
            <p:nvPr/>
          </p:nvCxnSpPr>
          <p:spPr bwMode="gray">
            <a:xfrm>
              <a:off x="8002300" y="3750694"/>
              <a:ext cx="59486" cy="104777"/>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326" name="Ellipse 80">
              <a:extLst>
                <a:ext uri="{FF2B5EF4-FFF2-40B4-BE49-F238E27FC236}">
                  <a16:creationId xmlns:a16="http://schemas.microsoft.com/office/drawing/2014/main" xmlns="" id="{02B5EB8E-C291-473D-9E77-75F2CECF3FAE}"/>
                </a:ext>
              </a:extLst>
            </p:cNvPr>
            <p:cNvSpPr>
              <a:spLocks noChangeAspect="1"/>
            </p:cNvSpPr>
            <p:nvPr/>
          </p:nvSpPr>
          <p:spPr bwMode="gray">
            <a:xfrm>
              <a:off x="6070939" y="4215884"/>
              <a:ext cx="88959" cy="88959"/>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grpSp>
      <p:cxnSp>
        <p:nvCxnSpPr>
          <p:cNvPr id="173" name="Gerade Verbindung 6">
            <a:extLst>
              <a:ext uri="{FF2B5EF4-FFF2-40B4-BE49-F238E27FC236}">
                <a16:creationId xmlns:a16="http://schemas.microsoft.com/office/drawing/2014/main" xmlns="" id="{01576A1A-01B2-48C0-88D4-DB17F7C6F59A}"/>
              </a:ext>
            </a:extLst>
          </p:cNvPr>
          <p:cNvCxnSpPr/>
          <p:nvPr>
            <p:custDataLst>
              <p:tags r:id="rId5"/>
            </p:custDataLst>
          </p:nvPr>
        </p:nvCxnSpPr>
        <p:spPr>
          <a:xfrm>
            <a:off x="539552" y="5958839"/>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4" name="Rechteck 173">
            <a:extLst>
              <a:ext uri="{FF2B5EF4-FFF2-40B4-BE49-F238E27FC236}">
                <a16:creationId xmlns:a16="http://schemas.microsoft.com/office/drawing/2014/main" xmlns="" id="{CB855CA9-5242-4193-B99F-21C329B22365}"/>
              </a:ext>
            </a:extLst>
          </p:cNvPr>
          <p:cNvSpPr/>
          <p:nvPr/>
        </p:nvSpPr>
        <p:spPr>
          <a:xfrm>
            <a:off x="699407" y="5938057"/>
            <a:ext cx="608582" cy="2462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MIV</a:t>
            </a:r>
          </a:p>
        </p:txBody>
      </p:sp>
      <p:sp>
        <p:nvSpPr>
          <p:cNvPr id="177" name="Ellipse 79">
            <a:extLst>
              <a:ext uri="{FF2B5EF4-FFF2-40B4-BE49-F238E27FC236}">
                <a16:creationId xmlns:a16="http://schemas.microsoft.com/office/drawing/2014/main" xmlns="" id="{F26EC136-7CC9-47D9-8303-1EEC1E06B7C1}"/>
              </a:ext>
            </a:extLst>
          </p:cNvPr>
          <p:cNvSpPr/>
          <p:nvPr/>
        </p:nvSpPr>
        <p:spPr bwMode="gray">
          <a:xfrm>
            <a:off x="614523" y="6005596"/>
            <a:ext cx="116621" cy="116621"/>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78" name="Ellipse 79">
            <a:extLst>
              <a:ext uri="{FF2B5EF4-FFF2-40B4-BE49-F238E27FC236}">
                <a16:creationId xmlns:a16="http://schemas.microsoft.com/office/drawing/2014/main" xmlns="" id="{82F700D7-7375-46BA-823B-B32C2724AE6C}"/>
              </a:ext>
            </a:extLst>
          </p:cNvPr>
          <p:cNvSpPr/>
          <p:nvPr/>
        </p:nvSpPr>
        <p:spPr bwMode="gray">
          <a:xfrm>
            <a:off x="1298441" y="6000353"/>
            <a:ext cx="116621" cy="116621"/>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79" name="Rechteck 178">
            <a:extLst>
              <a:ext uri="{FF2B5EF4-FFF2-40B4-BE49-F238E27FC236}">
                <a16:creationId xmlns:a16="http://schemas.microsoft.com/office/drawing/2014/main" xmlns="" id="{8DEE1109-4B86-4196-9193-3202F0BACA1C}"/>
              </a:ext>
            </a:extLst>
          </p:cNvPr>
          <p:cNvSpPr/>
          <p:nvPr/>
        </p:nvSpPr>
        <p:spPr>
          <a:xfrm>
            <a:off x="1381747" y="5955375"/>
            <a:ext cx="1646847" cy="2172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Arbeitgeber &amp; Gewerbe</a:t>
            </a:r>
          </a:p>
        </p:txBody>
      </p:sp>
      <p:sp>
        <p:nvSpPr>
          <p:cNvPr id="180" name="Ellipse 79">
            <a:extLst>
              <a:ext uri="{FF2B5EF4-FFF2-40B4-BE49-F238E27FC236}">
                <a16:creationId xmlns:a16="http://schemas.microsoft.com/office/drawing/2014/main" xmlns="" id="{0C8225D8-ED20-478A-8D4F-98DD1E48C971}"/>
              </a:ext>
            </a:extLst>
          </p:cNvPr>
          <p:cNvSpPr/>
          <p:nvPr/>
        </p:nvSpPr>
        <p:spPr bwMode="gray">
          <a:xfrm>
            <a:off x="2979887" y="6002520"/>
            <a:ext cx="116621" cy="11662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83" name="Rechteck 182">
            <a:extLst>
              <a:ext uri="{FF2B5EF4-FFF2-40B4-BE49-F238E27FC236}">
                <a16:creationId xmlns:a16="http://schemas.microsoft.com/office/drawing/2014/main" xmlns="" id="{FFB5127D-61DE-429A-B5A2-811DEED3C8AF}"/>
              </a:ext>
            </a:extLst>
          </p:cNvPr>
          <p:cNvSpPr/>
          <p:nvPr/>
        </p:nvSpPr>
        <p:spPr>
          <a:xfrm>
            <a:off x="3072001" y="5951911"/>
            <a:ext cx="1646847" cy="2172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Immobilieneigentümer</a:t>
            </a:r>
          </a:p>
        </p:txBody>
      </p:sp>
      <p:sp>
        <p:nvSpPr>
          <p:cNvPr id="184" name="Ellipse 80">
            <a:extLst>
              <a:ext uri="{FF2B5EF4-FFF2-40B4-BE49-F238E27FC236}">
                <a16:creationId xmlns:a16="http://schemas.microsoft.com/office/drawing/2014/main" xmlns="" id="{850E0CED-63D3-4A17-82BB-B08D781D7F69}"/>
              </a:ext>
            </a:extLst>
          </p:cNvPr>
          <p:cNvSpPr>
            <a:spLocks noChangeAspect="1"/>
          </p:cNvSpPr>
          <p:nvPr/>
        </p:nvSpPr>
        <p:spPr bwMode="gray">
          <a:xfrm>
            <a:off x="4571181" y="6010046"/>
            <a:ext cx="108000" cy="10800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85" name="Rechteck 184">
            <a:extLst>
              <a:ext uri="{FF2B5EF4-FFF2-40B4-BE49-F238E27FC236}">
                <a16:creationId xmlns:a16="http://schemas.microsoft.com/office/drawing/2014/main" xmlns="" id="{09BEF03B-F451-4AA1-8547-BCEDA164236A}"/>
              </a:ext>
            </a:extLst>
          </p:cNvPr>
          <p:cNvSpPr/>
          <p:nvPr/>
        </p:nvSpPr>
        <p:spPr>
          <a:xfrm>
            <a:off x="4627175" y="5948447"/>
            <a:ext cx="1646847" cy="2172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Investoren</a:t>
            </a:r>
          </a:p>
        </p:txBody>
      </p:sp>
    </p:spTree>
    <p:extLst>
      <p:ext uri="{BB962C8B-B14F-4D97-AF65-F5344CB8AC3E}">
        <p14:creationId xmlns:p14="http://schemas.microsoft.com/office/powerpoint/2010/main" val="201469142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4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4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4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4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4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159" grpId="0"/>
      <p:bldP spid="163" grpId="0"/>
      <p:bldP spid="169" grpId="0"/>
      <p:bldP spid="188" grpId="0"/>
      <p:bldP spid="318" grpId="0"/>
      <p:bldP spid="321" grpId="0"/>
      <p:bldP spid="324" grpId="0"/>
      <p:bldP spid="327" grpId="0"/>
      <p:bldP spid="338" grpId="0" animBg="1"/>
      <p:bldP spid="341" grpId="0" animBg="1"/>
      <p:bldP spid="342" grpId="0" animBg="1"/>
      <p:bldP spid="344" grpId="0" animBg="1"/>
      <p:bldP spid="345" grpId="0" animBg="1"/>
      <p:bldP spid="346" grpId="0" animBg="1"/>
      <p:bldP spid="34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B42084C-4CFA-47CF-BFA4-46B55B413BE5}"/>
              </a:ext>
            </a:extLst>
          </p:cNvPr>
          <p:cNvSpPr>
            <a:spLocks noGrp="1"/>
          </p:cNvSpPr>
          <p:nvPr>
            <p:ph type="body" sz="quarter" idx="13"/>
          </p:nvPr>
        </p:nvSpPr>
        <p:spPr/>
        <p:txBody>
          <a:bodyPr/>
          <a:lstStyle/>
          <a:p>
            <a:r>
              <a:rPr lang="de-DE" dirty="0"/>
              <a:t>Zusätzliche Agenda</a:t>
            </a:r>
          </a:p>
        </p:txBody>
      </p:sp>
      <p:sp>
        <p:nvSpPr>
          <p:cNvPr id="3" name="Textplatzhalter 2">
            <a:extLst>
              <a:ext uri="{FF2B5EF4-FFF2-40B4-BE49-F238E27FC236}">
                <a16:creationId xmlns:a16="http://schemas.microsoft.com/office/drawing/2014/main" xmlns="" id="{90A53D47-4BF6-4A03-A1C4-A3C985741E52}"/>
              </a:ext>
            </a:extLst>
          </p:cNvPr>
          <p:cNvSpPr>
            <a:spLocks noGrp="1"/>
          </p:cNvSpPr>
          <p:nvPr>
            <p:ph type="body" sz="quarter" idx="14"/>
          </p:nvPr>
        </p:nvSpPr>
        <p:spPr/>
        <p:txBody>
          <a:bodyPr/>
          <a:lstStyle/>
          <a:p>
            <a:pPr marL="285750" indent="-285750">
              <a:buFont typeface="Arial" panose="020B0604020202020204" pitchFamily="34" charset="0"/>
              <a:buChar char="•"/>
            </a:pPr>
            <a:r>
              <a:rPr lang="de-DE" dirty="0"/>
              <a:t>Aktuelle Aktivitäten in Deutschland</a:t>
            </a:r>
          </a:p>
          <a:p>
            <a:pPr marL="285750" indent="-285750">
              <a:buFont typeface="Arial" panose="020B0604020202020204" pitchFamily="34" charset="0"/>
              <a:buChar char="•"/>
            </a:pPr>
            <a:endParaRPr lang="de-DE" b="0" dirty="0">
              <a:solidFill>
                <a:schemeClr val="tx1"/>
              </a:solidFill>
            </a:endParaRPr>
          </a:p>
        </p:txBody>
      </p:sp>
      <p:sp>
        <p:nvSpPr>
          <p:cNvPr id="4" name="Foliennummernplatzhalter 3">
            <a:extLst>
              <a:ext uri="{FF2B5EF4-FFF2-40B4-BE49-F238E27FC236}">
                <a16:creationId xmlns:a16="http://schemas.microsoft.com/office/drawing/2014/main" xmlns="" id="{4FB5EBE3-2A64-425B-A155-81CA356E3FE3}"/>
              </a:ext>
            </a:extLst>
          </p:cNvPr>
          <p:cNvSpPr>
            <a:spLocks noGrp="1"/>
          </p:cNvSpPr>
          <p:nvPr>
            <p:ph type="sldNum" sz="quarter" idx="16"/>
          </p:nvPr>
        </p:nvSpPr>
        <p:spPr/>
        <p:txBody>
          <a:bodyPr/>
          <a:lstStyle/>
          <a:p>
            <a:fld id="{CD21EFEB-933F-4F46-A5AD-B6372944D9E5}" type="slidenum">
              <a:rPr lang="de-DE" smtClean="0"/>
              <a:pPr/>
              <a:t>42</a:t>
            </a:fld>
            <a:endParaRPr lang="de-DE" dirty="0"/>
          </a:p>
        </p:txBody>
      </p:sp>
    </p:spTree>
    <p:extLst>
      <p:ext uri="{BB962C8B-B14F-4D97-AF65-F5344CB8AC3E}">
        <p14:creationId xmlns:p14="http://schemas.microsoft.com/office/powerpoint/2010/main" val="24753056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521" name="think-cell Folie" r:id="rId5" imgW="270" imgH="270" progId="TCLayout.ActiveDocument.1">
                  <p:embed/>
                </p:oleObj>
              </mc:Choice>
              <mc:Fallback>
                <p:oleObj name="think-cell Folie" r:id="rId5" imgW="270" imgH="270" progId="TCLayout.ActiveDocument.1">
                  <p:embed/>
                  <p:pic>
                    <p:nvPicPr>
                      <p:cNvPr id="20" name="Objekt 1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446996" y="281196"/>
            <a:ext cx="8301468" cy="648072"/>
          </a:xfrm>
        </p:spPr>
        <p:txBody>
          <a:bodyPr/>
          <a:lstStyle/>
          <a:p>
            <a:r>
              <a:rPr lang="de-DE" dirty="0"/>
              <a:t>Aktuelle Tarifreformen haben häufig das Ziel das Tarifsystem zu vereinfachen; Preisabsenkungen sollen Härten verringern</a:t>
            </a:r>
          </a:p>
        </p:txBody>
      </p:sp>
      <p:sp>
        <p:nvSpPr>
          <p:cNvPr id="3" name="Inhaltsplatzhalter 2"/>
          <p:cNvSpPr>
            <a:spLocks noGrp="1"/>
          </p:cNvSpPr>
          <p:nvPr>
            <p:ph idx="1"/>
          </p:nvPr>
        </p:nvSpPr>
        <p:spPr/>
        <p:txBody>
          <a:bodyPr/>
          <a:lstStyle/>
          <a:p>
            <a:r>
              <a:rPr lang="de-DE" dirty="0"/>
              <a:t>Aktuelle Aktivitäten in Deutschland</a:t>
            </a:r>
          </a:p>
        </p:txBody>
      </p:sp>
      <p:sp>
        <p:nvSpPr>
          <p:cNvPr id="4" name="Foliennummernplatzhalter 3"/>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21EFEB-933F-4F46-A5AD-B6372944D9E5}" type="slidenum">
              <a:rPr kumimoji="0" lang="de-DE" sz="1600" b="0" i="0" u="none" strike="noStrike" kern="1200" cap="none" spc="0" normalizeH="0" baseline="0" noProof="0" smtClean="0">
                <a:ln>
                  <a:noFill/>
                </a:ln>
                <a:solidFill>
                  <a:srgbClr val="868889"/>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de-DE" sz="1600" b="0" i="0" u="none" strike="noStrike" kern="1200" cap="none" spc="0" normalizeH="0" baseline="0" noProof="0">
              <a:ln>
                <a:noFill/>
              </a:ln>
              <a:solidFill>
                <a:srgbClr val="868889"/>
              </a:solidFill>
              <a:effectLst/>
              <a:uLnTx/>
              <a:uFillTx/>
              <a:latin typeface="Arial"/>
              <a:ea typeface="+mn-ea"/>
              <a:cs typeface="+mn-cs"/>
            </a:endParaRPr>
          </a:p>
        </p:txBody>
      </p:sp>
      <p:grpSp>
        <p:nvGrpSpPr>
          <p:cNvPr id="23" name="Gruppieren 22">
            <a:extLst>
              <a:ext uri="{FF2B5EF4-FFF2-40B4-BE49-F238E27FC236}">
                <a16:creationId xmlns:a16="http://schemas.microsoft.com/office/drawing/2014/main" xmlns="" id="{9E9C33B2-3E65-43D4-8E63-8F00BFE136E1}"/>
              </a:ext>
            </a:extLst>
          </p:cNvPr>
          <p:cNvGrpSpPr/>
          <p:nvPr/>
        </p:nvGrpSpPr>
        <p:grpSpPr>
          <a:xfrm>
            <a:off x="539750" y="3212976"/>
            <a:ext cx="8208714" cy="732082"/>
            <a:chOff x="539750" y="3825043"/>
            <a:chExt cx="8208714" cy="732082"/>
          </a:xfrm>
        </p:grpSpPr>
        <p:sp>
          <p:nvSpPr>
            <p:cNvPr id="14" name="Inhaltsplatzhalter 2"/>
            <p:cNvSpPr txBox="1">
              <a:spLocks/>
            </p:cNvSpPr>
            <p:nvPr/>
          </p:nvSpPr>
          <p:spPr>
            <a:xfrm>
              <a:off x="2051721" y="3825043"/>
              <a:ext cx="6696743" cy="732082"/>
            </a:xfrm>
            <a:prstGeom prst="rect">
              <a:avLst/>
            </a:prstGeom>
            <a:no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Tarifvereinfachung durch Reduktion und Zusammenlegung von Tarifgebieten, dabei deutliche Preisabsenkung nach erneuter Befassung der Gremien</a:t>
              </a:r>
            </a:p>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Erhöhter Zuschussbedarf von rund 60 Mio. € p. a. erwartet</a:t>
              </a:r>
            </a:p>
          </p:txBody>
        </p:sp>
        <p:grpSp>
          <p:nvGrpSpPr>
            <p:cNvPr id="9" name="Gruppieren 8">
              <a:extLst>
                <a:ext uri="{FF2B5EF4-FFF2-40B4-BE49-F238E27FC236}">
                  <a16:creationId xmlns:a16="http://schemas.microsoft.com/office/drawing/2014/main" xmlns="" id="{33A2EE01-D459-40C4-A862-CA0171E013F6}"/>
                </a:ext>
              </a:extLst>
            </p:cNvPr>
            <p:cNvGrpSpPr/>
            <p:nvPr/>
          </p:nvGrpSpPr>
          <p:grpSpPr>
            <a:xfrm>
              <a:off x="539750" y="3856589"/>
              <a:ext cx="1511971" cy="668990"/>
              <a:chOff x="539750" y="3857710"/>
              <a:chExt cx="1511971" cy="668990"/>
            </a:xfrm>
          </p:grpSpPr>
          <p:sp>
            <p:nvSpPr>
              <p:cNvPr id="47" name="Inhaltsplatzhalter 2">
                <a:extLst>
                  <a:ext uri="{FF2B5EF4-FFF2-40B4-BE49-F238E27FC236}">
                    <a16:creationId xmlns:a16="http://schemas.microsoft.com/office/drawing/2014/main" xmlns="" id="{2F4A652F-FED2-4553-9299-48A31C4CD9E2}"/>
                  </a:ext>
                </a:extLst>
              </p:cNvPr>
              <p:cNvSpPr txBox="1">
                <a:spLocks/>
              </p:cNvSpPr>
              <p:nvPr/>
            </p:nvSpPr>
            <p:spPr>
              <a:xfrm>
                <a:off x="539750" y="3857710"/>
                <a:ext cx="1511971" cy="668990"/>
              </a:xfrm>
              <a:prstGeom prst="rect">
                <a:avLst/>
              </a:prstGeom>
              <a:solidFill>
                <a:schemeClr val="accent5">
                  <a:lumMod val="40000"/>
                  <a:lumOff val="60000"/>
                </a:schemeClr>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0" marR="0" lvl="1" indent="-184150" algn="l" defTabSz="914400" rtl="0" eaLnBrk="1" fontAlgn="auto" latinLnBrk="0" hangingPunct="1">
                  <a:lnSpc>
                    <a:spcPct val="100000"/>
                  </a:lnSpc>
                  <a:spcBef>
                    <a:spcPts val="20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pic>
            <p:nvPicPr>
              <p:cNvPr id="28" name="Bild 11" descr="MVV1_4c_ohne_schatten.png">
                <a:extLst>
                  <a:ext uri="{FF2B5EF4-FFF2-40B4-BE49-F238E27FC236}">
                    <a16:creationId xmlns:a16="http://schemas.microsoft.com/office/drawing/2014/main" xmlns="" id="{126974BF-B75A-4674-BF05-74DFDDDC19D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30451" y="3925229"/>
                <a:ext cx="730570" cy="533952"/>
              </a:xfrm>
              <a:prstGeom prst="rect">
                <a:avLst/>
              </a:prstGeom>
            </p:spPr>
          </p:pic>
        </p:grpSp>
      </p:grpSp>
      <p:grpSp>
        <p:nvGrpSpPr>
          <p:cNvPr id="18" name="Gruppieren 17">
            <a:extLst>
              <a:ext uri="{FF2B5EF4-FFF2-40B4-BE49-F238E27FC236}">
                <a16:creationId xmlns:a16="http://schemas.microsoft.com/office/drawing/2014/main" xmlns="" id="{6D1A0F4E-ED2D-4F39-AD6F-CCFE3CFD93C1}"/>
              </a:ext>
            </a:extLst>
          </p:cNvPr>
          <p:cNvGrpSpPr/>
          <p:nvPr/>
        </p:nvGrpSpPr>
        <p:grpSpPr>
          <a:xfrm>
            <a:off x="539750" y="2060848"/>
            <a:ext cx="8208714" cy="732082"/>
            <a:chOff x="539750" y="2360881"/>
            <a:chExt cx="8208714" cy="732082"/>
          </a:xfrm>
        </p:grpSpPr>
        <p:sp>
          <p:nvSpPr>
            <p:cNvPr id="11" name="Inhaltsplatzhalter 2"/>
            <p:cNvSpPr txBox="1">
              <a:spLocks/>
            </p:cNvSpPr>
            <p:nvPr/>
          </p:nvSpPr>
          <p:spPr>
            <a:xfrm>
              <a:off x="2051721" y="2360881"/>
              <a:ext cx="6696743" cy="732082"/>
            </a:xfrm>
            <a:prstGeom prst="rect">
              <a:avLst/>
            </a:prstGeom>
            <a:no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Tarifvereinfachung durch Reduktion und Zusammenlegung von Tarifgebieten, dabei deutliche Preisabsenkung als Bestandteil der Reform</a:t>
              </a:r>
            </a:p>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Deutliche Mindererlöse erwartet; teilweise Co-Finanzierung durch das Land BW</a:t>
              </a:r>
            </a:p>
          </p:txBody>
        </p:sp>
        <p:grpSp>
          <p:nvGrpSpPr>
            <p:cNvPr id="6" name="Gruppieren 5">
              <a:extLst>
                <a:ext uri="{FF2B5EF4-FFF2-40B4-BE49-F238E27FC236}">
                  <a16:creationId xmlns:a16="http://schemas.microsoft.com/office/drawing/2014/main" xmlns="" id="{D25AEA62-3B18-49CD-8748-6F5864DB3152}"/>
                </a:ext>
              </a:extLst>
            </p:cNvPr>
            <p:cNvGrpSpPr/>
            <p:nvPr/>
          </p:nvGrpSpPr>
          <p:grpSpPr>
            <a:xfrm>
              <a:off x="539750" y="2392427"/>
              <a:ext cx="1511971" cy="668990"/>
              <a:chOff x="539750" y="2394670"/>
              <a:chExt cx="1511971" cy="668990"/>
            </a:xfrm>
          </p:grpSpPr>
          <p:sp>
            <p:nvSpPr>
              <p:cNvPr id="49" name="Inhaltsplatzhalter 2">
                <a:extLst>
                  <a:ext uri="{FF2B5EF4-FFF2-40B4-BE49-F238E27FC236}">
                    <a16:creationId xmlns:a16="http://schemas.microsoft.com/office/drawing/2014/main" xmlns="" id="{0654D7C7-430E-446D-B9DE-269E347D596A}"/>
                  </a:ext>
                </a:extLst>
              </p:cNvPr>
              <p:cNvSpPr txBox="1">
                <a:spLocks/>
              </p:cNvSpPr>
              <p:nvPr/>
            </p:nvSpPr>
            <p:spPr>
              <a:xfrm>
                <a:off x="539750" y="2394670"/>
                <a:ext cx="1511971" cy="668990"/>
              </a:xfrm>
              <a:prstGeom prst="rect">
                <a:avLst/>
              </a:prstGeom>
              <a:solidFill>
                <a:schemeClr val="accent5">
                  <a:lumMod val="40000"/>
                  <a:lumOff val="60000"/>
                </a:schemeClr>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0" marR="0" lvl="1" indent="-184150" algn="l" defTabSz="914400" rtl="0" eaLnBrk="1" fontAlgn="auto" latinLnBrk="0" hangingPunct="1">
                  <a:lnSpc>
                    <a:spcPct val="100000"/>
                  </a:lnSpc>
                  <a:spcBef>
                    <a:spcPts val="20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pic>
            <p:nvPicPr>
              <p:cNvPr id="19" name="Grafik 18">
                <a:extLst>
                  <a:ext uri="{FF2B5EF4-FFF2-40B4-BE49-F238E27FC236}">
                    <a16:creationId xmlns:a16="http://schemas.microsoft.com/office/drawing/2014/main" xmlns="" id="{24E8227F-5990-4FA3-B669-29413C173F9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89173" y="2437931"/>
                <a:ext cx="613124" cy="582468"/>
              </a:xfrm>
              <a:prstGeom prst="rect">
                <a:avLst/>
              </a:prstGeom>
            </p:spPr>
          </p:pic>
        </p:grpSp>
      </p:grpSp>
      <p:grpSp>
        <p:nvGrpSpPr>
          <p:cNvPr id="24" name="Gruppieren 23">
            <a:extLst>
              <a:ext uri="{FF2B5EF4-FFF2-40B4-BE49-F238E27FC236}">
                <a16:creationId xmlns:a16="http://schemas.microsoft.com/office/drawing/2014/main" xmlns="" id="{9FE10F02-E306-4C9A-87EB-53D50862264F}"/>
              </a:ext>
            </a:extLst>
          </p:cNvPr>
          <p:cNvGrpSpPr/>
          <p:nvPr/>
        </p:nvGrpSpPr>
        <p:grpSpPr>
          <a:xfrm>
            <a:off x="539750" y="4365104"/>
            <a:ext cx="8208714" cy="732082"/>
            <a:chOff x="539750" y="4557124"/>
            <a:chExt cx="8208714" cy="732082"/>
          </a:xfrm>
        </p:grpSpPr>
        <p:sp>
          <p:nvSpPr>
            <p:cNvPr id="22" name="Inhaltsplatzhalter 2">
              <a:extLst>
                <a:ext uri="{FF2B5EF4-FFF2-40B4-BE49-F238E27FC236}">
                  <a16:creationId xmlns:a16="http://schemas.microsoft.com/office/drawing/2014/main" xmlns="" id="{7FBF2B1F-FEE8-423B-9753-A5D28762840E}"/>
                </a:ext>
              </a:extLst>
            </p:cNvPr>
            <p:cNvSpPr txBox="1">
              <a:spLocks/>
            </p:cNvSpPr>
            <p:nvPr/>
          </p:nvSpPr>
          <p:spPr>
            <a:xfrm>
              <a:off x="2051721" y="4557124"/>
              <a:ext cx="6696743" cy="732082"/>
            </a:xfrm>
            <a:prstGeom prst="rect">
              <a:avLst/>
            </a:prstGeom>
            <a:no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Tarifvereinfachung durch Reduktion und Zusammenlegung von Tarifgebieten, dabei Preisstabilität auf dem Niveau des bisher teureren Tarifgebietes</a:t>
              </a:r>
            </a:p>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Massive Proteste in der Öffentlichkeit führten zu Korrekturen (u.a. kostenlose City-Zone ab 2020)</a:t>
              </a:r>
            </a:p>
          </p:txBody>
        </p:sp>
        <p:grpSp>
          <p:nvGrpSpPr>
            <p:cNvPr id="12" name="Gruppieren 11">
              <a:extLst>
                <a:ext uri="{FF2B5EF4-FFF2-40B4-BE49-F238E27FC236}">
                  <a16:creationId xmlns:a16="http://schemas.microsoft.com/office/drawing/2014/main" xmlns="" id="{D046DF27-C077-407A-9CA6-045EB3E0F704}"/>
                </a:ext>
              </a:extLst>
            </p:cNvPr>
            <p:cNvGrpSpPr/>
            <p:nvPr/>
          </p:nvGrpSpPr>
          <p:grpSpPr>
            <a:xfrm>
              <a:off x="539750" y="4588670"/>
              <a:ext cx="1511971" cy="668990"/>
              <a:chOff x="539750" y="4589230"/>
              <a:chExt cx="1511971" cy="668990"/>
            </a:xfrm>
          </p:grpSpPr>
          <p:sp>
            <p:nvSpPr>
              <p:cNvPr id="46" name="Inhaltsplatzhalter 2">
                <a:extLst>
                  <a:ext uri="{FF2B5EF4-FFF2-40B4-BE49-F238E27FC236}">
                    <a16:creationId xmlns:a16="http://schemas.microsoft.com/office/drawing/2014/main" xmlns="" id="{3C68A6D5-83A6-453E-B1B9-E43EFEA46AE2}"/>
                  </a:ext>
                </a:extLst>
              </p:cNvPr>
              <p:cNvSpPr txBox="1">
                <a:spLocks/>
              </p:cNvSpPr>
              <p:nvPr/>
            </p:nvSpPr>
            <p:spPr>
              <a:xfrm>
                <a:off x="539750" y="4589230"/>
                <a:ext cx="1511971" cy="668990"/>
              </a:xfrm>
              <a:prstGeom prst="rect">
                <a:avLst/>
              </a:prstGeom>
              <a:solidFill>
                <a:schemeClr val="accent5">
                  <a:lumMod val="40000"/>
                  <a:lumOff val="60000"/>
                </a:schemeClr>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0" marR="0" lvl="1" indent="-184150" algn="l" defTabSz="914400" rtl="0" eaLnBrk="1" fontAlgn="auto" latinLnBrk="0" hangingPunct="1">
                  <a:lnSpc>
                    <a:spcPct val="100000"/>
                  </a:lnSpc>
                  <a:spcBef>
                    <a:spcPts val="20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pic>
            <p:nvPicPr>
              <p:cNvPr id="26" name="Grafik 25">
                <a:extLst>
                  <a:ext uri="{FF2B5EF4-FFF2-40B4-BE49-F238E27FC236}">
                    <a16:creationId xmlns:a16="http://schemas.microsoft.com/office/drawing/2014/main" xmlns="" id="{0950DBCD-2B72-4DC8-9B15-7A51ECDA463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80116" y="4782072"/>
                <a:ext cx="831238" cy="283306"/>
              </a:xfrm>
              <a:prstGeom prst="rect">
                <a:avLst/>
              </a:prstGeom>
            </p:spPr>
          </p:pic>
        </p:grpSp>
      </p:grpSp>
    </p:spTree>
    <p:extLst>
      <p:ext uri="{BB962C8B-B14F-4D97-AF65-F5344CB8AC3E}">
        <p14:creationId xmlns:p14="http://schemas.microsoft.com/office/powerpoint/2010/main" val="18510272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28D28D48-113F-4271-AE56-29B64DFBFB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545" name="think-cell Folie" r:id="rId7" imgW="338" imgH="344" progId="TCLayout.ActiveDocument.1">
                  <p:embed/>
                </p:oleObj>
              </mc:Choice>
              <mc:Fallback>
                <p:oleObj name="think-cell Folie" r:id="rId7" imgW="338" imgH="344" progId="TCLayout.ActiveDocument.1">
                  <p:embed/>
                  <p:pic>
                    <p:nvPicPr>
                      <p:cNvPr id="7" name="Objekt 6" hidden="1">
                        <a:extLst>
                          <a:ext uri="{FF2B5EF4-FFF2-40B4-BE49-F238E27FC236}">
                            <a16:creationId xmlns:a16="http://schemas.microsoft.com/office/drawing/2014/main" xmlns="" id="{28D28D48-113F-4271-AE56-29B64DFBFBA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xmlns="" id="{BF6097D3-31F3-437B-8F4E-E63B2F65A2BB}"/>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pic>
        <p:nvPicPr>
          <p:cNvPr id="6" name="Grafik 5">
            <a:extLst>
              <a:ext uri="{FF2B5EF4-FFF2-40B4-BE49-F238E27FC236}">
                <a16:creationId xmlns:a16="http://schemas.microsoft.com/office/drawing/2014/main" xmlns="" id="{38E98B71-642B-4193-988A-1FDAE1745D5F}"/>
              </a:ext>
            </a:extLst>
          </p:cNvPr>
          <p:cNvPicPr>
            <a:picLocks noChangeAspect="1"/>
          </p:cNvPicPr>
          <p:nvPr/>
        </p:nvPicPr>
        <p:blipFill rotWithShape="1">
          <a:blip r:embed="rId9"/>
          <a:srcRect t="8466"/>
          <a:stretch/>
        </p:blipFill>
        <p:spPr>
          <a:xfrm>
            <a:off x="2866547" y="1528052"/>
            <a:ext cx="3145613" cy="4070485"/>
          </a:xfrm>
          <a:prstGeom prst="rect">
            <a:avLst/>
          </a:prstGeom>
        </p:spPr>
      </p:pic>
      <p:sp>
        <p:nvSpPr>
          <p:cNvPr id="20" name="Rechteck 19">
            <a:extLst>
              <a:ext uri="{FF2B5EF4-FFF2-40B4-BE49-F238E27FC236}">
                <a16:creationId xmlns:a16="http://schemas.microsoft.com/office/drawing/2014/main" xmlns="" id="{F037295B-36B4-4CE7-8F17-3C1F3D2AB88B}"/>
              </a:ext>
            </a:extLst>
          </p:cNvPr>
          <p:cNvSpPr/>
          <p:nvPr/>
        </p:nvSpPr>
        <p:spPr>
          <a:xfrm>
            <a:off x="3347864" y="3284993"/>
            <a:ext cx="432048" cy="215444"/>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2" name="Titel 1"/>
          <p:cNvSpPr>
            <a:spLocks noGrp="1"/>
          </p:cNvSpPr>
          <p:nvPr>
            <p:ph type="title"/>
          </p:nvPr>
        </p:nvSpPr>
        <p:spPr/>
        <p:txBody>
          <a:bodyPr/>
          <a:lstStyle/>
          <a:p>
            <a:r>
              <a:rPr lang="de-DE" dirty="0"/>
              <a:t>Das BMVI unterstützt 5 „Modellstädte“ bei der Umsetzung von Vorhaben, zwei davon pilotieren das 365-Euro-Ticket</a:t>
            </a:r>
          </a:p>
        </p:txBody>
      </p:sp>
      <p:sp>
        <p:nvSpPr>
          <p:cNvPr id="3" name="Inhaltsplatzhalter 2"/>
          <p:cNvSpPr>
            <a:spLocks noGrp="1"/>
          </p:cNvSpPr>
          <p:nvPr>
            <p:ph idx="1"/>
          </p:nvPr>
        </p:nvSpPr>
        <p:spPr/>
        <p:txBody>
          <a:bodyPr/>
          <a:lstStyle/>
          <a:p>
            <a:r>
              <a:rPr lang="de-DE" dirty="0"/>
              <a:t>Übersicht: Sofortprogramm Saubere Luft 2017 – 2020</a:t>
            </a:r>
          </a:p>
          <a:p>
            <a:endParaRPr lang="de-DE" dirty="0"/>
          </a:p>
          <a:p>
            <a:endParaRPr lang="de-DE" dirty="0"/>
          </a:p>
        </p:txBody>
      </p:sp>
      <p:sp>
        <p:nvSpPr>
          <p:cNvPr id="4" name="Foliennummernplatzhalter 3"/>
          <p:cNvSpPr>
            <a:spLocks noGrp="1"/>
          </p:cNvSpPr>
          <p:nvPr>
            <p:ph type="sldNum" sz="quarter" idx="11"/>
          </p:nvPr>
        </p:nvSpPr>
        <p:spPr/>
        <p:txBody>
          <a:bodyPr/>
          <a:lstStyle/>
          <a:p>
            <a:fld id="{CD21EFEB-933F-4F46-A5AD-B6372944D9E5}" type="slidenum">
              <a:rPr lang="de-DE" smtClean="0"/>
              <a:pPr/>
              <a:t>44</a:t>
            </a:fld>
            <a:endParaRPr lang="de-DE"/>
          </a:p>
        </p:txBody>
      </p:sp>
      <p:sp>
        <p:nvSpPr>
          <p:cNvPr id="10" name="Abgerundetes Rechteck 9"/>
          <p:cNvSpPr/>
          <p:nvPr>
            <p:custDataLst>
              <p:tags r:id="rId4"/>
            </p:custDataLst>
          </p:nvPr>
        </p:nvSpPr>
        <p:spPr>
          <a:xfrm>
            <a:off x="6779764" y="1105583"/>
            <a:ext cx="1806213" cy="24628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4000" tIns="18000" rIns="234000" bIns="0" rtlCol="0" anchor="ctr">
            <a:spAutoFit/>
          </a:bodyPr>
          <a:lstStyle/>
          <a:p>
            <a:pPr algn="r">
              <a:lnSpc>
                <a:spcPct val="85000"/>
              </a:lnSpc>
            </a:pPr>
            <a:r>
              <a:rPr lang="de-DE" sz="1200" b="1" cap="all" dirty="0">
                <a:solidFill>
                  <a:schemeClr val="tx1"/>
                </a:solidFill>
              </a:rPr>
              <a:t>Modellstädte</a:t>
            </a:r>
          </a:p>
        </p:txBody>
      </p:sp>
      <p:sp>
        <p:nvSpPr>
          <p:cNvPr id="9" name="Textfeld 8">
            <a:extLst>
              <a:ext uri="{FF2B5EF4-FFF2-40B4-BE49-F238E27FC236}">
                <a16:creationId xmlns:a16="http://schemas.microsoft.com/office/drawing/2014/main" xmlns="" id="{F006D29D-1898-469F-A25B-D36136C55434}"/>
              </a:ext>
            </a:extLst>
          </p:cNvPr>
          <p:cNvSpPr txBox="1"/>
          <p:nvPr/>
        </p:nvSpPr>
        <p:spPr>
          <a:xfrm>
            <a:off x="466725" y="3980991"/>
            <a:ext cx="2695575" cy="2123658"/>
          </a:xfrm>
          <a:prstGeom prst="rect">
            <a:avLst/>
          </a:prstGeom>
          <a:noFill/>
        </p:spPr>
        <p:txBody>
          <a:bodyPr wrap="square" rtlCol="0">
            <a:noAutofit/>
          </a:bodyPr>
          <a:lstStyle/>
          <a:p>
            <a:pPr marL="285750" indent="-285750">
              <a:buFont typeface="Arial" panose="020B0604020202020204" pitchFamily="34" charset="0"/>
              <a:buChar char="•"/>
            </a:pPr>
            <a:r>
              <a:rPr lang="de-DE" sz="1200" dirty="0"/>
              <a:t>365 € Jahresticket </a:t>
            </a:r>
          </a:p>
          <a:p>
            <a:pPr marL="742950" lvl="1" indent="-285750">
              <a:buFont typeface="Symbol" panose="05050102010706020507" pitchFamily="18" charset="2"/>
              <a:buChar char="-"/>
            </a:pPr>
            <a:r>
              <a:rPr lang="de-DE" sz="1200" dirty="0"/>
              <a:t>Nur für Neukunden </a:t>
            </a:r>
          </a:p>
          <a:p>
            <a:pPr marL="742950" lvl="1" indent="-285750">
              <a:buFont typeface="Symbol" panose="05050102010706020507" pitchFamily="18" charset="2"/>
              <a:buChar char="-"/>
            </a:pPr>
            <a:r>
              <a:rPr lang="de-DE" sz="1200" dirty="0"/>
              <a:t>Bei Abschluss auf 1 Jahr befristet, danach Übergang in Normaltarif</a:t>
            </a:r>
          </a:p>
          <a:p>
            <a:pPr marL="285750" indent="-285750">
              <a:buFont typeface="Arial" panose="020B0604020202020204" pitchFamily="34" charset="0"/>
              <a:buChar char="•"/>
            </a:pPr>
            <a:r>
              <a:rPr lang="de-DE" sz="1200" dirty="0"/>
              <a:t>Vergünstigtes Jobticket</a:t>
            </a:r>
          </a:p>
          <a:p>
            <a:pPr marL="742950" lvl="1" indent="-285750">
              <a:buFont typeface="Symbol" panose="05050102010706020507" pitchFamily="18" charset="2"/>
              <a:buChar char="-"/>
            </a:pPr>
            <a:r>
              <a:rPr lang="de-DE" sz="1200" dirty="0"/>
              <a:t>Auf 2 Jahre befristet</a:t>
            </a:r>
          </a:p>
          <a:p>
            <a:pPr marL="285750" indent="-285750">
              <a:buFont typeface="Arial" panose="020B0604020202020204" pitchFamily="34" charset="0"/>
              <a:buChar char="•"/>
            </a:pPr>
            <a:r>
              <a:rPr lang="de-DE" sz="1200" dirty="0"/>
              <a:t>Günstiges Gruppentagesticket</a:t>
            </a:r>
          </a:p>
          <a:p>
            <a:pPr marL="285750" indent="-285750">
              <a:buFont typeface="Arial" panose="020B0604020202020204" pitchFamily="34" charset="0"/>
              <a:buChar char="•"/>
            </a:pPr>
            <a:r>
              <a:rPr lang="de-DE" sz="1200" dirty="0"/>
              <a:t>Laufzeit: 2019 bis Ende 2020 </a:t>
            </a:r>
          </a:p>
          <a:p>
            <a:endParaRPr lang="de-DE" sz="1200" dirty="0"/>
          </a:p>
        </p:txBody>
      </p:sp>
      <p:sp>
        <p:nvSpPr>
          <p:cNvPr id="13" name="Textfeld 12">
            <a:extLst>
              <a:ext uri="{FF2B5EF4-FFF2-40B4-BE49-F238E27FC236}">
                <a16:creationId xmlns:a16="http://schemas.microsoft.com/office/drawing/2014/main" xmlns="" id="{26052878-A03F-4006-B4F2-801DDD73390C}"/>
              </a:ext>
            </a:extLst>
          </p:cNvPr>
          <p:cNvSpPr txBox="1"/>
          <p:nvPr/>
        </p:nvSpPr>
        <p:spPr>
          <a:xfrm>
            <a:off x="6148937" y="3210889"/>
            <a:ext cx="2501810" cy="1384995"/>
          </a:xfrm>
          <a:prstGeom prst="rect">
            <a:avLst/>
          </a:prstGeom>
          <a:noFill/>
        </p:spPr>
        <p:txBody>
          <a:bodyPr wrap="square" rtlCol="0">
            <a:spAutoFit/>
          </a:bodyPr>
          <a:lstStyle/>
          <a:p>
            <a:pPr marL="171450" indent="-171450">
              <a:buFont typeface="Arial" panose="020B0604020202020204" pitchFamily="34" charset="0"/>
              <a:buChar char="•"/>
            </a:pPr>
            <a:r>
              <a:rPr lang="de-DE" sz="1200" dirty="0"/>
              <a:t>Stadttickets</a:t>
            </a:r>
          </a:p>
          <a:p>
            <a:pPr marL="628650" lvl="1" indent="-171450">
              <a:buFont typeface="Symbol" panose="05050102010706020507" pitchFamily="18" charset="2"/>
              <a:buChar char="-"/>
            </a:pPr>
            <a:r>
              <a:rPr lang="de-DE" sz="1200" dirty="0"/>
              <a:t>Günstige Tagestickets</a:t>
            </a:r>
          </a:p>
          <a:p>
            <a:pPr marL="628650" lvl="1" indent="-171450">
              <a:buFont typeface="Symbol" panose="05050102010706020507" pitchFamily="18" charset="2"/>
              <a:buChar char="-"/>
            </a:pPr>
            <a:r>
              <a:rPr lang="de-DE" sz="1200" dirty="0"/>
              <a:t>Günstige Monatstickets</a:t>
            </a:r>
          </a:p>
          <a:p>
            <a:pPr marL="171450" indent="-171450">
              <a:buFont typeface="Arial" panose="020B0604020202020204" pitchFamily="34" charset="0"/>
              <a:buChar char="•"/>
            </a:pPr>
            <a:r>
              <a:rPr lang="de-DE" sz="1200" dirty="0"/>
              <a:t>ÖPNV-Angebotsausweitung</a:t>
            </a:r>
          </a:p>
          <a:p>
            <a:pPr marL="171450" indent="-171450">
              <a:buFont typeface="Arial" panose="020B0604020202020204" pitchFamily="34" charset="0"/>
              <a:buChar char="•"/>
            </a:pPr>
            <a:r>
              <a:rPr lang="de-DE" sz="1200" dirty="0"/>
              <a:t>Laufzeit: 2019 bis Ende 2020</a:t>
            </a:r>
          </a:p>
          <a:p>
            <a:pPr marL="171450" indent="-171450">
              <a:buFont typeface="Arial" panose="020B0604020202020204" pitchFamily="34" charset="0"/>
              <a:buChar char="•"/>
            </a:pPr>
            <a:endParaRPr lang="de-DE" sz="1200" dirty="0"/>
          </a:p>
          <a:p>
            <a:endParaRPr lang="de-DE" sz="1200" dirty="0"/>
          </a:p>
        </p:txBody>
      </p:sp>
      <p:sp>
        <p:nvSpPr>
          <p:cNvPr id="15" name="Textfeld 14">
            <a:extLst>
              <a:ext uri="{FF2B5EF4-FFF2-40B4-BE49-F238E27FC236}">
                <a16:creationId xmlns:a16="http://schemas.microsoft.com/office/drawing/2014/main" xmlns="" id="{55A3E0FC-4A17-4118-B4FC-E8C29F491DB8}"/>
              </a:ext>
            </a:extLst>
          </p:cNvPr>
          <p:cNvSpPr txBox="1"/>
          <p:nvPr/>
        </p:nvSpPr>
        <p:spPr>
          <a:xfrm>
            <a:off x="436842" y="3758280"/>
            <a:ext cx="2695575" cy="263351"/>
          </a:xfrm>
          <a:prstGeom prst="rect">
            <a:avLst/>
          </a:prstGeom>
          <a:noFill/>
        </p:spPr>
        <p:txBody>
          <a:bodyPr wrap="square" rtlCol="0">
            <a:noAutofit/>
          </a:bodyPr>
          <a:lstStyle/>
          <a:p>
            <a:r>
              <a:rPr lang="de-DE" sz="1200" b="1" dirty="0"/>
              <a:t>Bonn:</a:t>
            </a:r>
          </a:p>
        </p:txBody>
      </p:sp>
      <p:cxnSp>
        <p:nvCxnSpPr>
          <p:cNvPr id="16" name="Gerader Verbinder 15">
            <a:extLst>
              <a:ext uri="{FF2B5EF4-FFF2-40B4-BE49-F238E27FC236}">
                <a16:creationId xmlns:a16="http://schemas.microsoft.com/office/drawing/2014/main" xmlns="" id="{27818562-589D-4209-AF52-D3EBB2DF41BF}"/>
              </a:ext>
            </a:extLst>
          </p:cNvPr>
          <p:cNvCxnSpPr>
            <a:cxnSpLocks/>
          </p:cNvCxnSpPr>
          <p:nvPr/>
        </p:nvCxnSpPr>
        <p:spPr>
          <a:xfrm>
            <a:off x="539750" y="3991151"/>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xmlns="" id="{769F13D4-CE21-4C9E-8DDE-F4EB97A6A067}"/>
              </a:ext>
            </a:extLst>
          </p:cNvPr>
          <p:cNvSpPr txBox="1"/>
          <p:nvPr/>
        </p:nvSpPr>
        <p:spPr>
          <a:xfrm>
            <a:off x="6136602" y="2978462"/>
            <a:ext cx="2695575" cy="263351"/>
          </a:xfrm>
          <a:prstGeom prst="rect">
            <a:avLst/>
          </a:prstGeom>
          <a:noFill/>
        </p:spPr>
        <p:txBody>
          <a:bodyPr wrap="square" rtlCol="0">
            <a:noAutofit/>
          </a:bodyPr>
          <a:lstStyle/>
          <a:p>
            <a:r>
              <a:rPr lang="de-DE" sz="1200" b="1" dirty="0"/>
              <a:t>Herrenberg:</a:t>
            </a:r>
          </a:p>
        </p:txBody>
      </p:sp>
      <p:cxnSp>
        <p:nvCxnSpPr>
          <p:cNvPr id="24" name="Gerader Verbinder 23">
            <a:extLst>
              <a:ext uri="{FF2B5EF4-FFF2-40B4-BE49-F238E27FC236}">
                <a16:creationId xmlns:a16="http://schemas.microsoft.com/office/drawing/2014/main" xmlns="" id="{522253E1-B0ED-47C8-B764-D6104B1128E4}"/>
              </a:ext>
            </a:extLst>
          </p:cNvPr>
          <p:cNvCxnSpPr>
            <a:cxnSpLocks/>
          </p:cNvCxnSpPr>
          <p:nvPr/>
        </p:nvCxnSpPr>
        <p:spPr>
          <a:xfrm>
            <a:off x="6239510" y="3211333"/>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xmlns="" id="{4F58DB6D-9E07-4EBF-9293-8663CE06C8FB}"/>
              </a:ext>
            </a:extLst>
          </p:cNvPr>
          <p:cNvSpPr/>
          <p:nvPr/>
        </p:nvSpPr>
        <p:spPr>
          <a:xfrm>
            <a:off x="3379614" y="3386137"/>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9" name="Textfeld 18">
            <a:extLst>
              <a:ext uri="{FF2B5EF4-FFF2-40B4-BE49-F238E27FC236}">
                <a16:creationId xmlns:a16="http://schemas.microsoft.com/office/drawing/2014/main" xmlns="" id="{82F9E78C-AF70-4DF7-A6C0-BA557AC5808E}"/>
              </a:ext>
            </a:extLst>
          </p:cNvPr>
          <p:cNvSpPr txBox="1"/>
          <p:nvPr/>
        </p:nvSpPr>
        <p:spPr>
          <a:xfrm>
            <a:off x="3419872" y="3284993"/>
            <a:ext cx="648072" cy="215444"/>
          </a:xfrm>
          <a:prstGeom prst="rect">
            <a:avLst/>
          </a:prstGeom>
          <a:noFill/>
        </p:spPr>
        <p:txBody>
          <a:bodyPr wrap="square" rtlCol="0">
            <a:spAutoFit/>
          </a:bodyPr>
          <a:lstStyle/>
          <a:p>
            <a:r>
              <a:rPr lang="de-DE" sz="800" dirty="0"/>
              <a:t>Essen</a:t>
            </a:r>
          </a:p>
        </p:txBody>
      </p:sp>
      <p:sp>
        <p:nvSpPr>
          <p:cNvPr id="32" name="Rechteck 31">
            <a:extLst>
              <a:ext uri="{FF2B5EF4-FFF2-40B4-BE49-F238E27FC236}">
                <a16:creationId xmlns:a16="http://schemas.microsoft.com/office/drawing/2014/main" xmlns="" id="{00AEBEB2-4925-449F-8540-A6A2C43C385C}"/>
              </a:ext>
            </a:extLst>
          </p:cNvPr>
          <p:cNvSpPr/>
          <p:nvPr/>
        </p:nvSpPr>
        <p:spPr>
          <a:xfrm>
            <a:off x="3811910" y="4293096"/>
            <a:ext cx="432048" cy="7200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3" name="Ellipse 32">
            <a:extLst>
              <a:ext uri="{FF2B5EF4-FFF2-40B4-BE49-F238E27FC236}">
                <a16:creationId xmlns:a16="http://schemas.microsoft.com/office/drawing/2014/main" xmlns="" id="{7214AC5E-4124-464B-BACC-02FC68F564D6}"/>
              </a:ext>
            </a:extLst>
          </p:cNvPr>
          <p:cNvSpPr/>
          <p:nvPr/>
        </p:nvSpPr>
        <p:spPr>
          <a:xfrm>
            <a:off x="3843660" y="4293824"/>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4" name="Textfeld 33">
            <a:extLst>
              <a:ext uri="{FF2B5EF4-FFF2-40B4-BE49-F238E27FC236}">
                <a16:creationId xmlns:a16="http://schemas.microsoft.com/office/drawing/2014/main" xmlns="" id="{C12CC5AA-A534-4CC5-BC0A-912402C0F1B1}"/>
              </a:ext>
            </a:extLst>
          </p:cNvPr>
          <p:cNvSpPr txBox="1"/>
          <p:nvPr/>
        </p:nvSpPr>
        <p:spPr>
          <a:xfrm>
            <a:off x="3883918" y="4192680"/>
            <a:ext cx="760090" cy="215444"/>
          </a:xfrm>
          <a:prstGeom prst="rect">
            <a:avLst/>
          </a:prstGeom>
          <a:noFill/>
        </p:spPr>
        <p:txBody>
          <a:bodyPr wrap="square" rtlCol="0">
            <a:spAutoFit/>
          </a:bodyPr>
          <a:lstStyle/>
          <a:p>
            <a:r>
              <a:rPr lang="de-DE" sz="800" dirty="0"/>
              <a:t>Mannheim</a:t>
            </a:r>
          </a:p>
        </p:txBody>
      </p:sp>
      <p:sp>
        <p:nvSpPr>
          <p:cNvPr id="35" name="Rechteck 34">
            <a:extLst>
              <a:ext uri="{FF2B5EF4-FFF2-40B4-BE49-F238E27FC236}">
                <a16:creationId xmlns:a16="http://schemas.microsoft.com/office/drawing/2014/main" xmlns="" id="{305DE1CF-AD23-4F37-A9A6-934FB4C0EF8E}"/>
              </a:ext>
            </a:extLst>
          </p:cNvPr>
          <p:cNvSpPr/>
          <p:nvPr/>
        </p:nvSpPr>
        <p:spPr>
          <a:xfrm>
            <a:off x="3901008" y="4604144"/>
            <a:ext cx="526976" cy="26501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6" name="Ellipse 35">
            <a:extLst>
              <a:ext uri="{FF2B5EF4-FFF2-40B4-BE49-F238E27FC236}">
                <a16:creationId xmlns:a16="http://schemas.microsoft.com/office/drawing/2014/main" xmlns="" id="{2327F1C8-25B1-4CEA-986F-034B6A6E95C6}"/>
              </a:ext>
            </a:extLst>
          </p:cNvPr>
          <p:cNvSpPr/>
          <p:nvPr/>
        </p:nvSpPr>
        <p:spPr>
          <a:xfrm>
            <a:off x="3932758" y="4705289"/>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7" name="Textfeld 36">
            <a:extLst>
              <a:ext uri="{FF2B5EF4-FFF2-40B4-BE49-F238E27FC236}">
                <a16:creationId xmlns:a16="http://schemas.microsoft.com/office/drawing/2014/main" xmlns="" id="{AC8F4438-D036-431A-B894-09F98D3516CB}"/>
              </a:ext>
            </a:extLst>
          </p:cNvPr>
          <p:cNvSpPr txBox="1"/>
          <p:nvPr/>
        </p:nvSpPr>
        <p:spPr>
          <a:xfrm>
            <a:off x="3973016" y="4604145"/>
            <a:ext cx="743000" cy="215444"/>
          </a:xfrm>
          <a:prstGeom prst="rect">
            <a:avLst/>
          </a:prstGeom>
          <a:noFill/>
        </p:spPr>
        <p:txBody>
          <a:bodyPr wrap="square" rtlCol="0">
            <a:spAutoFit/>
          </a:bodyPr>
          <a:lstStyle/>
          <a:p>
            <a:r>
              <a:rPr lang="de-DE" sz="800" dirty="0"/>
              <a:t>Herrenberg</a:t>
            </a:r>
          </a:p>
        </p:txBody>
      </p:sp>
      <p:sp>
        <p:nvSpPr>
          <p:cNvPr id="43" name="Ellipse 42">
            <a:extLst>
              <a:ext uri="{FF2B5EF4-FFF2-40B4-BE49-F238E27FC236}">
                <a16:creationId xmlns:a16="http://schemas.microsoft.com/office/drawing/2014/main" xmlns="" id="{48F9C9F5-F1F3-4846-BB42-2A0D05CDAF3B}"/>
              </a:ext>
            </a:extLst>
          </p:cNvPr>
          <p:cNvSpPr/>
          <p:nvPr/>
        </p:nvSpPr>
        <p:spPr>
          <a:xfrm>
            <a:off x="4070937" y="4784619"/>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4" name="Textfeld 43">
            <a:extLst>
              <a:ext uri="{FF2B5EF4-FFF2-40B4-BE49-F238E27FC236}">
                <a16:creationId xmlns:a16="http://schemas.microsoft.com/office/drawing/2014/main" xmlns="" id="{EB52DE01-A86D-4BB3-AEE3-68567D2AB387}"/>
              </a:ext>
            </a:extLst>
          </p:cNvPr>
          <p:cNvSpPr txBox="1"/>
          <p:nvPr/>
        </p:nvSpPr>
        <p:spPr>
          <a:xfrm>
            <a:off x="4112783" y="4721575"/>
            <a:ext cx="743000" cy="215444"/>
          </a:xfrm>
          <a:prstGeom prst="rect">
            <a:avLst/>
          </a:prstGeom>
          <a:noFill/>
        </p:spPr>
        <p:txBody>
          <a:bodyPr wrap="square" rtlCol="0">
            <a:spAutoFit/>
          </a:bodyPr>
          <a:lstStyle/>
          <a:p>
            <a:r>
              <a:rPr lang="de-DE" sz="800" dirty="0"/>
              <a:t>Reutlingen</a:t>
            </a:r>
          </a:p>
        </p:txBody>
      </p:sp>
      <p:sp>
        <p:nvSpPr>
          <p:cNvPr id="38" name="Textfeld 37">
            <a:extLst>
              <a:ext uri="{FF2B5EF4-FFF2-40B4-BE49-F238E27FC236}">
                <a16:creationId xmlns:a16="http://schemas.microsoft.com/office/drawing/2014/main" xmlns="" id="{B6399B85-0FFE-4B58-8665-C515464A6BC3}"/>
              </a:ext>
            </a:extLst>
          </p:cNvPr>
          <p:cNvSpPr txBox="1"/>
          <p:nvPr/>
        </p:nvSpPr>
        <p:spPr>
          <a:xfrm>
            <a:off x="436842" y="1782046"/>
            <a:ext cx="2694998" cy="1938992"/>
          </a:xfrm>
          <a:prstGeom prst="rect">
            <a:avLst/>
          </a:prstGeom>
          <a:noFill/>
        </p:spPr>
        <p:txBody>
          <a:bodyPr wrap="square" rtlCol="0">
            <a:spAutoFit/>
          </a:bodyPr>
          <a:lstStyle/>
          <a:p>
            <a:pPr marL="285750" indent="-285750">
              <a:buFont typeface="Arial" panose="020B0604020202020204" pitchFamily="34" charset="0"/>
              <a:buChar char="•"/>
            </a:pPr>
            <a:r>
              <a:rPr lang="de-DE" sz="1200" dirty="0"/>
              <a:t>„Modellstadt Essen“ Abos </a:t>
            </a:r>
          </a:p>
          <a:p>
            <a:pPr marL="742950" lvl="1" indent="-285750">
              <a:buFont typeface="Symbol" panose="05050102010706020507" pitchFamily="18" charset="2"/>
              <a:buChar char="-"/>
            </a:pPr>
            <a:r>
              <a:rPr lang="de-DE" sz="1200" dirty="0"/>
              <a:t>Um 50% rabattiert</a:t>
            </a:r>
            <a:r>
              <a:rPr lang="de-DE" sz="1200" b="1" dirty="0"/>
              <a:t> </a:t>
            </a:r>
            <a:br>
              <a:rPr lang="de-DE" sz="1200" b="1" dirty="0"/>
            </a:br>
            <a:r>
              <a:rPr lang="de-DE" sz="1200" dirty="0"/>
              <a:t>(ab 411,96 €)</a:t>
            </a:r>
          </a:p>
          <a:p>
            <a:pPr marL="742950" lvl="1" indent="-285750">
              <a:buFont typeface="Symbol" panose="05050102010706020507" pitchFamily="18" charset="2"/>
              <a:buChar char="-"/>
            </a:pPr>
            <a:r>
              <a:rPr lang="de-DE" sz="1200" dirty="0"/>
              <a:t>Nur für Neukunden</a:t>
            </a:r>
          </a:p>
          <a:p>
            <a:pPr marL="285750" indent="-285750">
              <a:buFont typeface="Arial" panose="020B0604020202020204" pitchFamily="34" charset="0"/>
              <a:buChar char="•"/>
            </a:pPr>
            <a:r>
              <a:rPr lang="de-DE" sz="1200" dirty="0"/>
              <a:t>Prämien bei Monatsticket im digitalen Vertrieb für Neukunden</a:t>
            </a:r>
          </a:p>
          <a:p>
            <a:pPr marL="285750" indent="-285750">
              <a:buFont typeface="Arial" panose="020B0604020202020204" pitchFamily="34" charset="0"/>
              <a:buChar char="•"/>
            </a:pPr>
            <a:r>
              <a:rPr lang="de-DE" sz="1200" dirty="0"/>
              <a:t>Firmentickets mit 30 € Förderung für Neukunden</a:t>
            </a:r>
          </a:p>
          <a:p>
            <a:pPr marL="285750" indent="-285750">
              <a:buFont typeface="Arial" panose="020B0604020202020204" pitchFamily="34" charset="0"/>
              <a:buChar char="•"/>
            </a:pPr>
            <a:r>
              <a:rPr lang="de-DE" sz="1200" dirty="0"/>
              <a:t>Laufzeit: 2019 bis Ende 2020</a:t>
            </a:r>
          </a:p>
          <a:p>
            <a:endParaRPr lang="de-DE" sz="1200" dirty="0"/>
          </a:p>
        </p:txBody>
      </p:sp>
      <p:sp>
        <p:nvSpPr>
          <p:cNvPr id="39" name="Textfeld 38">
            <a:extLst>
              <a:ext uri="{FF2B5EF4-FFF2-40B4-BE49-F238E27FC236}">
                <a16:creationId xmlns:a16="http://schemas.microsoft.com/office/drawing/2014/main" xmlns="" id="{BC8B00D0-7EE6-4E03-B617-33CFCCB8CE4A}"/>
              </a:ext>
            </a:extLst>
          </p:cNvPr>
          <p:cNvSpPr txBox="1"/>
          <p:nvPr/>
        </p:nvSpPr>
        <p:spPr>
          <a:xfrm>
            <a:off x="444277" y="1558933"/>
            <a:ext cx="2695575" cy="263351"/>
          </a:xfrm>
          <a:prstGeom prst="rect">
            <a:avLst/>
          </a:prstGeom>
          <a:noFill/>
        </p:spPr>
        <p:txBody>
          <a:bodyPr wrap="square" rtlCol="0">
            <a:noAutofit/>
          </a:bodyPr>
          <a:lstStyle/>
          <a:p>
            <a:r>
              <a:rPr lang="de-DE" sz="1200" b="1" dirty="0"/>
              <a:t>Essen:</a:t>
            </a:r>
          </a:p>
        </p:txBody>
      </p:sp>
      <p:cxnSp>
        <p:nvCxnSpPr>
          <p:cNvPr id="40" name="Gerader Verbinder 39">
            <a:extLst>
              <a:ext uri="{FF2B5EF4-FFF2-40B4-BE49-F238E27FC236}">
                <a16:creationId xmlns:a16="http://schemas.microsoft.com/office/drawing/2014/main" xmlns="" id="{317D7C02-E06D-4533-990E-559DCE5FD4B8}"/>
              </a:ext>
            </a:extLst>
          </p:cNvPr>
          <p:cNvCxnSpPr>
            <a:cxnSpLocks/>
          </p:cNvCxnSpPr>
          <p:nvPr/>
        </p:nvCxnSpPr>
        <p:spPr>
          <a:xfrm flipV="1">
            <a:off x="547687" y="1782046"/>
            <a:ext cx="2376488" cy="975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xmlns="" id="{300308FF-8469-4FDC-8937-EC420DA56351}"/>
              </a:ext>
            </a:extLst>
          </p:cNvPr>
          <p:cNvSpPr/>
          <p:nvPr/>
        </p:nvSpPr>
        <p:spPr>
          <a:xfrm>
            <a:off x="3373264" y="3607374"/>
            <a:ext cx="262632" cy="215444"/>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2" name="Ellipse 41">
            <a:extLst>
              <a:ext uri="{FF2B5EF4-FFF2-40B4-BE49-F238E27FC236}">
                <a16:creationId xmlns:a16="http://schemas.microsoft.com/office/drawing/2014/main" xmlns="" id="{AE2604D2-BF1E-4B85-A53D-A6E81FA715C7}"/>
              </a:ext>
            </a:extLst>
          </p:cNvPr>
          <p:cNvSpPr/>
          <p:nvPr/>
        </p:nvSpPr>
        <p:spPr>
          <a:xfrm>
            <a:off x="3405014" y="3708518"/>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1" name="Textfeld 30">
            <a:extLst>
              <a:ext uri="{FF2B5EF4-FFF2-40B4-BE49-F238E27FC236}">
                <a16:creationId xmlns:a16="http://schemas.microsoft.com/office/drawing/2014/main" xmlns="" id="{0E0457C0-E587-4DFC-8482-DFC5B2B01CD3}"/>
              </a:ext>
            </a:extLst>
          </p:cNvPr>
          <p:cNvSpPr txBox="1"/>
          <p:nvPr/>
        </p:nvSpPr>
        <p:spPr>
          <a:xfrm>
            <a:off x="3445272" y="3621543"/>
            <a:ext cx="648072" cy="215444"/>
          </a:xfrm>
          <a:prstGeom prst="rect">
            <a:avLst/>
          </a:prstGeom>
          <a:noFill/>
        </p:spPr>
        <p:txBody>
          <a:bodyPr wrap="square" rtlCol="0">
            <a:spAutoFit/>
          </a:bodyPr>
          <a:lstStyle/>
          <a:p>
            <a:r>
              <a:rPr lang="de-DE" sz="800" dirty="0"/>
              <a:t>Bonn</a:t>
            </a:r>
          </a:p>
        </p:txBody>
      </p:sp>
      <p:sp>
        <p:nvSpPr>
          <p:cNvPr id="45" name="Textfeld 44">
            <a:extLst>
              <a:ext uri="{FF2B5EF4-FFF2-40B4-BE49-F238E27FC236}">
                <a16:creationId xmlns:a16="http://schemas.microsoft.com/office/drawing/2014/main" xmlns="" id="{4F2ACA65-E961-44A9-8326-9CD9965D91C6}"/>
              </a:ext>
            </a:extLst>
          </p:cNvPr>
          <p:cNvSpPr txBox="1"/>
          <p:nvPr/>
        </p:nvSpPr>
        <p:spPr>
          <a:xfrm>
            <a:off x="6150434" y="1775926"/>
            <a:ext cx="2500313" cy="1277273"/>
          </a:xfrm>
          <a:prstGeom prst="rect">
            <a:avLst/>
          </a:prstGeom>
          <a:noFill/>
        </p:spPr>
        <p:txBody>
          <a:bodyPr wrap="square" rtlCol="0">
            <a:noAutofit/>
          </a:bodyPr>
          <a:lstStyle/>
          <a:p>
            <a:pPr marL="285750" indent="-285750">
              <a:buFont typeface="Arial" panose="020B0604020202020204" pitchFamily="34" charset="0"/>
              <a:buChar char="•"/>
            </a:pPr>
            <a:r>
              <a:rPr lang="de-DE" sz="1200" dirty="0"/>
              <a:t>Preissenkungen im Gelegen-</a:t>
            </a:r>
            <a:r>
              <a:rPr lang="de-DE" sz="1200" dirty="0" err="1"/>
              <a:t>heits</a:t>
            </a:r>
            <a:r>
              <a:rPr lang="de-DE" sz="1200" dirty="0"/>
              <a:t>- und Zeitkartentarif</a:t>
            </a:r>
          </a:p>
          <a:p>
            <a:pPr marL="285750" indent="-285750">
              <a:buFont typeface="Arial" panose="020B0604020202020204" pitchFamily="34" charset="0"/>
              <a:buChar char="•"/>
            </a:pPr>
            <a:r>
              <a:rPr lang="de-DE" sz="1200" dirty="0"/>
              <a:t>ÖPNV-Angebotsausweitung</a:t>
            </a:r>
          </a:p>
          <a:p>
            <a:pPr marL="285750" indent="-285750">
              <a:buFont typeface="Arial" panose="020B0604020202020204" pitchFamily="34" charset="0"/>
              <a:buChar char="•"/>
            </a:pPr>
            <a:r>
              <a:rPr lang="de-DE" sz="1200" dirty="0"/>
              <a:t>Laufzeit: 2019 bis Ende 2020</a:t>
            </a:r>
          </a:p>
          <a:p>
            <a:endParaRPr lang="de-DE" sz="1200" dirty="0"/>
          </a:p>
        </p:txBody>
      </p:sp>
      <p:sp>
        <p:nvSpPr>
          <p:cNvPr id="46" name="Textfeld 45">
            <a:extLst>
              <a:ext uri="{FF2B5EF4-FFF2-40B4-BE49-F238E27FC236}">
                <a16:creationId xmlns:a16="http://schemas.microsoft.com/office/drawing/2014/main" xmlns="" id="{204EDD1F-813D-4E86-A40A-34335506E2AF}"/>
              </a:ext>
            </a:extLst>
          </p:cNvPr>
          <p:cNvSpPr txBox="1"/>
          <p:nvPr/>
        </p:nvSpPr>
        <p:spPr>
          <a:xfrm>
            <a:off x="6136602" y="1560687"/>
            <a:ext cx="2695575" cy="263351"/>
          </a:xfrm>
          <a:prstGeom prst="rect">
            <a:avLst/>
          </a:prstGeom>
          <a:noFill/>
        </p:spPr>
        <p:txBody>
          <a:bodyPr wrap="square" rtlCol="0">
            <a:noAutofit/>
          </a:bodyPr>
          <a:lstStyle/>
          <a:p>
            <a:r>
              <a:rPr lang="de-DE" sz="1200" b="1" dirty="0"/>
              <a:t>Mannheim:</a:t>
            </a:r>
          </a:p>
        </p:txBody>
      </p:sp>
      <p:cxnSp>
        <p:nvCxnSpPr>
          <p:cNvPr id="47" name="Gerader Verbinder 46">
            <a:extLst>
              <a:ext uri="{FF2B5EF4-FFF2-40B4-BE49-F238E27FC236}">
                <a16:creationId xmlns:a16="http://schemas.microsoft.com/office/drawing/2014/main" xmlns="" id="{7FE40FBB-A143-47DB-9763-87D8B085A78E}"/>
              </a:ext>
            </a:extLst>
          </p:cNvPr>
          <p:cNvCxnSpPr>
            <a:cxnSpLocks/>
          </p:cNvCxnSpPr>
          <p:nvPr/>
        </p:nvCxnSpPr>
        <p:spPr>
          <a:xfrm>
            <a:off x="6239510" y="1793558"/>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xmlns="" id="{23CF30DC-8F99-41E3-976A-6CED05404D56}"/>
              </a:ext>
            </a:extLst>
          </p:cNvPr>
          <p:cNvSpPr txBox="1"/>
          <p:nvPr/>
        </p:nvSpPr>
        <p:spPr>
          <a:xfrm>
            <a:off x="6150434" y="4939856"/>
            <a:ext cx="2500313" cy="1107996"/>
          </a:xfrm>
          <a:prstGeom prst="rect">
            <a:avLst/>
          </a:prstGeom>
          <a:noFill/>
        </p:spPr>
        <p:txBody>
          <a:bodyPr wrap="square" rtlCol="0">
            <a:noAutofit/>
          </a:bodyPr>
          <a:lstStyle/>
          <a:p>
            <a:pPr marL="171450" indent="-171450">
              <a:buFont typeface="Arial" panose="020B0604020202020204" pitchFamily="34" charset="0"/>
              <a:buChar char="•"/>
            </a:pPr>
            <a:r>
              <a:rPr lang="de-DE" sz="1200" dirty="0"/>
              <a:t>365 € Jahresticket</a:t>
            </a:r>
          </a:p>
          <a:p>
            <a:pPr marL="171450" indent="-171450">
              <a:buFont typeface="Arial" panose="020B0604020202020204" pitchFamily="34" charset="0"/>
              <a:buChar char="•"/>
            </a:pPr>
            <a:r>
              <a:rPr lang="de-DE" sz="1200" dirty="0"/>
              <a:t>Günstige Tagestickets</a:t>
            </a:r>
          </a:p>
          <a:p>
            <a:pPr marL="171450" indent="-171450">
              <a:buFont typeface="Arial" panose="020B0604020202020204" pitchFamily="34" charset="0"/>
              <a:buChar char="•"/>
            </a:pPr>
            <a:r>
              <a:rPr lang="de-DE" sz="1200" dirty="0"/>
              <a:t>Laufzeit: 2019 bis Ende 2020</a:t>
            </a:r>
          </a:p>
          <a:p>
            <a:pPr marL="171450" indent="-171450">
              <a:buFont typeface="Arial" panose="020B0604020202020204" pitchFamily="34" charset="0"/>
              <a:buChar char="•"/>
            </a:pPr>
            <a:endParaRPr lang="de-DE" sz="1200" dirty="0"/>
          </a:p>
          <a:p>
            <a:endParaRPr lang="de-DE" sz="1200" dirty="0"/>
          </a:p>
        </p:txBody>
      </p:sp>
      <p:sp>
        <p:nvSpPr>
          <p:cNvPr id="49" name="Textfeld 48">
            <a:extLst>
              <a:ext uri="{FF2B5EF4-FFF2-40B4-BE49-F238E27FC236}">
                <a16:creationId xmlns:a16="http://schemas.microsoft.com/office/drawing/2014/main" xmlns="" id="{6EEAF542-9511-4086-98F8-C74128F7247D}"/>
              </a:ext>
            </a:extLst>
          </p:cNvPr>
          <p:cNvSpPr txBox="1"/>
          <p:nvPr/>
        </p:nvSpPr>
        <p:spPr>
          <a:xfrm>
            <a:off x="6136602" y="4721575"/>
            <a:ext cx="2695575" cy="263351"/>
          </a:xfrm>
          <a:prstGeom prst="rect">
            <a:avLst/>
          </a:prstGeom>
          <a:noFill/>
        </p:spPr>
        <p:txBody>
          <a:bodyPr wrap="square" rtlCol="0">
            <a:noAutofit/>
          </a:bodyPr>
          <a:lstStyle/>
          <a:p>
            <a:r>
              <a:rPr lang="de-DE" sz="1200" b="1" dirty="0"/>
              <a:t>Reutlingen:</a:t>
            </a:r>
          </a:p>
        </p:txBody>
      </p:sp>
      <p:cxnSp>
        <p:nvCxnSpPr>
          <p:cNvPr id="50" name="Gerader Verbinder 49">
            <a:extLst>
              <a:ext uri="{FF2B5EF4-FFF2-40B4-BE49-F238E27FC236}">
                <a16:creationId xmlns:a16="http://schemas.microsoft.com/office/drawing/2014/main" xmlns="" id="{E4E8C04B-F041-4F25-9901-AD7ADF92B42D}"/>
              </a:ext>
            </a:extLst>
          </p:cNvPr>
          <p:cNvCxnSpPr>
            <a:cxnSpLocks/>
          </p:cNvCxnSpPr>
          <p:nvPr/>
        </p:nvCxnSpPr>
        <p:spPr>
          <a:xfrm>
            <a:off x="6239510" y="4954446"/>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1" name="Textfeld 50">
            <a:extLst>
              <a:ext uri="{FF2B5EF4-FFF2-40B4-BE49-F238E27FC236}">
                <a16:creationId xmlns:a16="http://schemas.microsoft.com/office/drawing/2014/main" xmlns="" id="{F6B42ED3-6895-4EC3-AB4C-735859829D47}"/>
              </a:ext>
            </a:extLst>
          </p:cNvPr>
          <p:cNvSpPr txBox="1"/>
          <p:nvPr/>
        </p:nvSpPr>
        <p:spPr>
          <a:xfrm>
            <a:off x="3707904" y="5260558"/>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Tree>
    <p:extLst>
      <p:ext uri="{BB962C8B-B14F-4D97-AF65-F5344CB8AC3E}">
        <p14:creationId xmlns:p14="http://schemas.microsoft.com/office/powerpoint/2010/main" val="14428376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0569" name="think-cell Folie" r:id="rId6" imgW="270" imgH="270" progId="TCLayout.ActiveDocument.1">
                  <p:embed/>
                </p:oleObj>
              </mc:Choice>
              <mc:Fallback>
                <p:oleObj name="think-cell Folie" r:id="rId6" imgW="270" imgH="270" progId="TCLayout.ActiveDocument.1">
                  <p:embed/>
                  <p:pic>
                    <p:nvPicPr>
                      <p:cNvPr id="5" name="Objekt 4"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E8C4897A-283C-4A62-866A-932C5FC0A855}"/>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Seit der Bekanntgabe haben sich bereits einige Städte und Regionen für die zehn 365-Euro-Modellprojekte angeboten</a:t>
            </a:r>
          </a:p>
        </p:txBody>
      </p:sp>
      <p:sp>
        <p:nvSpPr>
          <p:cNvPr id="3" name="Inhaltsplatzhalter 2"/>
          <p:cNvSpPr>
            <a:spLocks noGrp="1"/>
          </p:cNvSpPr>
          <p:nvPr>
            <p:ph idx="1"/>
          </p:nvPr>
        </p:nvSpPr>
        <p:spPr/>
        <p:txBody>
          <a:bodyPr/>
          <a:lstStyle/>
          <a:p>
            <a:r>
              <a:rPr lang="de-DE" dirty="0"/>
              <a:t>Klimaschutzprogramm 2030</a:t>
            </a:r>
          </a:p>
        </p:txBody>
      </p:sp>
      <p:sp>
        <p:nvSpPr>
          <p:cNvPr id="4" name="Foliennummernplatzhalter 3"/>
          <p:cNvSpPr>
            <a:spLocks noGrp="1"/>
          </p:cNvSpPr>
          <p:nvPr>
            <p:ph type="sldNum" sz="quarter" idx="11"/>
          </p:nvPr>
        </p:nvSpPr>
        <p:spPr>
          <a:xfrm>
            <a:off x="519428" y="6295779"/>
            <a:ext cx="113814" cy="246221"/>
          </a:xfrm>
        </p:spPr>
        <p:txBody>
          <a:bodyPr/>
          <a:lstStyle/>
          <a:p>
            <a:fld id="{CD21EFEB-933F-4F46-A5AD-B6372944D9E5}" type="slidenum">
              <a:rPr lang="de-DE" smtClean="0"/>
              <a:pPr/>
              <a:t>45</a:t>
            </a:fld>
            <a:endParaRPr lang="de-DE" dirty="0"/>
          </a:p>
        </p:txBody>
      </p:sp>
      <p:sp>
        <p:nvSpPr>
          <p:cNvPr id="7" name="Rechteck 6"/>
          <p:cNvSpPr/>
          <p:nvPr/>
        </p:nvSpPr>
        <p:spPr>
          <a:xfrm>
            <a:off x="539552" y="1628775"/>
            <a:ext cx="1769571" cy="4321175"/>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sz="1600" b="1" dirty="0">
              <a:solidFill>
                <a:schemeClr val="tx1"/>
              </a:solidFill>
            </a:endParaRPr>
          </a:p>
        </p:txBody>
      </p:sp>
      <p:sp>
        <p:nvSpPr>
          <p:cNvPr id="10" name="Inhaltsplatzhalter 2">
            <a:extLst>
              <a:ext uri="{FF2B5EF4-FFF2-40B4-BE49-F238E27FC236}">
                <a16:creationId xmlns:a16="http://schemas.microsoft.com/office/drawing/2014/main" xmlns="" id="{26560795-2B5C-4049-8BBE-D0096373C7F9}"/>
              </a:ext>
            </a:extLst>
          </p:cNvPr>
          <p:cNvSpPr txBox="1">
            <a:spLocks/>
          </p:cNvSpPr>
          <p:nvPr/>
        </p:nvSpPr>
        <p:spPr>
          <a:xfrm>
            <a:off x="971601" y="2025153"/>
            <a:ext cx="7640587" cy="3528417"/>
          </a:xfrm>
          <a:prstGeom prst="rect">
            <a:avLst/>
          </a:prstGeom>
          <a:solidFill>
            <a:schemeClr val="bg1"/>
          </a:solidFill>
          <a:ln>
            <a:solidFill>
              <a:schemeClr val="accent5"/>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r>
              <a:rPr lang="de-DE" sz="1400" b="1" dirty="0"/>
              <a:t>Modellprojekte für ÖPNV-Jahrestickets (28):</a:t>
            </a:r>
          </a:p>
          <a:p>
            <a:pPr lvl="2"/>
            <a:r>
              <a:rPr lang="de-DE" sz="1400" dirty="0"/>
              <a:t>Die Bundesregierung wird zusätzlich </a:t>
            </a:r>
            <a:r>
              <a:rPr lang="de-DE" sz="1400" b="1" dirty="0"/>
              <a:t>10 Modellprojekte </a:t>
            </a:r>
            <a:r>
              <a:rPr lang="de-DE" sz="1400" dirty="0"/>
              <a:t>zur Stärkung der ÖPNV unterstützen, zum Beispiel die Einführung von 365 Euro Jahrestickets.</a:t>
            </a:r>
          </a:p>
          <a:p>
            <a:pPr marL="0" lvl="2" indent="0">
              <a:buNone/>
            </a:pPr>
            <a:endParaRPr lang="de-DE" sz="1400" dirty="0"/>
          </a:p>
          <a:p>
            <a:pPr lvl="2"/>
            <a:r>
              <a:rPr lang="de-DE" sz="1400" dirty="0"/>
              <a:t>Für die Umsetzung der Modellprojekte wurde bislang </a:t>
            </a:r>
            <a:r>
              <a:rPr lang="de-DE" sz="1400" b="1" dirty="0"/>
              <a:t>(Stand 14.10.2019) </a:t>
            </a:r>
            <a:r>
              <a:rPr lang="de-DE" sz="1400" dirty="0"/>
              <a:t>aus der Politik folgender Städte und Regionen öffentlich Interesse bekundet:</a:t>
            </a:r>
          </a:p>
          <a:p>
            <a:pPr marL="0" lvl="2" indent="898525">
              <a:lnSpc>
                <a:spcPct val="150000"/>
              </a:lnSpc>
              <a:buNone/>
            </a:pPr>
            <a:r>
              <a:rPr lang="de-DE" sz="1400" dirty="0"/>
              <a:t>Leipzig </a:t>
            </a:r>
          </a:p>
          <a:p>
            <a:pPr marL="0" lvl="2" indent="898525">
              <a:lnSpc>
                <a:spcPct val="150000"/>
              </a:lnSpc>
              <a:buNone/>
            </a:pPr>
            <a:r>
              <a:rPr lang="de-DE" sz="1400" dirty="0"/>
              <a:t>Düsseldorf</a:t>
            </a:r>
          </a:p>
          <a:p>
            <a:pPr marL="0" lvl="2" indent="898525">
              <a:lnSpc>
                <a:spcPct val="150000"/>
              </a:lnSpc>
              <a:buNone/>
            </a:pPr>
            <a:r>
              <a:rPr lang="de-DE" sz="1400" dirty="0"/>
              <a:t>Rhein-Sieg-Kreis</a:t>
            </a:r>
          </a:p>
          <a:p>
            <a:pPr marL="0" lvl="2" indent="898525">
              <a:lnSpc>
                <a:spcPct val="150000"/>
              </a:lnSpc>
              <a:buNone/>
            </a:pPr>
            <a:r>
              <a:rPr lang="de-DE" sz="1400" dirty="0"/>
              <a:t>Rhein-Main-Region</a:t>
            </a:r>
          </a:p>
        </p:txBody>
      </p:sp>
      <p:pic>
        <p:nvPicPr>
          <p:cNvPr id="9" name="Grafik 8">
            <a:extLst>
              <a:ext uri="{FF2B5EF4-FFF2-40B4-BE49-F238E27FC236}">
                <a16:creationId xmlns:a16="http://schemas.microsoft.com/office/drawing/2014/main" xmlns="" id="{059E5008-442A-43A4-837D-C27443436D0C}"/>
              </a:ext>
            </a:extLst>
          </p:cNvPr>
          <p:cNvPicPr>
            <a:picLocks noChangeAspect="1"/>
          </p:cNvPicPr>
          <p:nvPr/>
        </p:nvPicPr>
        <p:blipFill>
          <a:blip r:embed="rId8"/>
          <a:stretch>
            <a:fillRect/>
          </a:stretch>
        </p:blipFill>
        <p:spPr>
          <a:xfrm>
            <a:off x="1343243" y="3717032"/>
            <a:ext cx="244922" cy="277497"/>
          </a:xfrm>
          <a:prstGeom prst="rect">
            <a:avLst/>
          </a:prstGeom>
        </p:spPr>
      </p:pic>
      <p:pic>
        <p:nvPicPr>
          <p:cNvPr id="16" name="Grafik 15">
            <a:extLst>
              <a:ext uri="{FF2B5EF4-FFF2-40B4-BE49-F238E27FC236}">
                <a16:creationId xmlns:a16="http://schemas.microsoft.com/office/drawing/2014/main" xmlns="" id="{0B35FD4F-37F7-4BF6-9CB9-BB71F1874420}"/>
              </a:ext>
            </a:extLst>
          </p:cNvPr>
          <p:cNvPicPr>
            <a:picLocks noChangeAspect="1"/>
          </p:cNvPicPr>
          <p:nvPr/>
        </p:nvPicPr>
        <p:blipFill>
          <a:blip r:embed="rId9"/>
          <a:stretch>
            <a:fillRect/>
          </a:stretch>
        </p:blipFill>
        <p:spPr>
          <a:xfrm>
            <a:off x="1341736" y="4098588"/>
            <a:ext cx="246429" cy="295468"/>
          </a:xfrm>
          <a:prstGeom prst="rect">
            <a:avLst/>
          </a:prstGeom>
        </p:spPr>
      </p:pic>
      <p:pic>
        <p:nvPicPr>
          <p:cNvPr id="20" name="Grafik 19">
            <a:extLst>
              <a:ext uri="{FF2B5EF4-FFF2-40B4-BE49-F238E27FC236}">
                <a16:creationId xmlns:a16="http://schemas.microsoft.com/office/drawing/2014/main" xmlns="" id="{3E6DFAD6-CB13-47BC-B27D-734A116FB11D}"/>
              </a:ext>
            </a:extLst>
          </p:cNvPr>
          <p:cNvPicPr>
            <a:picLocks noChangeAspect="1"/>
          </p:cNvPicPr>
          <p:nvPr/>
        </p:nvPicPr>
        <p:blipFill>
          <a:blip r:embed="rId10"/>
          <a:stretch>
            <a:fillRect/>
          </a:stretch>
        </p:blipFill>
        <p:spPr>
          <a:xfrm>
            <a:off x="1118605" y="4581128"/>
            <a:ext cx="671537" cy="125509"/>
          </a:xfrm>
          <a:prstGeom prst="rect">
            <a:avLst/>
          </a:prstGeom>
        </p:spPr>
      </p:pic>
      <p:pic>
        <p:nvPicPr>
          <p:cNvPr id="22" name="Grafik 21">
            <a:extLst>
              <a:ext uri="{FF2B5EF4-FFF2-40B4-BE49-F238E27FC236}">
                <a16:creationId xmlns:a16="http://schemas.microsoft.com/office/drawing/2014/main" xmlns="" id="{5DC385BC-B20F-41E4-AF96-873537FC7AB3}"/>
              </a:ext>
            </a:extLst>
          </p:cNvPr>
          <p:cNvPicPr>
            <a:picLocks noChangeAspect="1"/>
          </p:cNvPicPr>
          <p:nvPr/>
        </p:nvPicPr>
        <p:blipFill>
          <a:blip r:embed="rId11"/>
          <a:stretch>
            <a:fillRect/>
          </a:stretch>
        </p:blipFill>
        <p:spPr>
          <a:xfrm>
            <a:off x="1118605" y="4941168"/>
            <a:ext cx="741065" cy="177985"/>
          </a:xfrm>
          <a:prstGeom prst="rect">
            <a:avLst/>
          </a:prstGeom>
        </p:spPr>
      </p:pic>
    </p:spTree>
    <p:extLst>
      <p:ext uri="{BB962C8B-B14F-4D97-AF65-F5344CB8AC3E}">
        <p14:creationId xmlns:p14="http://schemas.microsoft.com/office/powerpoint/2010/main" val="23024561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xmlns="" id="{2B5DBC07-C23F-4181-A0B1-CA7DCB5A53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593" name="think-cell Folie" r:id="rId7" imgW="338" imgH="344" progId="TCLayout.ActiveDocument.1">
                  <p:embed/>
                </p:oleObj>
              </mc:Choice>
              <mc:Fallback>
                <p:oleObj name="think-cell Folie" r:id="rId7" imgW="338" imgH="344" progId="TCLayout.ActiveDocument.1">
                  <p:embed/>
                  <p:pic>
                    <p:nvPicPr>
                      <p:cNvPr id="23" name="Objekt 22" hidden="1">
                        <a:extLst>
                          <a:ext uri="{FF2B5EF4-FFF2-40B4-BE49-F238E27FC236}">
                            <a16:creationId xmlns:a16="http://schemas.microsoft.com/office/drawing/2014/main" xmlns="" id="{2B5DBC07-C23F-4181-A0B1-CA7DCB5A53C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xmlns="" id="{8EDD8EF7-7C42-4D84-BA64-C4D16C95FDC0}"/>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pic>
        <p:nvPicPr>
          <p:cNvPr id="22" name="Grafik 21">
            <a:extLst>
              <a:ext uri="{FF2B5EF4-FFF2-40B4-BE49-F238E27FC236}">
                <a16:creationId xmlns:a16="http://schemas.microsoft.com/office/drawing/2014/main" xmlns="" id="{52CDD13D-B4D1-449C-9C2D-A43D46D5B517}"/>
              </a:ext>
            </a:extLst>
          </p:cNvPr>
          <p:cNvPicPr>
            <a:picLocks noChangeAspect="1"/>
          </p:cNvPicPr>
          <p:nvPr/>
        </p:nvPicPr>
        <p:blipFill>
          <a:blip r:embed="rId9"/>
          <a:stretch>
            <a:fillRect/>
          </a:stretch>
        </p:blipFill>
        <p:spPr>
          <a:xfrm>
            <a:off x="2867161" y="1163595"/>
            <a:ext cx="3144999" cy="4446115"/>
          </a:xfrm>
          <a:prstGeom prst="rect">
            <a:avLst/>
          </a:prstGeom>
        </p:spPr>
      </p:pic>
      <p:sp>
        <p:nvSpPr>
          <p:cNvPr id="2" name="Titel 1"/>
          <p:cNvSpPr>
            <a:spLocks noGrp="1"/>
          </p:cNvSpPr>
          <p:nvPr>
            <p:ph type="title"/>
          </p:nvPr>
        </p:nvSpPr>
        <p:spPr/>
        <p:txBody>
          <a:bodyPr/>
          <a:lstStyle/>
          <a:p>
            <a:r>
              <a:rPr lang="de-DE" dirty="0"/>
              <a:t>Bundesweit finden sich unterschiedliche Varianten für Vergünstigungen oder kostenlosen ÖPNV für Teilgruppen</a:t>
            </a:r>
          </a:p>
        </p:txBody>
      </p:sp>
      <p:sp>
        <p:nvSpPr>
          <p:cNvPr id="3" name="Inhaltsplatzhalter 2"/>
          <p:cNvSpPr>
            <a:spLocks noGrp="1"/>
          </p:cNvSpPr>
          <p:nvPr>
            <p:ph idx="1"/>
          </p:nvPr>
        </p:nvSpPr>
        <p:spPr/>
        <p:txBody>
          <a:bodyPr/>
          <a:lstStyle/>
          <a:p>
            <a:r>
              <a:rPr lang="de-DE" dirty="0"/>
              <a:t>Übersicht: Vergünstigungen – bereits umgesetzt oder in Planung</a:t>
            </a:r>
          </a:p>
          <a:p>
            <a:endParaRPr lang="de-DE" dirty="0"/>
          </a:p>
          <a:p>
            <a:endParaRPr lang="de-DE" dirty="0"/>
          </a:p>
        </p:txBody>
      </p:sp>
      <p:sp>
        <p:nvSpPr>
          <p:cNvPr id="4" name="Foliennummernplatzhalter 3"/>
          <p:cNvSpPr>
            <a:spLocks noGrp="1"/>
          </p:cNvSpPr>
          <p:nvPr>
            <p:ph type="sldNum" sz="quarter" idx="11"/>
          </p:nvPr>
        </p:nvSpPr>
        <p:spPr/>
        <p:txBody>
          <a:bodyPr/>
          <a:lstStyle/>
          <a:p>
            <a:fld id="{CD21EFEB-933F-4F46-A5AD-B6372944D9E5}" type="slidenum">
              <a:rPr lang="de-DE" smtClean="0"/>
              <a:pPr/>
              <a:t>46</a:t>
            </a:fld>
            <a:endParaRPr lang="de-DE"/>
          </a:p>
        </p:txBody>
      </p:sp>
      <p:sp>
        <p:nvSpPr>
          <p:cNvPr id="12" name="Textfeld 11">
            <a:extLst>
              <a:ext uri="{FF2B5EF4-FFF2-40B4-BE49-F238E27FC236}">
                <a16:creationId xmlns:a16="http://schemas.microsoft.com/office/drawing/2014/main" xmlns="" id="{A9B4EED2-EF45-462C-BB2B-6415EE48171D}"/>
              </a:ext>
            </a:extLst>
          </p:cNvPr>
          <p:cNvSpPr txBox="1"/>
          <p:nvPr/>
        </p:nvSpPr>
        <p:spPr>
          <a:xfrm>
            <a:off x="3149828" y="5599145"/>
            <a:ext cx="2671579" cy="830997"/>
          </a:xfrm>
          <a:prstGeom prst="rect">
            <a:avLst/>
          </a:prstGeom>
          <a:noFill/>
        </p:spPr>
        <p:txBody>
          <a:bodyPr wrap="square" rtlCol="0">
            <a:spAutoFit/>
          </a:bodyPr>
          <a:lstStyle/>
          <a:p>
            <a:pPr marL="171450" indent="-171450">
              <a:buFont typeface="Arial" panose="020B0604020202020204" pitchFamily="34" charset="0"/>
              <a:buChar char="•"/>
            </a:pPr>
            <a:r>
              <a:rPr lang="de-DE" sz="1200" dirty="0"/>
              <a:t>Seit 01.10.2019 kostenloser ÖPNV ab 9 Uhr werktags für </a:t>
            </a:r>
            <a:r>
              <a:rPr lang="de-DE" sz="1200" b="1" dirty="0"/>
              <a:t>Schüler</a:t>
            </a:r>
          </a:p>
          <a:p>
            <a:endParaRPr lang="de-DE" sz="1200" dirty="0"/>
          </a:p>
        </p:txBody>
      </p:sp>
      <p:sp>
        <p:nvSpPr>
          <p:cNvPr id="25" name="Abgerundetes Rechteck 9">
            <a:extLst>
              <a:ext uri="{FF2B5EF4-FFF2-40B4-BE49-F238E27FC236}">
                <a16:creationId xmlns:a16="http://schemas.microsoft.com/office/drawing/2014/main" xmlns="" id="{86247BB8-A7AC-4E8B-BA67-5FEB7CC52802}"/>
              </a:ext>
            </a:extLst>
          </p:cNvPr>
          <p:cNvSpPr/>
          <p:nvPr>
            <p:custDataLst>
              <p:tags r:id="rId4"/>
            </p:custDataLst>
          </p:nvPr>
        </p:nvSpPr>
        <p:spPr>
          <a:xfrm>
            <a:off x="7275975" y="1105583"/>
            <a:ext cx="1310003" cy="24628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4000" tIns="18000" rIns="234000" bIns="0" rtlCol="0" anchor="ctr">
            <a:spAutoFit/>
          </a:bodyPr>
          <a:lstStyle/>
          <a:p>
            <a:pPr algn="r">
              <a:lnSpc>
                <a:spcPct val="85000"/>
              </a:lnSpc>
            </a:pPr>
            <a:r>
              <a:rPr lang="de-DE" sz="1200" b="1" cap="all" dirty="0">
                <a:solidFill>
                  <a:schemeClr val="tx1"/>
                </a:solidFill>
              </a:rPr>
              <a:t>Auswahl</a:t>
            </a:r>
          </a:p>
        </p:txBody>
      </p:sp>
      <p:grpSp>
        <p:nvGrpSpPr>
          <p:cNvPr id="50" name="Gruppieren 49">
            <a:extLst>
              <a:ext uri="{FF2B5EF4-FFF2-40B4-BE49-F238E27FC236}">
                <a16:creationId xmlns:a16="http://schemas.microsoft.com/office/drawing/2014/main" xmlns="" id="{DB04B183-C938-4F6C-BB71-C2B2FAAF0994}"/>
              </a:ext>
            </a:extLst>
          </p:cNvPr>
          <p:cNvGrpSpPr/>
          <p:nvPr/>
        </p:nvGrpSpPr>
        <p:grpSpPr>
          <a:xfrm>
            <a:off x="436842" y="1558933"/>
            <a:ext cx="2790000" cy="699714"/>
            <a:chOff x="436842" y="1558933"/>
            <a:chExt cx="2790000" cy="699714"/>
          </a:xfrm>
        </p:grpSpPr>
        <p:sp>
          <p:nvSpPr>
            <p:cNvPr id="19" name="Textfeld 18">
              <a:extLst>
                <a:ext uri="{FF2B5EF4-FFF2-40B4-BE49-F238E27FC236}">
                  <a16:creationId xmlns:a16="http://schemas.microsoft.com/office/drawing/2014/main" xmlns="" id="{E5C7B211-7E91-438F-8AEE-4CFA2A482087}"/>
                </a:ext>
              </a:extLst>
            </p:cNvPr>
            <p:cNvSpPr txBox="1"/>
            <p:nvPr/>
          </p:nvSpPr>
          <p:spPr>
            <a:xfrm>
              <a:off x="448173" y="1796982"/>
              <a:ext cx="2376264" cy="461665"/>
            </a:xfrm>
            <a:prstGeom prst="rect">
              <a:avLst/>
            </a:prstGeom>
            <a:noFill/>
          </p:spPr>
          <p:txBody>
            <a:bodyPr wrap="square" rtlCol="0">
              <a:spAutoFit/>
            </a:bodyPr>
            <a:lstStyle/>
            <a:p>
              <a:pPr marL="171450" indent="-171450">
                <a:buFont typeface="Arial" panose="020B0604020202020204" pitchFamily="34" charset="0"/>
                <a:buChar char="•"/>
              </a:pPr>
              <a:r>
                <a:rPr lang="de-DE" sz="1200" dirty="0"/>
                <a:t>Seit 2014 kostenloser ÖPNV für </a:t>
              </a:r>
              <a:r>
                <a:rPr lang="de-DE" sz="1200" b="1" dirty="0"/>
                <a:t>Schüler</a:t>
              </a:r>
            </a:p>
          </p:txBody>
        </p:sp>
        <p:sp>
          <p:nvSpPr>
            <p:cNvPr id="24" name="Textfeld 23">
              <a:extLst>
                <a:ext uri="{FF2B5EF4-FFF2-40B4-BE49-F238E27FC236}">
                  <a16:creationId xmlns:a16="http://schemas.microsoft.com/office/drawing/2014/main" xmlns="" id="{5C3F7C54-D138-49FC-86D8-0DC54E2C811B}"/>
                </a:ext>
              </a:extLst>
            </p:cNvPr>
            <p:cNvSpPr txBox="1"/>
            <p:nvPr/>
          </p:nvSpPr>
          <p:spPr>
            <a:xfrm>
              <a:off x="436842" y="1558933"/>
              <a:ext cx="2790000" cy="263351"/>
            </a:xfrm>
            <a:prstGeom prst="rect">
              <a:avLst/>
            </a:prstGeom>
            <a:noFill/>
          </p:spPr>
          <p:txBody>
            <a:bodyPr wrap="square" rtlCol="0">
              <a:noAutofit/>
            </a:bodyPr>
            <a:lstStyle/>
            <a:p>
              <a:r>
                <a:rPr lang="de-DE" sz="1200" b="1" dirty="0" err="1"/>
                <a:t>Lkr</a:t>
              </a:r>
              <a:r>
                <a:rPr lang="de-DE" sz="1200" b="1" dirty="0"/>
                <a:t>. Olpe, Siegen-Wittgenstein:</a:t>
              </a:r>
            </a:p>
          </p:txBody>
        </p:sp>
        <p:cxnSp>
          <p:nvCxnSpPr>
            <p:cNvPr id="26" name="Gerader Verbinder 25">
              <a:extLst>
                <a:ext uri="{FF2B5EF4-FFF2-40B4-BE49-F238E27FC236}">
                  <a16:creationId xmlns:a16="http://schemas.microsoft.com/office/drawing/2014/main" xmlns="" id="{5AE88BF1-AC0A-46D4-9FAC-7835C353405B}"/>
                </a:ext>
              </a:extLst>
            </p:cNvPr>
            <p:cNvCxnSpPr>
              <a:cxnSpLocks/>
            </p:cNvCxnSpPr>
            <p:nvPr/>
          </p:nvCxnSpPr>
          <p:spPr>
            <a:xfrm>
              <a:off x="539750" y="1791804"/>
              <a:ext cx="25234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0" name="Gruppieren 39">
            <a:extLst>
              <a:ext uri="{FF2B5EF4-FFF2-40B4-BE49-F238E27FC236}">
                <a16:creationId xmlns:a16="http://schemas.microsoft.com/office/drawing/2014/main" xmlns="" id="{5ACF325B-6B8F-4662-BCBB-04BCDD12EB50}"/>
              </a:ext>
            </a:extLst>
          </p:cNvPr>
          <p:cNvGrpSpPr/>
          <p:nvPr/>
        </p:nvGrpSpPr>
        <p:grpSpPr>
          <a:xfrm>
            <a:off x="6126442" y="1412776"/>
            <a:ext cx="2695575" cy="661853"/>
            <a:chOff x="6126442" y="1558933"/>
            <a:chExt cx="2695575" cy="661853"/>
          </a:xfrm>
        </p:grpSpPr>
        <p:sp>
          <p:nvSpPr>
            <p:cNvPr id="13" name="Textfeld 12">
              <a:extLst>
                <a:ext uri="{FF2B5EF4-FFF2-40B4-BE49-F238E27FC236}">
                  <a16:creationId xmlns:a16="http://schemas.microsoft.com/office/drawing/2014/main" xmlns="" id="{26052878-A03F-4006-B4F2-801DDD73390C}"/>
                </a:ext>
              </a:extLst>
            </p:cNvPr>
            <p:cNvSpPr txBox="1"/>
            <p:nvPr/>
          </p:nvSpPr>
          <p:spPr>
            <a:xfrm>
              <a:off x="6146800" y="1789899"/>
              <a:ext cx="2500313" cy="430887"/>
            </a:xfrm>
            <a:prstGeom prst="rect">
              <a:avLst/>
            </a:prstGeom>
            <a:noFill/>
          </p:spPr>
          <p:txBody>
            <a:bodyPr wrap="square" rtlCol="0">
              <a:noAutofit/>
            </a:bodyPr>
            <a:lstStyle/>
            <a:p>
              <a:pPr marL="171450" indent="-171450">
                <a:buFont typeface="Arial" panose="020B0604020202020204" pitchFamily="34" charset="0"/>
                <a:buChar char="•"/>
              </a:pPr>
              <a:r>
                <a:rPr lang="de-DE" sz="1200" dirty="0"/>
                <a:t>Seit 01.08.2019 kostenloser ÖPNV für </a:t>
              </a:r>
              <a:r>
                <a:rPr lang="de-DE" sz="1200" b="1" dirty="0"/>
                <a:t>Schüler</a:t>
              </a:r>
            </a:p>
          </p:txBody>
        </p:sp>
        <p:sp>
          <p:nvSpPr>
            <p:cNvPr id="27" name="Textfeld 26">
              <a:extLst>
                <a:ext uri="{FF2B5EF4-FFF2-40B4-BE49-F238E27FC236}">
                  <a16:creationId xmlns:a16="http://schemas.microsoft.com/office/drawing/2014/main" xmlns="" id="{FD623DD6-3FA7-4258-8A31-026F1CEA16CD}"/>
                </a:ext>
              </a:extLst>
            </p:cNvPr>
            <p:cNvSpPr txBox="1"/>
            <p:nvPr/>
          </p:nvSpPr>
          <p:spPr>
            <a:xfrm>
              <a:off x="6126442" y="1558933"/>
              <a:ext cx="2695575" cy="263351"/>
            </a:xfrm>
            <a:prstGeom prst="rect">
              <a:avLst/>
            </a:prstGeom>
            <a:noFill/>
          </p:spPr>
          <p:txBody>
            <a:bodyPr wrap="square" rtlCol="0">
              <a:noAutofit/>
            </a:bodyPr>
            <a:lstStyle/>
            <a:p>
              <a:r>
                <a:rPr lang="de-DE" sz="1200" b="1" dirty="0"/>
                <a:t>Rostock:</a:t>
              </a:r>
            </a:p>
          </p:txBody>
        </p:sp>
        <p:cxnSp>
          <p:nvCxnSpPr>
            <p:cNvPr id="28" name="Gerader Verbinder 27">
              <a:extLst>
                <a:ext uri="{FF2B5EF4-FFF2-40B4-BE49-F238E27FC236}">
                  <a16:creationId xmlns:a16="http://schemas.microsoft.com/office/drawing/2014/main" xmlns="" id="{292E003D-C917-4D11-AFE9-D1308D268B96}"/>
                </a:ext>
              </a:extLst>
            </p:cNvPr>
            <p:cNvCxnSpPr>
              <a:cxnSpLocks/>
            </p:cNvCxnSpPr>
            <p:nvPr/>
          </p:nvCxnSpPr>
          <p:spPr>
            <a:xfrm>
              <a:off x="6229350" y="1791804"/>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 name="Textfeld 13">
            <a:extLst>
              <a:ext uri="{FF2B5EF4-FFF2-40B4-BE49-F238E27FC236}">
                <a16:creationId xmlns:a16="http://schemas.microsoft.com/office/drawing/2014/main" xmlns="" id="{8C7C7ACE-9406-4E8B-B343-A50E1DC16983}"/>
              </a:ext>
            </a:extLst>
          </p:cNvPr>
          <p:cNvSpPr txBox="1"/>
          <p:nvPr/>
        </p:nvSpPr>
        <p:spPr>
          <a:xfrm>
            <a:off x="6146800" y="2280800"/>
            <a:ext cx="2500313" cy="437327"/>
          </a:xfrm>
          <a:prstGeom prst="rect">
            <a:avLst/>
          </a:prstGeom>
          <a:noFill/>
        </p:spPr>
        <p:txBody>
          <a:bodyPr wrap="square" rtlCol="0">
            <a:noAutofit/>
          </a:bodyPr>
          <a:lstStyle/>
          <a:p>
            <a:pPr marL="171450" indent="-171450">
              <a:buFont typeface="Arial" panose="020B0604020202020204" pitchFamily="34" charset="0"/>
              <a:buChar char="•"/>
            </a:pPr>
            <a:r>
              <a:rPr lang="de-DE" sz="1200" dirty="0"/>
              <a:t>Seit 01.08.2019 kostenlose </a:t>
            </a:r>
            <a:r>
              <a:rPr lang="de-DE" sz="1200" b="1" dirty="0"/>
              <a:t>Schulwegfahrten</a:t>
            </a:r>
          </a:p>
        </p:txBody>
      </p:sp>
      <p:sp>
        <p:nvSpPr>
          <p:cNvPr id="29" name="Textfeld 28">
            <a:extLst>
              <a:ext uri="{FF2B5EF4-FFF2-40B4-BE49-F238E27FC236}">
                <a16:creationId xmlns:a16="http://schemas.microsoft.com/office/drawing/2014/main" xmlns="" id="{786E9007-F221-4598-B7C4-B9792F5F1E9C}"/>
              </a:ext>
            </a:extLst>
          </p:cNvPr>
          <p:cNvSpPr txBox="1"/>
          <p:nvPr/>
        </p:nvSpPr>
        <p:spPr>
          <a:xfrm>
            <a:off x="6126442" y="2055448"/>
            <a:ext cx="2695575" cy="263351"/>
          </a:xfrm>
          <a:prstGeom prst="rect">
            <a:avLst/>
          </a:prstGeom>
          <a:noFill/>
        </p:spPr>
        <p:txBody>
          <a:bodyPr wrap="square" rtlCol="0">
            <a:noAutofit/>
          </a:bodyPr>
          <a:lstStyle/>
          <a:p>
            <a:r>
              <a:rPr lang="de-DE" sz="1200" b="1" dirty="0"/>
              <a:t>Mecklenburgische Seenplatte:</a:t>
            </a:r>
          </a:p>
        </p:txBody>
      </p:sp>
      <p:cxnSp>
        <p:nvCxnSpPr>
          <p:cNvPr id="30" name="Gerader Verbinder 29">
            <a:extLst>
              <a:ext uri="{FF2B5EF4-FFF2-40B4-BE49-F238E27FC236}">
                <a16:creationId xmlns:a16="http://schemas.microsoft.com/office/drawing/2014/main" xmlns="" id="{FA3FCD02-8367-4FC1-8088-9F2EC54FFB70}"/>
              </a:ext>
            </a:extLst>
          </p:cNvPr>
          <p:cNvCxnSpPr>
            <a:cxnSpLocks/>
          </p:cNvCxnSpPr>
          <p:nvPr/>
        </p:nvCxnSpPr>
        <p:spPr>
          <a:xfrm>
            <a:off x="6229350" y="2288319"/>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uppieren 9">
            <a:extLst>
              <a:ext uri="{FF2B5EF4-FFF2-40B4-BE49-F238E27FC236}">
                <a16:creationId xmlns:a16="http://schemas.microsoft.com/office/drawing/2014/main" xmlns="" id="{50FEA335-D4A0-4950-A2DF-96D1E2ACA995}"/>
              </a:ext>
            </a:extLst>
          </p:cNvPr>
          <p:cNvGrpSpPr/>
          <p:nvPr/>
        </p:nvGrpSpPr>
        <p:grpSpPr>
          <a:xfrm>
            <a:off x="6126442" y="2669186"/>
            <a:ext cx="2695575" cy="663173"/>
            <a:chOff x="6126442" y="3197875"/>
            <a:chExt cx="2695575" cy="663173"/>
          </a:xfrm>
        </p:grpSpPr>
        <p:sp>
          <p:nvSpPr>
            <p:cNvPr id="15" name="Textfeld 14">
              <a:extLst>
                <a:ext uri="{FF2B5EF4-FFF2-40B4-BE49-F238E27FC236}">
                  <a16:creationId xmlns:a16="http://schemas.microsoft.com/office/drawing/2014/main" xmlns="" id="{45A7ADB8-4D34-4EF2-9A4B-F217D6BFD254}"/>
                </a:ext>
              </a:extLst>
            </p:cNvPr>
            <p:cNvSpPr txBox="1"/>
            <p:nvPr/>
          </p:nvSpPr>
          <p:spPr>
            <a:xfrm>
              <a:off x="6146800" y="3430746"/>
              <a:ext cx="2500313" cy="430302"/>
            </a:xfrm>
            <a:prstGeom prst="rect">
              <a:avLst/>
            </a:prstGeom>
            <a:noFill/>
          </p:spPr>
          <p:txBody>
            <a:bodyPr wrap="square" rtlCol="0">
              <a:noAutofit/>
            </a:bodyPr>
            <a:lstStyle/>
            <a:p>
              <a:pPr marL="171450" indent="-171450">
                <a:buFont typeface="Arial" panose="020B0604020202020204" pitchFamily="34" charset="0"/>
                <a:buChar char="•"/>
              </a:pPr>
              <a:r>
                <a:rPr lang="de-DE" sz="1200" dirty="0"/>
                <a:t>Seit 01.08.2019 365€-Jahresticket für </a:t>
              </a:r>
              <a:r>
                <a:rPr lang="de-DE" sz="1200" b="1" dirty="0"/>
                <a:t>Azubis</a:t>
              </a:r>
              <a:r>
                <a:rPr lang="de-DE" sz="1200" dirty="0"/>
                <a:t> im gesamten VBB</a:t>
              </a:r>
            </a:p>
          </p:txBody>
        </p:sp>
        <p:sp>
          <p:nvSpPr>
            <p:cNvPr id="31" name="Textfeld 30">
              <a:extLst>
                <a:ext uri="{FF2B5EF4-FFF2-40B4-BE49-F238E27FC236}">
                  <a16:creationId xmlns:a16="http://schemas.microsoft.com/office/drawing/2014/main" xmlns="" id="{74906D67-9D17-4B2C-8DAD-1AB9D984DB23}"/>
                </a:ext>
              </a:extLst>
            </p:cNvPr>
            <p:cNvSpPr txBox="1"/>
            <p:nvPr/>
          </p:nvSpPr>
          <p:spPr>
            <a:xfrm>
              <a:off x="6126442" y="3197875"/>
              <a:ext cx="2695575" cy="263351"/>
            </a:xfrm>
            <a:prstGeom prst="rect">
              <a:avLst/>
            </a:prstGeom>
            <a:noFill/>
          </p:spPr>
          <p:txBody>
            <a:bodyPr wrap="square" rtlCol="0">
              <a:noAutofit/>
            </a:bodyPr>
            <a:lstStyle/>
            <a:p>
              <a:r>
                <a:rPr lang="de-DE" sz="1200" b="1" dirty="0"/>
                <a:t>Berlin-Brandenburg:</a:t>
              </a:r>
            </a:p>
          </p:txBody>
        </p:sp>
        <p:cxnSp>
          <p:nvCxnSpPr>
            <p:cNvPr id="32" name="Gerader Verbinder 31">
              <a:extLst>
                <a:ext uri="{FF2B5EF4-FFF2-40B4-BE49-F238E27FC236}">
                  <a16:creationId xmlns:a16="http://schemas.microsoft.com/office/drawing/2014/main" xmlns="" id="{6536403B-B5D0-4879-BE15-6C8CF1347BCF}"/>
                </a:ext>
              </a:extLst>
            </p:cNvPr>
            <p:cNvCxnSpPr>
              <a:cxnSpLocks/>
            </p:cNvCxnSpPr>
            <p:nvPr/>
          </p:nvCxnSpPr>
          <p:spPr>
            <a:xfrm>
              <a:off x="6229350" y="3430746"/>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xmlns="" id="{791D8348-1BB8-4087-ACD1-D1BBCBDD30C6}"/>
              </a:ext>
            </a:extLst>
          </p:cNvPr>
          <p:cNvGrpSpPr/>
          <p:nvPr/>
        </p:nvGrpSpPr>
        <p:grpSpPr>
          <a:xfrm>
            <a:off x="6126442" y="3461274"/>
            <a:ext cx="2695575" cy="694536"/>
            <a:chOff x="6126442" y="3951243"/>
            <a:chExt cx="2695575" cy="694536"/>
          </a:xfrm>
        </p:grpSpPr>
        <p:sp>
          <p:nvSpPr>
            <p:cNvPr id="16" name="Textfeld 15">
              <a:extLst>
                <a:ext uri="{FF2B5EF4-FFF2-40B4-BE49-F238E27FC236}">
                  <a16:creationId xmlns:a16="http://schemas.microsoft.com/office/drawing/2014/main" xmlns="" id="{E86F3190-A507-4B23-B628-7F0B8B4C8198}"/>
                </a:ext>
              </a:extLst>
            </p:cNvPr>
            <p:cNvSpPr txBox="1"/>
            <p:nvPr/>
          </p:nvSpPr>
          <p:spPr>
            <a:xfrm>
              <a:off x="6145303" y="4184114"/>
              <a:ext cx="2501810" cy="461665"/>
            </a:xfrm>
            <a:prstGeom prst="rect">
              <a:avLst/>
            </a:prstGeom>
            <a:noFill/>
          </p:spPr>
          <p:txBody>
            <a:bodyPr wrap="square" rtlCol="0">
              <a:spAutoFit/>
            </a:bodyPr>
            <a:lstStyle/>
            <a:p>
              <a:pPr marL="171450" indent="-171450">
                <a:buFont typeface="Arial" panose="020B0604020202020204" pitchFamily="34" charset="0"/>
                <a:buChar char="•"/>
              </a:pPr>
              <a:r>
                <a:rPr lang="de-DE" sz="1200" dirty="0"/>
                <a:t>Seit 01.08.2019 kostenloser ÖPNV für </a:t>
              </a:r>
              <a:r>
                <a:rPr lang="de-DE" sz="1200" b="1" dirty="0"/>
                <a:t>Schüler</a:t>
              </a:r>
              <a:r>
                <a:rPr lang="de-DE" sz="1200" dirty="0"/>
                <a:t> Bereich AB</a:t>
              </a:r>
            </a:p>
          </p:txBody>
        </p:sp>
        <p:sp>
          <p:nvSpPr>
            <p:cNvPr id="33" name="Textfeld 32">
              <a:extLst>
                <a:ext uri="{FF2B5EF4-FFF2-40B4-BE49-F238E27FC236}">
                  <a16:creationId xmlns:a16="http://schemas.microsoft.com/office/drawing/2014/main" xmlns="" id="{17B34888-8E09-41C7-B440-64A49B3A51D1}"/>
                </a:ext>
              </a:extLst>
            </p:cNvPr>
            <p:cNvSpPr txBox="1"/>
            <p:nvPr/>
          </p:nvSpPr>
          <p:spPr>
            <a:xfrm>
              <a:off x="6126442" y="3951243"/>
              <a:ext cx="2695575" cy="263351"/>
            </a:xfrm>
            <a:prstGeom prst="rect">
              <a:avLst/>
            </a:prstGeom>
            <a:noFill/>
          </p:spPr>
          <p:txBody>
            <a:bodyPr wrap="square" rtlCol="0">
              <a:noAutofit/>
            </a:bodyPr>
            <a:lstStyle/>
            <a:p>
              <a:r>
                <a:rPr lang="de-DE" sz="1200" b="1" dirty="0"/>
                <a:t>Berlin:</a:t>
              </a:r>
            </a:p>
          </p:txBody>
        </p:sp>
        <p:cxnSp>
          <p:nvCxnSpPr>
            <p:cNvPr id="34" name="Gerader Verbinder 33">
              <a:extLst>
                <a:ext uri="{FF2B5EF4-FFF2-40B4-BE49-F238E27FC236}">
                  <a16:creationId xmlns:a16="http://schemas.microsoft.com/office/drawing/2014/main" xmlns="" id="{7151384A-1CFA-46D1-AEEB-CBF1690DCD73}"/>
                </a:ext>
              </a:extLst>
            </p:cNvPr>
            <p:cNvCxnSpPr>
              <a:cxnSpLocks/>
            </p:cNvCxnSpPr>
            <p:nvPr/>
          </p:nvCxnSpPr>
          <p:spPr>
            <a:xfrm>
              <a:off x="6229350" y="4184114"/>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 name="Gruppieren 5">
            <a:extLst>
              <a:ext uri="{FF2B5EF4-FFF2-40B4-BE49-F238E27FC236}">
                <a16:creationId xmlns:a16="http://schemas.microsoft.com/office/drawing/2014/main" xmlns="" id="{D9ED09FE-74B8-443D-9BF0-23931D65FE89}"/>
              </a:ext>
            </a:extLst>
          </p:cNvPr>
          <p:cNvGrpSpPr/>
          <p:nvPr/>
        </p:nvGrpSpPr>
        <p:grpSpPr>
          <a:xfrm>
            <a:off x="6126442" y="4109346"/>
            <a:ext cx="2695575" cy="954542"/>
            <a:chOff x="6126442" y="4562688"/>
            <a:chExt cx="2695575" cy="954542"/>
          </a:xfrm>
        </p:grpSpPr>
        <p:sp>
          <p:nvSpPr>
            <p:cNvPr id="17" name="Textfeld 16">
              <a:extLst>
                <a:ext uri="{FF2B5EF4-FFF2-40B4-BE49-F238E27FC236}">
                  <a16:creationId xmlns:a16="http://schemas.microsoft.com/office/drawing/2014/main" xmlns="" id="{EF31A81C-5779-4A69-9D80-B26454D4EE98}"/>
                </a:ext>
              </a:extLst>
            </p:cNvPr>
            <p:cNvSpPr txBox="1"/>
            <p:nvPr/>
          </p:nvSpPr>
          <p:spPr>
            <a:xfrm>
              <a:off x="6146800" y="4795559"/>
              <a:ext cx="2549027" cy="721671"/>
            </a:xfrm>
            <a:prstGeom prst="rect">
              <a:avLst/>
            </a:prstGeom>
            <a:noFill/>
          </p:spPr>
          <p:txBody>
            <a:bodyPr wrap="square" rtlCol="0">
              <a:noAutofit/>
            </a:bodyPr>
            <a:lstStyle/>
            <a:p>
              <a:pPr marL="171450" indent="-171450">
                <a:buFont typeface="Arial" panose="020B0604020202020204" pitchFamily="34" charset="0"/>
                <a:buChar char="•"/>
              </a:pPr>
              <a:r>
                <a:rPr lang="de-DE" sz="1200" i="1" dirty="0"/>
                <a:t>Ab Schuljahr 2020/2021 kostenloser ÖPNV für </a:t>
              </a:r>
              <a:r>
                <a:rPr lang="de-DE" sz="1200" b="1" i="1" dirty="0"/>
                <a:t>Schüler</a:t>
              </a:r>
              <a:r>
                <a:rPr lang="de-DE" sz="1200" i="1" dirty="0"/>
                <a:t> im Landkreis</a:t>
              </a:r>
            </a:p>
            <a:p>
              <a:r>
                <a:rPr lang="de-DE" sz="1200" i="1" dirty="0"/>
                <a:t>(Beschluss Kreistag steht aus)</a:t>
              </a:r>
            </a:p>
          </p:txBody>
        </p:sp>
        <p:sp>
          <p:nvSpPr>
            <p:cNvPr id="35" name="Textfeld 34">
              <a:extLst>
                <a:ext uri="{FF2B5EF4-FFF2-40B4-BE49-F238E27FC236}">
                  <a16:creationId xmlns:a16="http://schemas.microsoft.com/office/drawing/2014/main" xmlns="" id="{FB382A3B-2E80-4798-84A1-86D1FF318ED6}"/>
                </a:ext>
              </a:extLst>
            </p:cNvPr>
            <p:cNvSpPr txBox="1"/>
            <p:nvPr/>
          </p:nvSpPr>
          <p:spPr>
            <a:xfrm>
              <a:off x="6126442" y="4562688"/>
              <a:ext cx="2695575" cy="263351"/>
            </a:xfrm>
            <a:prstGeom prst="rect">
              <a:avLst/>
            </a:prstGeom>
            <a:noFill/>
          </p:spPr>
          <p:txBody>
            <a:bodyPr wrap="square" rtlCol="0">
              <a:noAutofit/>
            </a:bodyPr>
            <a:lstStyle/>
            <a:p>
              <a:r>
                <a:rPr lang="de-DE" sz="1200" b="1" dirty="0"/>
                <a:t>Landkreis Dahme-Spreewald:</a:t>
              </a:r>
            </a:p>
          </p:txBody>
        </p:sp>
        <p:cxnSp>
          <p:nvCxnSpPr>
            <p:cNvPr id="36" name="Gerader Verbinder 35">
              <a:extLst>
                <a:ext uri="{FF2B5EF4-FFF2-40B4-BE49-F238E27FC236}">
                  <a16:creationId xmlns:a16="http://schemas.microsoft.com/office/drawing/2014/main" xmlns="" id="{43EAD2BB-557B-4A9B-85F9-DDE9E1182987}"/>
                </a:ext>
              </a:extLst>
            </p:cNvPr>
            <p:cNvCxnSpPr>
              <a:cxnSpLocks/>
            </p:cNvCxnSpPr>
            <p:nvPr/>
          </p:nvCxnSpPr>
          <p:spPr>
            <a:xfrm>
              <a:off x="6229350" y="4795559"/>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 name="Gruppieren 4">
            <a:extLst>
              <a:ext uri="{FF2B5EF4-FFF2-40B4-BE49-F238E27FC236}">
                <a16:creationId xmlns:a16="http://schemas.microsoft.com/office/drawing/2014/main" xmlns="" id="{6286A89B-683F-4A40-93BB-78FB234DF135}"/>
              </a:ext>
            </a:extLst>
          </p:cNvPr>
          <p:cNvGrpSpPr/>
          <p:nvPr/>
        </p:nvGrpSpPr>
        <p:grpSpPr>
          <a:xfrm>
            <a:off x="6126442" y="5686145"/>
            <a:ext cx="2695575" cy="479159"/>
            <a:chOff x="6126442" y="5487543"/>
            <a:chExt cx="2695575" cy="479159"/>
          </a:xfrm>
        </p:grpSpPr>
        <p:sp>
          <p:nvSpPr>
            <p:cNvPr id="21" name="Textfeld 20">
              <a:extLst>
                <a:ext uri="{FF2B5EF4-FFF2-40B4-BE49-F238E27FC236}">
                  <a16:creationId xmlns:a16="http://schemas.microsoft.com/office/drawing/2014/main" xmlns="" id="{B0E5C12E-9FBC-4A31-8D7D-CD40554FA028}"/>
                </a:ext>
              </a:extLst>
            </p:cNvPr>
            <p:cNvSpPr txBox="1"/>
            <p:nvPr/>
          </p:nvSpPr>
          <p:spPr>
            <a:xfrm>
              <a:off x="6146800" y="5703351"/>
              <a:ext cx="2500313" cy="263351"/>
            </a:xfrm>
            <a:prstGeom prst="rect">
              <a:avLst/>
            </a:prstGeom>
            <a:noFill/>
          </p:spPr>
          <p:txBody>
            <a:bodyPr wrap="square" rtlCol="0">
              <a:noAutofit/>
            </a:bodyPr>
            <a:lstStyle/>
            <a:p>
              <a:pPr marL="171450" indent="-171450">
                <a:buFont typeface="Arial" panose="020B0604020202020204" pitchFamily="34" charset="0"/>
                <a:buChar char="•"/>
              </a:pPr>
              <a:r>
                <a:rPr lang="de-DE" sz="1200" dirty="0"/>
                <a:t>Jahresticket unterhalb 365 €</a:t>
              </a:r>
            </a:p>
          </p:txBody>
        </p:sp>
        <p:sp>
          <p:nvSpPr>
            <p:cNvPr id="37" name="Textfeld 36">
              <a:extLst>
                <a:ext uri="{FF2B5EF4-FFF2-40B4-BE49-F238E27FC236}">
                  <a16:creationId xmlns:a16="http://schemas.microsoft.com/office/drawing/2014/main" xmlns="" id="{839C8DBC-0A55-44F3-BD78-6A00308FFC12}"/>
                </a:ext>
              </a:extLst>
            </p:cNvPr>
            <p:cNvSpPr txBox="1"/>
            <p:nvPr/>
          </p:nvSpPr>
          <p:spPr>
            <a:xfrm>
              <a:off x="6126442" y="5487543"/>
              <a:ext cx="2695575" cy="263351"/>
            </a:xfrm>
            <a:prstGeom prst="rect">
              <a:avLst/>
            </a:prstGeom>
            <a:noFill/>
          </p:spPr>
          <p:txBody>
            <a:bodyPr wrap="square" rtlCol="0">
              <a:noAutofit/>
            </a:bodyPr>
            <a:lstStyle/>
            <a:p>
              <a:r>
                <a:rPr lang="de-DE" sz="1200" b="1" dirty="0"/>
                <a:t>Weiden in der Oberpfalz:</a:t>
              </a:r>
            </a:p>
          </p:txBody>
        </p:sp>
        <p:cxnSp>
          <p:nvCxnSpPr>
            <p:cNvPr id="38" name="Gerader Verbinder 37">
              <a:extLst>
                <a:ext uri="{FF2B5EF4-FFF2-40B4-BE49-F238E27FC236}">
                  <a16:creationId xmlns:a16="http://schemas.microsoft.com/office/drawing/2014/main" xmlns="" id="{410C2E6C-7A5F-4DA3-B575-344B3A9148AD}"/>
                </a:ext>
              </a:extLst>
            </p:cNvPr>
            <p:cNvCxnSpPr>
              <a:cxnSpLocks/>
            </p:cNvCxnSpPr>
            <p:nvPr/>
          </p:nvCxnSpPr>
          <p:spPr>
            <a:xfrm>
              <a:off x="6229350" y="5720414"/>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xmlns="" id="{99ACC238-76B9-4014-9F7F-43DE214DC5F2}"/>
              </a:ext>
            </a:extLst>
          </p:cNvPr>
          <p:cNvGrpSpPr/>
          <p:nvPr/>
        </p:nvGrpSpPr>
        <p:grpSpPr>
          <a:xfrm>
            <a:off x="446996" y="2154628"/>
            <a:ext cx="2695575" cy="1281772"/>
            <a:chOff x="446996" y="2291244"/>
            <a:chExt cx="2695575" cy="1281772"/>
          </a:xfrm>
        </p:grpSpPr>
        <p:sp>
          <p:nvSpPr>
            <p:cNvPr id="9" name="Textfeld 8">
              <a:extLst>
                <a:ext uri="{FF2B5EF4-FFF2-40B4-BE49-F238E27FC236}">
                  <a16:creationId xmlns:a16="http://schemas.microsoft.com/office/drawing/2014/main" xmlns="" id="{F006D29D-1898-469F-A25B-D36136C55434}"/>
                </a:ext>
              </a:extLst>
            </p:cNvPr>
            <p:cNvSpPr txBox="1"/>
            <p:nvPr/>
          </p:nvSpPr>
          <p:spPr>
            <a:xfrm>
              <a:off x="447948" y="2511768"/>
              <a:ext cx="2478021" cy="1061248"/>
            </a:xfrm>
            <a:prstGeom prst="rect">
              <a:avLst/>
            </a:prstGeom>
            <a:noFill/>
          </p:spPr>
          <p:txBody>
            <a:bodyPr wrap="square" rtlCol="0">
              <a:noAutofit/>
            </a:bodyPr>
            <a:lstStyle/>
            <a:p>
              <a:pPr marL="171450" indent="-171450">
                <a:buFont typeface="Arial" panose="020B0604020202020204" pitchFamily="34" charset="0"/>
                <a:buChar char="•"/>
              </a:pPr>
              <a:r>
                <a:rPr lang="de-DE" sz="1200" dirty="0"/>
                <a:t>Seit Schuljahr 2017/2018 hessenweites </a:t>
              </a:r>
              <a:r>
                <a:rPr lang="de-DE" sz="1200" b="1" dirty="0"/>
                <a:t>Schülerticket</a:t>
              </a:r>
              <a:r>
                <a:rPr lang="de-DE" sz="1200" dirty="0"/>
                <a:t> für 365 € p.a.</a:t>
              </a:r>
            </a:p>
            <a:p>
              <a:pPr marL="171450" indent="-171450">
                <a:buFont typeface="Arial" panose="020B0604020202020204" pitchFamily="34" charset="0"/>
                <a:buChar char="•"/>
              </a:pPr>
              <a:r>
                <a:rPr lang="de-DE" sz="1200" dirty="0"/>
                <a:t>Ab 1.1.2020 hessenweites </a:t>
              </a:r>
              <a:r>
                <a:rPr lang="de-DE" sz="1200" b="1" dirty="0"/>
                <a:t>Seniorenticket</a:t>
              </a:r>
              <a:r>
                <a:rPr lang="de-DE" sz="1200" dirty="0"/>
                <a:t> für 365 € p.a.</a:t>
              </a:r>
            </a:p>
          </p:txBody>
        </p:sp>
        <p:sp>
          <p:nvSpPr>
            <p:cNvPr id="42" name="Textfeld 41">
              <a:extLst>
                <a:ext uri="{FF2B5EF4-FFF2-40B4-BE49-F238E27FC236}">
                  <a16:creationId xmlns:a16="http://schemas.microsoft.com/office/drawing/2014/main" xmlns="" id="{5D073050-B078-43D5-A8D4-DC3DD9ADBA38}"/>
                </a:ext>
              </a:extLst>
            </p:cNvPr>
            <p:cNvSpPr txBox="1"/>
            <p:nvPr/>
          </p:nvSpPr>
          <p:spPr>
            <a:xfrm>
              <a:off x="446996" y="2291244"/>
              <a:ext cx="2695575" cy="263351"/>
            </a:xfrm>
            <a:prstGeom prst="rect">
              <a:avLst/>
            </a:prstGeom>
            <a:noFill/>
          </p:spPr>
          <p:txBody>
            <a:bodyPr wrap="square" rtlCol="0">
              <a:noAutofit/>
            </a:bodyPr>
            <a:lstStyle/>
            <a:p>
              <a:r>
                <a:rPr lang="de-DE" sz="1200" b="1" dirty="0"/>
                <a:t>Hessen:</a:t>
              </a:r>
            </a:p>
          </p:txBody>
        </p:sp>
        <p:cxnSp>
          <p:nvCxnSpPr>
            <p:cNvPr id="43" name="Gerader Verbinder 42">
              <a:extLst>
                <a:ext uri="{FF2B5EF4-FFF2-40B4-BE49-F238E27FC236}">
                  <a16:creationId xmlns:a16="http://schemas.microsoft.com/office/drawing/2014/main" xmlns="" id="{7086B31C-0302-47BA-9A0F-8A7C50C315ED}"/>
                </a:ext>
              </a:extLst>
            </p:cNvPr>
            <p:cNvCxnSpPr>
              <a:cxnSpLocks/>
            </p:cNvCxnSpPr>
            <p:nvPr/>
          </p:nvCxnSpPr>
          <p:spPr>
            <a:xfrm>
              <a:off x="549904" y="2524115"/>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2" name="Gruppieren 51">
            <a:extLst>
              <a:ext uri="{FF2B5EF4-FFF2-40B4-BE49-F238E27FC236}">
                <a16:creationId xmlns:a16="http://schemas.microsoft.com/office/drawing/2014/main" xmlns="" id="{E99019AD-601D-46D6-9D32-DE5127C54EE6}"/>
              </a:ext>
            </a:extLst>
          </p:cNvPr>
          <p:cNvGrpSpPr/>
          <p:nvPr/>
        </p:nvGrpSpPr>
        <p:grpSpPr>
          <a:xfrm>
            <a:off x="446996" y="3302381"/>
            <a:ext cx="2695575" cy="849310"/>
            <a:chOff x="446996" y="3624727"/>
            <a:chExt cx="2695575" cy="849310"/>
          </a:xfrm>
        </p:grpSpPr>
        <p:sp>
          <p:nvSpPr>
            <p:cNvPr id="18" name="Textfeld 17">
              <a:extLst>
                <a:ext uri="{FF2B5EF4-FFF2-40B4-BE49-F238E27FC236}">
                  <a16:creationId xmlns:a16="http://schemas.microsoft.com/office/drawing/2014/main" xmlns="" id="{970ED2BC-65A3-4712-BFF6-940A393AF83A}"/>
                </a:ext>
              </a:extLst>
            </p:cNvPr>
            <p:cNvSpPr txBox="1"/>
            <p:nvPr/>
          </p:nvSpPr>
          <p:spPr>
            <a:xfrm>
              <a:off x="447949" y="3857599"/>
              <a:ext cx="2376488" cy="616438"/>
            </a:xfrm>
            <a:prstGeom prst="rect">
              <a:avLst/>
            </a:prstGeom>
            <a:noFill/>
          </p:spPr>
          <p:txBody>
            <a:bodyPr wrap="square" rtlCol="0">
              <a:noAutofit/>
            </a:bodyPr>
            <a:lstStyle/>
            <a:p>
              <a:pPr marL="171450" indent="-171450">
                <a:buFont typeface="Arial" panose="020B0604020202020204" pitchFamily="34" charset="0"/>
                <a:buChar char="•"/>
              </a:pPr>
              <a:r>
                <a:rPr lang="de-DE" sz="1200" dirty="0"/>
                <a:t>Ab Schuljahr 2020/2021 verbundweites Jahresticket für </a:t>
              </a:r>
              <a:r>
                <a:rPr lang="de-DE" sz="1200" b="1" dirty="0"/>
                <a:t>Schüler und Azubis </a:t>
              </a:r>
              <a:r>
                <a:rPr lang="de-DE" sz="1200" dirty="0"/>
                <a:t>für 365 €</a:t>
              </a:r>
            </a:p>
          </p:txBody>
        </p:sp>
        <p:sp>
          <p:nvSpPr>
            <p:cNvPr id="44" name="Textfeld 43">
              <a:extLst>
                <a:ext uri="{FF2B5EF4-FFF2-40B4-BE49-F238E27FC236}">
                  <a16:creationId xmlns:a16="http://schemas.microsoft.com/office/drawing/2014/main" xmlns="" id="{C01790DB-E15A-48AA-8F6E-311BE535E6DF}"/>
                </a:ext>
              </a:extLst>
            </p:cNvPr>
            <p:cNvSpPr txBox="1"/>
            <p:nvPr/>
          </p:nvSpPr>
          <p:spPr>
            <a:xfrm>
              <a:off x="446996" y="3624727"/>
              <a:ext cx="2695575" cy="263351"/>
            </a:xfrm>
            <a:prstGeom prst="rect">
              <a:avLst/>
            </a:prstGeom>
            <a:noFill/>
          </p:spPr>
          <p:txBody>
            <a:bodyPr wrap="square" rtlCol="0">
              <a:noAutofit/>
            </a:bodyPr>
            <a:lstStyle/>
            <a:p>
              <a:r>
                <a:rPr lang="de-DE" sz="1200" b="1" dirty="0"/>
                <a:t>VGN:</a:t>
              </a:r>
            </a:p>
          </p:txBody>
        </p:sp>
        <p:cxnSp>
          <p:nvCxnSpPr>
            <p:cNvPr id="45" name="Gerader Verbinder 44">
              <a:extLst>
                <a:ext uri="{FF2B5EF4-FFF2-40B4-BE49-F238E27FC236}">
                  <a16:creationId xmlns:a16="http://schemas.microsoft.com/office/drawing/2014/main" xmlns="" id="{DF199ADD-B834-48C9-BD2F-B7AD80146EB1}"/>
                </a:ext>
              </a:extLst>
            </p:cNvPr>
            <p:cNvCxnSpPr>
              <a:cxnSpLocks/>
            </p:cNvCxnSpPr>
            <p:nvPr/>
          </p:nvCxnSpPr>
          <p:spPr>
            <a:xfrm>
              <a:off x="549904" y="3857598"/>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3" name="Gruppieren 52">
            <a:extLst>
              <a:ext uri="{FF2B5EF4-FFF2-40B4-BE49-F238E27FC236}">
                <a16:creationId xmlns:a16="http://schemas.microsoft.com/office/drawing/2014/main" xmlns="" id="{F38069AA-462F-4A38-A14F-283960019AD4}"/>
              </a:ext>
            </a:extLst>
          </p:cNvPr>
          <p:cNvGrpSpPr/>
          <p:nvPr/>
        </p:nvGrpSpPr>
        <p:grpSpPr>
          <a:xfrm>
            <a:off x="446996" y="4274321"/>
            <a:ext cx="2695575" cy="612753"/>
            <a:chOff x="446996" y="4446641"/>
            <a:chExt cx="2695575" cy="612753"/>
          </a:xfrm>
        </p:grpSpPr>
        <p:sp>
          <p:nvSpPr>
            <p:cNvPr id="11" name="Textfeld 10">
              <a:extLst>
                <a:ext uri="{FF2B5EF4-FFF2-40B4-BE49-F238E27FC236}">
                  <a16:creationId xmlns:a16="http://schemas.microsoft.com/office/drawing/2014/main" xmlns="" id="{836265E6-439C-4B0D-9F31-EDBA61973219}"/>
                </a:ext>
              </a:extLst>
            </p:cNvPr>
            <p:cNvSpPr txBox="1"/>
            <p:nvPr/>
          </p:nvSpPr>
          <p:spPr>
            <a:xfrm>
              <a:off x="447949" y="4837361"/>
              <a:ext cx="2376488" cy="222033"/>
            </a:xfrm>
            <a:prstGeom prst="rect">
              <a:avLst/>
            </a:prstGeom>
            <a:noFill/>
          </p:spPr>
          <p:txBody>
            <a:bodyPr wrap="square" rtlCol="0">
              <a:noAutofit/>
            </a:bodyPr>
            <a:lstStyle/>
            <a:p>
              <a:pPr marL="285750" indent="-285750">
                <a:buFont typeface="Arial" panose="020B0604020202020204" pitchFamily="34" charset="0"/>
                <a:buChar char="•"/>
              </a:pPr>
              <a:r>
                <a:rPr lang="de-DE" sz="1200" dirty="0"/>
                <a:t>Günstige Stadttickets</a:t>
              </a:r>
            </a:p>
          </p:txBody>
        </p:sp>
        <p:sp>
          <p:nvSpPr>
            <p:cNvPr id="46" name="Textfeld 45">
              <a:extLst>
                <a:ext uri="{FF2B5EF4-FFF2-40B4-BE49-F238E27FC236}">
                  <a16:creationId xmlns:a16="http://schemas.microsoft.com/office/drawing/2014/main" xmlns="" id="{6ECC6051-A2B5-41DC-A110-6CBB7CAD8395}"/>
                </a:ext>
              </a:extLst>
            </p:cNvPr>
            <p:cNvSpPr txBox="1"/>
            <p:nvPr/>
          </p:nvSpPr>
          <p:spPr>
            <a:xfrm>
              <a:off x="446996" y="4446641"/>
              <a:ext cx="2695575" cy="263351"/>
            </a:xfrm>
            <a:prstGeom prst="rect">
              <a:avLst/>
            </a:prstGeom>
            <a:noFill/>
          </p:spPr>
          <p:txBody>
            <a:bodyPr wrap="square" rtlCol="0">
              <a:noAutofit/>
            </a:bodyPr>
            <a:lstStyle/>
            <a:p>
              <a:r>
                <a:rPr lang="de-DE" sz="1200" b="1" dirty="0"/>
                <a:t>Fellbach, Ludwigsburg, Esslingen, Herrenberg, Marbach:</a:t>
              </a:r>
            </a:p>
          </p:txBody>
        </p:sp>
        <p:cxnSp>
          <p:nvCxnSpPr>
            <p:cNvPr id="47" name="Gerader Verbinder 46">
              <a:extLst>
                <a:ext uri="{FF2B5EF4-FFF2-40B4-BE49-F238E27FC236}">
                  <a16:creationId xmlns:a16="http://schemas.microsoft.com/office/drawing/2014/main" xmlns="" id="{351B18B4-8693-4FC5-8CF6-90CAEAD8E588}"/>
                </a:ext>
              </a:extLst>
            </p:cNvPr>
            <p:cNvCxnSpPr>
              <a:cxnSpLocks/>
            </p:cNvCxnSpPr>
            <p:nvPr/>
          </p:nvCxnSpPr>
          <p:spPr>
            <a:xfrm>
              <a:off x="549904" y="4852232"/>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xmlns="" id="{4027E571-FC8C-462D-B21A-68B9010648DE}"/>
              </a:ext>
            </a:extLst>
          </p:cNvPr>
          <p:cNvGrpSpPr/>
          <p:nvPr/>
        </p:nvGrpSpPr>
        <p:grpSpPr>
          <a:xfrm>
            <a:off x="446996" y="4895118"/>
            <a:ext cx="2695575" cy="1216017"/>
            <a:chOff x="446996" y="5174414"/>
            <a:chExt cx="2695575" cy="1216017"/>
          </a:xfrm>
        </p:grpSpPr>
        <p:sp>
          <p:nvSpPr>
            <p:cNvPr id="20" name="Textfeld 19">
              <a:extLst>
                <a:ext uri="{FF2B5EF4-FFF2-40B4-BE49-F238E27FC236}">
                  <a16:creationId xmlns:a16="http://schemas.microsoft.com/office/drawing/2014/main" xmlns="" id="{426FA896-65B3-4681-9493-04967A2AA08F}"/>
                </a:ext>
              </a:extLst>
            </p:cNvPr>
            <p:cNvSpPr txBox="1"/>
            <p:nvPr/>
          </p:nvSpPr>
          <p:spPr>
            <a:xfrm>
              <a:off x="448173" y="5374768"/>
              <a:ext cx="2376264" cy="1015663"/>
            </a:xfrm>
            <a:prstGeom prst="rect">
              <a:avLst/>
            </a:prstGeom>
            <a:noFill/>
          </p:spPr>
          <p:txBody>
            <a:bodyPr wrap="square" rtlCol="0">
              <a:spAutoFit/>
            </a:bodyPr>
            <a:lstStyle/>
            <a:p>
              <a:pPr marL="171450" indent="-171450">
                <a:buFont typeface="Arial" panose="020B0604020202020204" pitchFamily="34" charset="0"/>
                <a:buChar char="•"/>
              </a:pPr>
              <a:r>
                <a:rPr lang="de-DE" sz="1200" dirty="0"/>
                <a:t>ab Tarifreform Dez 2019 Bezuschussung der Jahresabos durch Landkreis München für Zone M + 1-2 Zonen (Preis = Preis Zone M)</a:t>
              </a:r>
            </a:p>
          </p:txBody>
        </p:sp>
        <p:sp>
          <p:nvSpPr>
            <p:cNvPr id="48" name="Textfeld 47">
              <a:extLst>
                <a:ext uri="{FF2B5EF4-FFF2-40B4-BE49-F238E27FC236}">
                  <a16:creationId xmlns:a16="http://schemas.microsoft.com/office/drawing/2014/main" xmlns="" id="{D9C9D00F-5EDA-4D3D-9E05-36F4F6BBA552}"/>
                </a:ext>
              </a:extLst>
            </p:cNvPr>
            <p:cNvSpPr txBox="1"/>
            <p:nvPr/>
          </p:nvSpPr>
          <p:spPr>
            <a:xfrm>
              <a:off x="446996" y="5174414"/>
              <a:ext cx="2695575" cy="263351"/>
            </a:xfrm>
            <a:prstGeom prst="rect">
              <a:avLst/>
            </a:prstGeom>
            <a:noFill/>
          </p:spPr>
          <p:txBody>
            <a:bodyPr wrap="square" rtlCol="0">
              <a:noAutofit/>
            </a:bodyPr>
            <a:lstStyle/>
            <a:p>
              <a:r>
                <a:rPr lang="de-DE" sz="1200" b="1" dirty="0"/>
                <a:t>München:</a:t>
              </a:r>
            </a:p>
          </p:txBody>
        </p:sp>
        <p:cxnSp>
          <p:nvCxnSpPr>
            <p:cNvPr id="49" name="Gerader Verbinder 48">
              <a:extLst>
                <a:ext uri="{FF2B5EF4-FFF2-40B4-BE49-F238E27FC236}">
                  <a16:creationId xmlns:a16="http://schemas.microsoft.com/office/drawing/2014/main" xmlns="" id="{EE958A3B-7FDC-47D8-86EF-14E4AF796934}"/>
                </a:ext>
              </a:extLst>
            </p:cNvPr>
            <p:cNvCxnSpPr>
              <a:cxnSpLocks/>
            </p:cNvCxnSpPr>
            <p:nvPr/>
          </p:nvCxnSpPr>
          <p:spPr>
            <a:xfrm>
              <a:off x="549904" y="5407285"/>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5" name="Textfeld 54">
            <a:extLst>
              <a:ext uri="{FF2B5EF4-FFF2-40B4-BE49-F238E27FC236}">
                <a16:creationId xmlns:a16="http://schemas.microsoft.com/office/drawing/2014/main" xmlns="" id="{94A04F34-3115-49D4-BFF4-5D93BE129C77}"/>
              </a:ext>
            </a:extLst>
          </p:cNvPr>
          <p:cNvSpPr txBox="1"/>
          <p:nvPr/>
        </p:nvSpPr>
        <p:spPr>
          <a:xfrm>
            <a:off x="3105475" y="5366274"/>
            <a:ext cx="2695575" cy="263351"/>
          </a:xfrm>
          <a:prstGeom prst="rect">
            <a:avLst/>
          </a:prstGeom>
          <a:noFill/>
        </p:spPr>
        <p:txBody>
          <a:bodyPr wrap="square" rtlCol="0">
            <a:noAutofit/>
          </a:bodyPr>
          <a:lstStyle/>
          <a:p>
            <a:r>
              <a:rPr lang="de-DE" sz="1200" b="1" dirty="0"/>
              <a:t>Landkreis Miesbach:</a:t>
            </a:r>
          </a:p>
        </p:txBody>
      </p:sp>
      <p:cxnSp>
        <p:nvCxnSpPr>
          <p:cNvPr id="56" name="Gerader Verbinder 55">
            <a:extLst>
              <a:ext uri="{FF2B5EF4-FFF2-40B4-BE49-F238E27FC236}">
                <a16:creationId xmlns:a16="http://schemas.microsoft.com/office/drawing/2014/main" xmlns="" id="{33B6C5C9-AC4B-4858-912D-A9EE17C251E7}"/>
              </a:ext>
            </a:extLst>
          </p:cNvPr>
          <p:cNvCxnSpPr>
            <a:cxnSpLocks/>
          </p:cNvCxnSpPr>
          <p:nvPr/>
        </p:nvCxnSpPr>
        <p:spPr>
          <a:xfrm>
            <a:off x="3208383" y="5599145"/>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7" name="Gruppieren 56">
            <a:extLst>
              <a:ext uri="{FF2B5EF4-FFF2-40B4-BE49-F238E27FC236}">
                <a16:creationId xmlns:a16="http://schemas.microsoft.com/office/drawing/2014/main" xmlns="" id="{6EEA67EF-8909-4C3B-82FF-572BADA22E8C}"/>
              </a:ext>
            </a:extLst>
          </p:cNvPr>
          <p:cNvGrpSpPr/>
          <p:nvPr/>
        </p:nvGrpSpPr>
        <p:grpSpPr>
          <a:xfrm>
            <a:off x="6146806" y="5058203"/>
            <a:ext cx="2695575" cy="661853"/>
            <a:chOff x="6126442" y="1558933"/>
            <a:chExt cx="2695575" cy="661853"/>
          </a:xfrm>
        </p:grpSpPr>
        <p:sp>
          <p:nvSpPr>
            <p:cNvPr id="58" name="Textfeld 57">
              <a:extLst>
                <a:ext uri="{FF2B5EF4-FFF2-40B4-BE49-F238E27FC236}">
                  <a16:creationId xmlns:a16="http://schemas.microsoft.com/office/drawing/2014/main" xmlns="" id="{235DCA71-73B1-4540-ABF9-5D362AA9C945}"/>
                </a:ext>
              </a:extLst>
            </p:cNvPr>
            <p:cNvSpPr txBox="1"/>
            <p:nvPr/>
          </p:nvSpPr>
          <p:spPr>
            <a:xfrm>
              <a:off x="6146800" y="1789899"/>
              <a:ext cx="2506936" cy="430887"/>
            </a:xfrm>
            <a:prstGeom prst="rect">
              <a:avLst/>
            </a:prstGeom>
            <a:noFill/>
          </p:spPr>
          <p:txBody>
            <a:bodyPr wrap="square" rtlCol="0">
              <a:noAutofit/>
            </a:bodyPr>
            <a:lstStyle/>
            <a:p>
              <a:pPr marL="171450" indent="-171450">
                <a:buFont typeface="Arial" panose="020B0604020202020204" pitchFamily="34" charset="0"/>
                <a:buChar char="•"/>
              </a:pPr>
              <a:r>
                <a:rPr lang="de-DE" sz="1200" dirty="0"/>
                <a:t>Seit 01.01.2018 verbundweites</a:t>
              </a:r>
              <a:r>
                <a:rPr lang="de-DE" sz="1200" b="1" dirty="0"/>
                <a:t> Schülerticket </a:t>
              </a:r>
              <a:r>
                <a:rPr lang="de-DE" sz="1200" dirty="0"/>
                <a:t>für</a:t>
              </a:r>
              <a:r>
                <a:rPr lang="de-DE" sz="1200" b="1" dirty="0"/>
                <a:t> </a:t>
              </a:r>
              <a:r>
                <a:rPr lang="de-DE" sz="1200" dirty="0"/>
                <a:t>15 € / Monat</a:t>
              </a:r>
            </a:p>
          </p:txBody>
        </p:sp>
        <p:sp>
          <p:nvSpPr>
            <p:cNvPr id="59" name="Textfeld 58">
              <a:extLst>
                <a:ext uri="{FF2B5EF4-FFF2-40B4-BE49-F238E27FC236}">
                  <a16:creationId xmlns:a16="http://schemas.microsoft.com/office/drawing/2014/main" xmlns="" id="{E4323606-29DC-4A53-8009-992335B50766}"/>
                </a:ext>
              </a:extLst>
            </p:cNvPr>
            <p:cNvSpPr txBox="1"/>
            <p:nvPr/>
          </p:nvSpPr>
          <p:spPr>
            <a:xfrm>
              <a:off x="6126442" y="1558933"/>
              <a:ext cx="2695575" cy="263351"/>
            </a:xfrm>
            <a:prstGeom prst="rect">
              <a:avLst/>
            </a:prstGeom>
            <a:noFill/>
          </p:spPr>
          <p:txBody>
            <a:bodyPr wrap="square" rtlCol="0">
              <a:noAutofit/>
            </a:bodyPr>
            <a:lstStyle/>
            <a:p>
              <a:r>
                <a:rPr lang="de-DE" sz="1200" b="1" dirty="0"/>
                <a:t>GVH:</a:t>
              </a:r>
            </a:p>
          </p:txBody>
        </p:sp>
        <p:cxnSp>
          <p:nvCxnSpPr>
            <p:cNvPr id="60" name="Gerader Verbinder 59">
              <a:extLst>
                <a:ext uri="{FF2B5EF4-FFF2-40B4-BE49-F238E27FC236}">
                  <a16:creationId xmlns:a16="http://schemas.microsoft.com/office/drawing/2014/main" xmlns="" id="{9AEFAD16-4122-4232-A358-69B81D4845DE}"/>
                </a:ext>
              </a:extLst>
            </p:cNvPr>
            <p:cNvCxnSpPr>
              <a:cxnSpLocks/>
            </p:cNvCxnSpPr>
            <p:nvPr/>
          </p:nvCxnSpPr>
          <p:spPr>
            <a:xfrm>
              <a:off x="6229350" y="1791804"/>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Textfeld 60">
            <a:extLst>
              <a:ext uri="{FF2B5EF4-FFF2-40B4-BE49-F238E27FC236}">
                <a16:creationId xmlns:a16="http://schemas.microsoft.com/office/drawing/2014/main" xmlns="" id="{30FB18FB-7B33-4122-94A7-06F82AD77DB7}"/>
              </a:ext>
            </a:extLst>
          </p:cNvPr>
          <p:cNvSpPr txBox="1"/>
          <p:nvPr/>
        </p:nvSpPr>
        <p:spPr>
          <a:xfrm>
            <a:off x="3707904" y="5260558"/>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Tree>
    <p:extLst>
      <p:ext uri="{BB962C8B-B14F-4D97-AF65-F5344CB8AC3E}">
        <p14:creationId xmlns:p14="http://schemas.microsoft.com/office/powerpoint/2010/main" val="29426945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00933EFB-D544-4B4F-A422-96F6A27606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617" name="think-cell Folie" r:id="rId7" imgW="338" imgH="344" progId="TCLayout.ActiveDocument.1">
                  <p:embed/>
                </p:oleObj>
              </mc:Choice>
              <mc:Fallback>
                <p:oleObj name="think-cell Folie" r:id="rId7" imgW="338" imgH="344" progId="TCLayout.ActiveDocument.1">
                  <p:embed/>
                  <p:pic>
                    <p:nvPicPr>
                      <p:cNvPr id="7" name="Objekt 6" hidden="1">
                        <a:extLst>
                          <a:ext uri="{FF2B5EF4-FFF2-40B4-BE49-F238E27FC236}">
                            <a16:creationId xmlns:a16="http://schemas.microsoft.com/office/drawing/2014/main" xmlns="" id="{00933EFB-D544-4B4F-A422-96F6A276065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xmlns="" id="{ED3F2B98-28D7-4B79-9509-8F50F8E6D928}"/>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In einigen Kommunen wird bereits ein kostenloser ÖPNV angeboten, weitere werden in absehbarer Zeit starten</a:t>
            </a:r>
          </a:p>
        </p:txBody>
      </p:sp>
      <p:sp>
        <p:nvSpPr>
          <p:cNvPr id="3" name="Inhaltsplatzhalter 2"/>
          <p:cNvSpPr>
            <a:spLocks noGrp="1"/>
          </p:cNvSpPr>
          <p:nvPr>
            <p:ph idx="1"/>
          </p:nvPr>
        </p:nvSpPr>
        <p:spPr/>
        <p:txBody>
          <a:bodyPr/>
          <a:lstStyle/>
          <a:p>
            <a:r>
              <a:rPr lang="de-DE" dirty="0"/>
              <a:t>Übersicht: Kostenloser ÖPNV – bereits umgesetzt oder in Planung</a:t>
            </a:r>
          </a:p>
          <a:p>
            <a:endParaRPr lang="de-DE" dirty="0"/>
          </a:p>
        </p:txBody>
      </p:sp>
      <p:sp>
        <p:nvSpPr>
          <p:cNvPr id="4" name="Foliennummernplatzhalter 3"/>
          <p:cNvSpPr>
            <a:spLocks noGrp="1"/>
          </p:cNvSpPr>
          <p:nvPr>
            <p:ph type="sldNum" sz="quarter" idx="11"/>
          </p:nvPr>
        </p:nvSpPr>
        <p:spPr/>
        <p:txBody>
          <a:bodyPr/>
          <a:lstStyle/>
          <a:p>
            <a:fld id="{CD21EFEB-933F-4F46-A5AD-B6372944D9E5}" type="slidenum">
              <a:rPr lang="de-DE" smtClean="0"/>
              <a:pPr/>
              <a:t>47</a:t>
            </a:fld>
            <a:endParaRPr lang="de-DE"/>
          </a:p>
        </p:txBody>
      </p:sp>
      <p:sp>
        <p:nvSpPr>
          <p:cNvPr id="10" name="Abgerundetes Rechteck 9"/>
          <p:cNvSpPr/>
          <p:nvPr>
            <p:custDataLst>
              <p:tags r:id="rId4"/>
            </p:custDataLst>
          </p:nvPr>
        </p:nvSpPr>
        <p:spPr>
          <a:xfrm>
            <a:off x="7275975" y="1105583"/>
            <a:ext cx="1310003" cy="24628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4000" tIns="18000" rIns="234000" bIns="0" rtlCol="0" anchor="ctr">
            <a:spAutoFit/>
          </a:bodyPr>
          <a:lstStyle/>
          <a:p>
            <a:pPr algn="r">
              <a:lnSpc>
                <a:spcPct val="85000"/>
              </a:lnSpc>
            </a:pPr>
            <a:r>
              <a:rPr lang="de-DE" sz="1200" b="1" cap="all" dirty="0">
                <a:solidFill>
                  <a:schemeClr val="tx1"/>
                </a:solidFill>
              </a:rPr>
              <a:t>Auswahl</a:t>
            </a:r>
          </a:p>
        </p:txBody>
      </p:sp>
      <p:pic>
        <p:nvPicPr>
          <p:cNvPr id="6" name="Grafik 5">
            <a:extLst>
              <a:ext uri="{FF2B5EF4-FFF2-40B4-BE49-F238E27FC236}">
                <a16:creationId xmlns:a16="http://schemas.microsoft.com/office/drawing/2014/main" xmlns="" id="{38E98B71-642B-4193-988A-1FDAE1745D5F}"/>
              </a:ext>
            </a:extLst>
          </p:cNvPr>
          <p:cNvPicPr>
            <a:picLocks noChangeAspect="1"/>
          </p:cNvPicPr>
          <p:nvPr/>
        </p:nvPicPr>
        <p:blipFill rotWithShape="1">
          <a:blip r:embed="rId9"/>
          <a:srcRect t="9248"/>
          <a:stretch/>
        </p:blipFill>
        <p:spPr>
          <a:xfrm>
            <a:off x="2866549" y="1556791"/>
            <a:ext cx="3145611" cy="4035725"/>
          </a:xfrm>
          <a:prstGeom prst="rect">
            <a:avLst/>
          </a:prstGeom>
        </p:spPr>
      </p:pic>
      <p:sp>
        <p:nvSpPr>
          <p:cNvPr id="9" name="Textfeld 8">
            <a:extLst>
              <a:ext uri="{FF2B5EF4-FFF2-40B4-BE49-F238E27FC236}">
                <a16:creationId xmlns:a16="http://schemas.microsoft.com/office/drawing/2014/main" xmlns="" id="{F006D29D-1898-469F-A25B-D36136C55434}"/>
              </a:ext>
            </a:extLst>
          </p:cNvPr>
          <p:cNvSpPr txBox="1"/>
          <p:nvPr/>
        </p:nvSpPr>
        <p:spPr>
          <a:xfrm>
            <a:off x="456413" y="2578353"/>
            <a:ext cx="2376264" cy="769441"/>
          </a:xfrm>
          <a:prstGeom prst="rect">
            <a:avLst/>
          </a:prstGeom>
          <a:noFill/>
        </p:spPr>
        <p:txBody>
          <a:bodyPr wrap="square" rtlCol="0">
            <a:spAutoFit/>
          </a:bodyPr>
          <a:lstStyle/>
          <a:p>
            <a:pPr marL="171450" indent="-171450">
              <a:buFont typeface="Arial" panose="020B0604020202020204" pitchFamily="34" charset="0"/>
              <a:buChar char="•"/>
            </a:pPr>
            <a:r>
              <a:rPr lang="de-DE" sz="1100" dirty="0"/>
              <a:t>Ab Apr 2020 kostenloser ÖPNV in Monheim und Langenfeld</a:t>
            </a:r>
          </a:p>
          <a:p>
            <a:pPr marL="171450" indent="-171450">
              <a:buFont typeface="Arial" panose="020B0604020202020204" pitchFamily="34" charset="0"/>
              <a:buChar char="•"/>
            </a:pPr>
            <a:r>
              <a:rPr lang="de-DE" sz="1100" dirty="0"/>
              <a:t>Nur für Einwohner der Stadt</a:t>
            </a:r>
          </a:p>
          <a:p>
            <a:pPr marL="171450" indent="-171450">
              <a:buFont typeface="Arial" panose="020B0604020202020204" pitchFamily="34" charset="0"/>
              <a:buChar char="•"/>
            </a:pPr>
            <a:r>
              <a:rPr lang="de-DE" sz="1100" dirty="0"/>
              <a:t>Einwohner: 40.598</a:t>
            </a:r>
          </a:p>
        </p:txBody>
      </p:sp>
      <p:sp>
        <p:nvSpPr>
          <p:cNvPr id="11" name="Textfeld 10">
            <a:extLst>
              <a:ext uri="{FF2B5EF4-FFF2-40B4-BE49-F238E27FC236}">
                <a16:creationId xmlns:a16="http://schemas.microsoft.com/office/drawing/2014/main" xmlns="" id="{836265E6-439C-4B0D-9F31-EDBA61973219}"/>
              </a:ext>
            </a:extLst>
          </p:cNvPr>
          <p:cNvSpPr txBox="1"/>
          <p:nvPr/>
        </p:nvSpPr>
        <p:spPr>
          <a:xfrm>
            <a:off x="456413" y="3835969"/>
            <a:ext cx="2376264" cy="769441"/>
          </a:xfrm>
          <a:prstGeom prst="rect">
            <a:avLst/>
          </a:prstGeom>
          <a:noFill/>
        </p:spPr>
        <p:txBody>
          <a:bodyPr wrap="square" rtlCol="0">
            <a:spAutoFit/>
          </a:bodyPr>
          <a:lstStyle/>
          <a:p>
            <a:pPr marL="285750" indent="-285750">
              <a:buFont typeface="Arial" panose="020B0604020202020204" pitchFamily="34" charset="0"/>
              <a:buChar char="•"/>
            </a:pPr>
            <a:r>
              <a:rPr lang="de-DE" sz="1100" dirty="0"/>
              <a:t>Bis Ende 2019 ticketfreier Samstag für alle Fahrgäste</a:t>
            </a:r>
          </a:p>
          <a:p>
            <a:pPr marL="285750" indent="-285750">
              <a:buFont typeface="Arial" panose="020B0604020202020204" pitchFamily="34" charset="0"/>
              <a:buChar char="•"/>
            </a:pPr>
            <a:r>
              <a:rPr lang="de-DE" sz="1100" dirty="0"/>
              <a:t>Einwohner: 89.447</a:t>
            </a:r>
          </a:p>
          <a:p>
            <a:pPr marL="285750" indent="-285750">
              <a:buFont typeface="Arial" panose="020B0604020202020204" pitchFamily="34" charset="0"/>
              <a:buChar char="•"/>
            </a:pPr>
            <a:endParaRPr lang="de-DE" sz="1100" dirty="0"/>
          </a:p>
        </p:txBody>
      </p:sp>
      <p:sp>
        <p:nvSpPr>
          <p:cNvPr id="13" name="Textfeld 12">
            <a:extLst>
              <a:ext uri="{FF2B5EF4-FFF2-40B4-BE49-F238E27FC236}">
                <a16:creationId xmlns:a16="http://schemas.microsoft.com/office/drawing/2014/main" xmlns="" id="{26052878-A03F-4006-B4F2-801DDD73390C}"/>
              </a:ext>
            </a:extLst>
          </p:cNvPr>
          <p:cNvSpPr txBox="1"/>
          <p:nvPr/>
        </p:nvSpPr>
        <p:spPr>
          <a:xfrm>
            <a:off x="6153417" y="1925117"/>
            <a:ext cx="2376264" cy="1107996"/>
          </a:xfrm>
          <a:prstGeom prst="rect">
            <a:avLst/>
          </a:prstGeom>
          <a:noFill/>
        </p:spPr>
        <p:txBody>
          <a:bodyPr wrap="square" rtlCol="0">
            <a:spAutoFit/>
          </a:bodyPr>
          <a:lstStyle/>
          <a:p>
            <a:pPr marL="171450" indent="-171450">
              <a:buFont typeface="Arial" panose="020B0604020202020204" pitchFamily="34" charset="0"/>
              <a:buChar char="•"/>
            </a:pPr>
            <a:r>
              <a:rPr lang="de-DE" sz="1100" dirty="0"/>
              <a:t>Zwischen 1998 und 2002 kostenloser ÖPNV für alle Fahrgäste</a:t>
            </a:r>
          </a:p>
          <a:p>
            <a:pPr marL="171450" indent="-171450">
              <a:buFont typeface="Arial" panose="020B0604020202020204" pitchFamily="34" charset="0"/>
              <a:buChar char="•"/>
            </a:pPr>
            <a:r>
              <a:rPr lang="de-DE" sz="1100" dirty="0"/>
              <a:t>Ab 2003 Jahresticket für ca. 44 € im Jahr</a:t>
            </a:r>
          </a:p>
          <a:p>
            <a:pPr marL="171450" indent="-171450">
              <a:buFont typeface="Arial" panose="020B0604020202020204" pitchFamily="34" charset="0"/>
              <a:buChar char="•"/>
            </a:pPr>
            <a:r>
              <a:rPr lang="de-DE" sz="1100" dirty="0"/>
              <a:t>Einwohner: 15.974</a:t>
            </a:r>
          </a:p>
        </p:txBody>
      </p:sp>
      <p:sp>
        <p:nvSpPr>
          <p:cNvPr id="15" name="Textfeld 14">
            <a:extLst>
              <a:ext uri="{FF2B5EF4-FFF2-40B4-BE49-F238E27FC236}">
                <a16:creationId xmlns:a16="http://schemas.microsoft.com/office/drawing/2014/main" xmlns="" id="{880CA5FD-FFF4-4A22-AE88-C9A873E0A694}"/>
              </a:ext>
            </a:extLst>
          </p:cNvPr>
          <p:cNvSpPr txBox="1"/>
          <p:nvPr/>
        </p:nvSpPr>
        <p:spPr>
          <a:xfrm>
            <a:off x="6126442" y="1724264"/>
            <a:ext cx="2695575" cy="263351"/>
          </a:xfrm>
          <a:prstGeom prst="rect">
            <a:avLst/>
          </a:prstGeom>
          <a:noFill/>
        </p:spPr>
        <p:txBody>
          <a:bodyPr wrap="square" rtlCol="0">
            <a:noAutofit/>
          </a:bodyPr>
          <a:lstStyle/>
          <a:p>
            <a:r>
              <a:rPr lang="de-DE" sz="1100" b="1" dirty="0"/>
              <a:t>Templin:</a:t>
            </a:r>
          </a:p>
        </p:txBody>
      </p:sp>
      <p:cxnSp>
        <p:nvCxnSpPr>
          <p:cNvPr id="17" name="Gerader Verbinder 16">
            <a:extLst>
              <a:ext uri="{FF2B5EF4-FFF2-40B4-BE49-F238E27FC236}">
                <a16:creationId xmlns:a16="http://schemas.microsoft.com/office/drawing/2014/main" xmlns="" id="{4BE5B7D8-7C8C-4D74-90DE-C7477E972490}"/>
              </a:ext>
            </a:extLst>
          </p:cNvPr>
          <p:cNvCxnSpPr>
            <a:cxnSpLocks/>
          </p:cNvCxnSpPr>
          <p:nvPr/>
        </p:nvCxnSpPr>
        <p:spPr>
          <a:xfrm>
            <a:off x="6229350" y="1957135"/>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5" name="Gruppieren 24">
            <a:extLst>
              <a:ext uri="{FF2B5EF4-FFF2-40B4-BE49-F238E27FC236}">
                <a16:creationId xmlns:a16="http://schemas.microsoft.com/office/drawing/2014/main" xmlns="" id="{194C77D1-5145-404A-9675-D8F22EC20DAF}"/>
              </a:ext>
            </a:extLst>
          </p:cNvPr>
          <p:cNvGrpSpPr/>
          <p:nvPr/>
        </p:nvGrpSpPr>
        <p:grpSpPr>
          <a:xfrm>
            <a:off x="6126442" y="3165534"/>
            <a:ext cx="2695575" cy="791060"/>
            <a:chOff x="6126442" y="3125869"/>
            <a:chExt cx="2695575" cy="791060"/>
          </a:xfrm>
        </p:grpSpPr>
        <p:sp>
          <p:nvSpPr>
            <p:cNvPr id="14" name="Textfeld 13">
              <a:extLst>
                <a:ext uri="{FF2B5EF4-FFF2-40B4-BE49-F238E27FC236}">
                  <a16:creationId xmlns:a16="http://schemas.microsoft.com/office/drawing/2014/main" xmlns="" id="{8C7C7ACE-9406-4E8B-B343-A50E1DC16983}"/>
                </a:ext>
              </a:extLst>
            </p:cNvPr>
            <p:cNvSpPr txBox="1"/>
            <p:nvPr/>
          </p:nvSpPr>
          <p:spPr>
            <a:xfrm>
              <a:off x="6153193" y="3335981"/>
              <a:ext cx="2376488" cy="580948"/>
            </a:xfrm>
            <a:prstGeom prst="rect">
              <a:avLst/>
            </a:prstGeom>
            <a:noFill/>
          </p:spPr>
          <p:txBody>
            <a:bodyPr wrap="square" rtlCol="0">
              <a:noAutofit/>
            </a:bodyPr>
            <a:lstStyle/>
            <a:p>
              <a:pPr marL="171450" indent="-171450">
                <a:buFont typeface="Arial" panose="020B0604020202020204" pitchFamily="34" charset="0"/>
                <a:buChar char="•"/>
              </a:pPr>
              <a:r>
                <a:rPr lang="de-DE" sz="1100" dirty="0"/>
                <a:t>Ab 2021 kostenloser ÖPNV</a:t>
              </a:r>
            </a:p>
            <a:p>
              <a:pPr marL="171450" indent="-171450">
                <a:buFont typeface="Arial" panose="020B0604020202020204" pitchFamily="34" charset="0"/>
                <a:buChar char="•"/>
              </a:pPr>
              <a:r>
                <a:rPr lang="de-DE" sz="1100" dirty="0"/>
                <a:t>Details noch nicht bekannt</a:t>
              </a:r>
            </a:p>
            <a:p>
              <a:pPr marL="171450" indent="-171450">
                <a:buFont typeface="Arial" panose="020B0604020202020204" pitchFamily="34" charset="0"/>
                <a:buChar char="•"/>
              </a:pPr>
              <a:r>
                <a:rPr lang="de-DE" sz="1100" dirty="0"/>
                <a:t>Einwohner: 24.558</a:t>
              </a:r>
            </a:p>
            <a:p>
              <a:pPr marL="171450" indent="-171450">
                <a:buFont typeface="Arial" panose="020B0604020202020204" pitchFamily="34" charset="0"/>
                <a:buChar char="•"/>
              </a:pPr>
              <a:endParaRPr lang="de-DE" sz="1100" dirty="0"/>
            </a:p>
          </p:txBody>
        </p:sp>
        <p:sp>
          <p:nvSpPr>
            <p:cNvPr id="19" name="Textfeld 18">
              <a:extLst>
                <a:ext uri="{FF2B5EF4-FFF2-40B4-BE49-F238E27FC236}">
                  <a16:creationId xmlns:a16="http://schemas.microsoft.com/office/drawing/2014/main" xmlns="" id="{2FC7AADB-5EAC-40CE-976F-2D8D73536D0C}"/>
                </a:ext>
              </a:extLst>
            </p:cNvPr>
            <p:cNvSpPr txBox="1"/>
            <p:nvPr/>
          </p:nvSpPr>
          <p:spPr>
            <a:xfrm>
              <a:off x="6126442" y="3125869"/>
              <a:ext cx="2695575" cy="263351"/>
            </a:xfrm>
            <a:prstGeom prst="rect">
              <a:avLst/>
            </a:prstGeom>
            <a:noFill/>
          </p:spPr>
          <p:txBody>
            <a:bodyPr wrap="square" rtlCol="0">
              <a:noAutofit/>
            </a:bodyPr>
            <a:lstStyle/>
            <a:p>
              <a:r>
                <a:rPr lang="de-DE" sz="1100" b="1" dirty="0"/>
                <a:t>Senftenberg:</a:t>
              </a:r>
            </a:p>
          </p:txBody>
        </p:sp>
        <p:cxnSp>
          <p:nvCxnSpPr>
            <p:cNvPr id="20" name="Gerader Verbinder 19">
              <a:extLst>
                <a:ext uri="{FF2B5EF4-FFF2-40B4-BE49-F238E27FC236}">
                  <a16:creationId xmlns:a16="http://schemas.microsoft.com/office/drawing/2014/main" xmlns="" id="{5B7FF58A-6E7D-4DDB-99E5-8A3E8E37EF08}"/>
                </a:ext>
              </a:extLst>
            </p:cNvPr>
            <p:cNvCxnSpPr>
              <a:cxnSpLocks/>
            </p:cNvCxnSpPr>
            <p:nvPr/>
          </p:nvCxnSpPr>
          <p:spPr>
            <a:xfrm>
              <a:off x="6229350" y="3358740"/>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2" name="Gruppieren 11">
            <a:extLst>
              <a:ext uri="{FF2B5EF4-FFF2-40B4-BE49-F238E27FC236}">
                <a16:creationId xmlns:a16="http://schemas.microsoft.com/office/drawing/2014/main" xmlns="" id="{CE1BE0D5-57D2-43DD-9472-7BE4F78D7CE8}"/>
              </a:ext>
            </a:extLst>
          </p:cNvPr>
          <p:cNvGrpSpPr/>
          <p:nvPr/>
        </p:nvGrpSpPr>
        <p:grpSpPr>
          <a:xfrm>
            <a:off x="6126442" y="4089015"/>
            <a:ext cx="2695575" cy="773185"/>
            <a:chOff x="6126442" y="3898278"/>
            <a:chExt cx="2695575" cy="773185"/>
          </a:xfrm>
        </p:grpSpPr>
        <p:sp>
          <p:nvSpPr>
            <p:cNvPr id="16" name="Textfeld 15">
              <a:extLst>
                <a:ext uri="{FF2B5EF4-FFF2-40B4-BE49-F238E27FC236}">
                  <a16:creationId xmlns:a16="http://schemas.microsoft.com/office/drawing/2014/main" xmlns="" id="{E86F3190-A507-4B23-B628-7F0B8B4C8198}"/>
                </a:ext>
              </a:extLst>
            </p:cNvPr>
            <p:cNvSpPr txBox="1"/>
            <p:nvPr/>
          </p:nvSpPr>
          <p:spPr>
            <a:xfrm>
              <a:off x="6153193" y="4102441"/>
              <a:ext cx="2376488" cy="569022"/>
            </a:xfrm>
            <a:prstGeom prst="rect">
              <a:avLst/>
            </a:prstGeom>
            <a:noFill/>
          </p:spPr>
          <p:txBody>
            <a:bodyPr wrap="square" rtlCol="0">
              <a:noAutofit/>
            </a:bodyPr>
            <a:lstStyle/>
            <a:p>
              <a:pPr marL="171450" indent="-171450">
                <a:buFont typeface="Arial" panose="020B0604020202020204" pitchFamily="34" charset="0"/>
                <a:buChar char="•"/>
              </a:pPr>
              <a:r>
                <a:rPr lang="de-DE" sz="1100" dirty="0"/>
                <a:t>Seit Nov 2018 kostenloser ÖPNV für alle Fahrgäste</a:t>
              </a:r>
            </a:p>
            <a:p>
              <a:pPr marL="171450" indent="-171450">
                <a:buFont typeface="Arial" panose="020B0604020202020204" pitchFamily="34" charset="0"/>
                <a:buChar char="•"/>
              </a:pPr>
              <a:r>
                <a:rPr lang="de-DE" sz="1100" dirty="0"/>
                <a:t>Einwohner: 8.278</a:t>
              </a:r>
            </a:p>
            <a:p>
              <a:pPr marL="171450" indent="-171450">
                <a:buFont typeface="Arial" panose="020B0604020202020204" pitchFamily="34" charset="0"/>
                <a:buChar char="•"/>
              </a:pPr>
              <a:endParaRPr lang="de-DE" sz="1100" dirty="0"/>
            </a:p>
          </p:txBody>
        </p:sp>
        <p:sp>
          <p:nvSpPr>
            <p:cNvPr id="21" name="Textfeld 20">
              <a:extLst>
                <a:ext uri="{FF2B5EF4-FFF2-40B4-BE49-F238E27FC236}">
                  <a16:creationId xmlns:a16="http://schemas.microsoft.com/office/drawing/2014/main" xmlns="" id="{5F047A3C-FF99-4D03-A6B4-A69D36684713}"/>
                </a:ext>
              </a:extLst>
            </p:cNvPr>
            <p:cNvSpPr txBox="1"/>
            <p:nvPr/>
          </p:nvSpPr>
          <p:spPr>
            <a:xfrm>
              <a:off x="6126442" y="3898278"/>
              <a:ext cx="2695575" cy="263351"/>
            </a:xfrm>
            <a:prstGeom prst="rect">
              <a:avLst/>
            </a:prstGeom>
            <a:noFill/>
          </p:spPr>
          <p:txBody>
            <a:bodyPr wrap="square" rtlCol="0">
              <a:noAutofit/>
            </a:bodyPr>
            <a:lstStyle/>
            <a:p>
              <a:r>
                <a:rPr lang="de-DE" sz="1100" b="1" dirty="0"/>
                <a:t>Viechtach:</a:t>
              </a:r>
            </a:p>
          </p:txBody>
        </p:sp>
        <p:cxnSp>
          <p:nvCxnSpPr>
            <p:cNvPr id="22" name="Gerader Verbinder 21">
              <a:extLst>
                <a:ext uri="{FF2B5EF4-FFF2-40B4-BE49-F238E27FC236}">
                  <a16:creationId xmlns:a16="http://schemas.microsoft.com/office/drawing/2014/main" xmlns="" id="{938CA4B4-844D-401F-BD90-6AADA93EE9C8}"/>
                </a:ext>
              </a:extLst>
            </p:cNvPr>
            <p:cNvCxnSpPr>
              <a:cxnSpLocks/>
            </p:cNvCxnSpPr>
            <p:nvPr/>
          </p:nvCxnSpPr>
          <p:spPr>
            <a:xfrm>
              <a:off x="6229350" y="4131149"/>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 name="Gruppieren 7">
            <a:extLst>
              <a:ext uri="{FF2B5EF4-FFF2-40B4-BE49-F238E27FC236}">
                <a16:creationId xmlns:a16="http://schemas.microsoft.com/office/drawing/2014/main" xmlns="" id="{FEBCF927-AB37-4AE9-9EF3-56A2C60E0389}"/>
              </a:ext>
            </a:extLst>
          </p:cNvPr>
          <p:cNvGrpSpPr/>
          <p:nvPr/>
        </p:nvGrpSpPr>
        <p:grpSpPr>
          <a:xfrm>
            <a:off x="6126442" y="4994620"/>
            <a:ext cx="2695575" cy="1024462"/>
            <a:chOff x="6126442" y="4727956"/>
            <a:chExt cx="2695575" cy="1024462"/>
          </a:xfrm>
        </p:grpSpPr>
        <p:sp>
          <p:nvSpPr>
            <p:cNvPr id="18" name="Textfeld 17">
              <a:extLst>
                <a:ext uri="{FF2B5EF4-FFF2-40B4-BE49-F238E27FC236}">
                  <a16:creationId xmlns:a16="http://schemas.microsoft.com/office/drawing/2014/main" xmlns="" id="{970ED2BC-65A3-4712-BFF6-940A393AF83A}"/>
                </a:ext>
              </a:extLst>
            </p:cNvPr>
            <p:cNvSpPr txBox="1"/>
            <p:nvPr/>
          </p:nvSpPr>
          <p:spPr>
            <a:xfrm>
              <a:off x="6153417" y="4939398"/>
              <a:ext cx="2376264" cy="813020"/>
            </a:xfrm>
            <a:prstGeom prst="rect">
              <a:avLst/>
            </a:prstGeom>
            <a:noFill/>
          </p:spPr>
          <p:txBody>
            <a:bodyPr wrap="square" rtlCol="0">
              <a:noAutofit/>
            </a:bodyPr>
            <a:lstStyle/>
            <a:p>
              <a:pPr marL="171450" indent="-171450">
                <a:buFont typeface="Arial" panose="020B0604020202020204" pitchFamily="34" charset="0"/>
                <a:buChar char="•"/>
              </a:pPr>
              <a:r>
                <a:rPr lang="de-DE" sz="1100" dirty="0"/>
                <a:t>Seit Dez 2018 kostenloser ÖPNV für alle Fahrgäste</a:t>
              </a:r>
            </a:p>
            <a:p>
              <a:pPr marL="171450" indent="-171450">
                <a:buFont typeface="Arial" panose="020B0604020202020204" pitchFamily="34" charset="0"/>
                <a:buChar char="•"/>
              </a:pPr>
              <a:r>
                <a:rPr lang="de-DE" sz="1100" dirty="0"/>
                <a:t>Mindestens für 3 Jahre</a:t>
              </a:r>
            </a:p>
            <a:p>
              <a:pPr marL="171450" indent="-171450">
                <a:buFont typeface="Arial" panose="020B0604020202020204" pitchFamily="34" charset="0"/>
                <a:buChar char="•"/>
              </a:pPr>
              <a:r>
                <a:rPr lang="de-DE" sz="1100" dirty="0"/>
                <a:t>Einwohner: 25.781</a:t>
              </a:r>
            </a:p>
            <a:p>
              <a:pPr marL="171450" indent="-171450">
                <a:buFont typeface="Arial" panose="020B0604020202020204" pitchFamily="34" charset="0"/>
                <a:buChar char="•"/>
              </a:pPr>
              <a:endParaRPr lang="de-DE" sz="1100" dirty="0"/>
            </a:p>
          </p:txBody>
        </p:sp>
        <p:sp>
          <p:nvSpPr>
            <p:cNvPr id="23" name="Textfeld 22">
              <a:extLst>
                <a:ext uri="{FF2B5EF4-FFF2-40B4-BE49-F238E27FC236}">
                  <a16:creationId xmlns:a16="http://schemas.microsoft.com/office/drawing/2014/main" xmlns="" id="{70AEE6E9-5CF6-45D7-AA89-952CD4150174}"/>
                </a:ext>
              </a:extLst>
            </p:cNvPr>
            <p:cNvSpPr txBox="1"/>
            <p:nvPr/>
          </p:nvSpPr>
          <p:spPr>
            <a:xfrm>
              <a:off x="6126442" y="4727956"/>
              <a:ext cx="2695575" cy="263351"/>
            </a:xfrm>
            <a:prstGeom prst="rect">
              <a:avLst/>
            </a:prstGeom>
            <a:noFill/>
          </p:spPr>
          <p:txBody>
            <a:bodyPr wrap="square" rtlCol="0">
              <a:noAutofit/>
            </a:bodyPr>
            <a:lstStyle/>
            <a:p>
              <a:r>
                <a:rPr lang="de-DE" sz="1100" b="1" dirty="0"/>
                <a:t>Pfaffenhofen:</a:t>
              </a:r>
            </a:p>
          </p:txBody>
        </p:sp>
        <p:cxnSp>
          <p:nvCxnSpPr>
            <p:cNvPr id="24" name="Gerader Verbinder 23">
              <a:extLst>
                <a:ext uri="{FF2B5EF4-FFF2-40B4-BE49-F238E27FC236}">
                  <a16:creationId xmlns:a16="http://schemas.microsoft.com/office/drawing/2014/main" xmlns="" id="{87AB37D4-56BF-4DB2-9C6E-A23B10E160EA}"/>
                </a:ext>
              </a:extLst>
            </p:cNvPr>
            <p:cNvCxnSpPr>
              <a:cxnSpLocks/>
            </p:cNvCxnSpPr>
            <p:nvPr/>
          </p:nvCxnSpPr>
          <p:spPr>
            <a:xfrm>
              <a:off x="6229350" y="4960827"/>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7" name="Textfeld 26">
            <a:extLst>
              <a:ext uri="{FF2B5EF4-FFF2-40B4-BE49-F238E27FC236}">
                <a16:creationId xmlns:a16="http://schemas.microsoft.com/office/drawing/2014/main" xmlns="" id="{6F66452C-3734-4FDB-B42A-48B454F53ED4}"/>
              </a:ext>
            </a:extLst>
          </p:cNvPr>
          <p:cNvSpPr txBox="1"/>
          <p:nvPr/>
        </p:nvSpPr>
        <p:spPr>
          <a:xfrm>
            <a:off x="429240" y="2349722"/>
            <a:ext cx="2695575" cy="263351"/>
          </a:xfrm>
          <a:prstGeom prst="rect">
            <a:avLst/>
          </a:prstGeom>
          <a:noFill/>
        </p:spPr>
        <p:txBody>
          <a:bodyPr wrap="square" rtlCol="0">
            <a:noAutofit/>
          </a:bodyPr>
          <a:lstStyle/>
          <a:p>
            <a:r>
              <a:rPr lang="de-DE" sz="1100" b="1" dirty="0" err="1"/>
              <a:t>Mohnheim</a:t>
            </a:r>
            <a:r>
              <a:rPr lang="de-DE" sz="1100" b="1" dirty="0"/>
              <a:t> am Rhein:</a:t>
            </a:r>
          </a:p>
        </p:txBody>
      </p:sp>
      <p:cxnSp>
        <p:nvCxnSpPr>
          <p:cNvPr id="28" name="Gerader Verbinder 27">
            <a:extLst>
              <a:ext uri="{FF2B5EF4-FFF2-40B4-BE49-F238E27FC236}">
                <a16:creationId xmlns:a16="http://schemas.microsoft.com/office/drawing/2014/main" xmlns="" id="{8C642417-54D8-4B82-8C47-E231F31CC658}"/>
              </a:ext>
            </a:extLst>
          </p:cNvPr>
          <p:cNvCxnSpPr>
            <a:cxnSpLocks/>
          </p:cNvCxnSpPr>
          <p:nvPr/>
        </p:nvCxnSpPr>
        <p:spPr>
          <a:xfrm>
            <a:off x="532148" y="2582593"/>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xmlns="" id="{7EEA138C-07B0-407F-8D53-30505D1D5245}"/>
              </a:ext>
            </a:extLst>
          </p:cNvPr>
          <p:cNvSpPr txBox="1"/>
          <p:nvPr/>
        </p:nvSpPr>
        <p:spPr>
          <a:xfrm>
            <a:off x="429240" y="3608825"/>
            <a:ext cx="2695575" cy="263351"/>
          </a:xfrm>
          <a:prstGeom prst="rect">
            <a:avLst/>
          </a:prstGeom>
          <a:noFill/>
        </p:spPr>
        <p:txBody>
          <a:bodyPr wrap="square" rtlCol="0">
            <a:noAutofit/>
          </a:bodyPr>
          <a:lstStyle/>
          <a:p>
            <a:r>
              <a:rPr lang="de-DE" sz="1100" b="1" dirty="0"/>
              <a:t>Tübingen:</a:t>
            </a:r>
          </a:p>
        </p:txBody>
      </p:sp>
      <p:cxnSp>
        <p:nvCxnSpPr>
          <p:cNvPr id="30" name="Gerader Verbinder 29">
            <a:extLst>
              <a:ext uri="{FF2B5EF4-FFF2-40B4-BE49-F238E27FC236}">
                <a16:creationId xmlns:a16="http://schemas.microsoft.com/office/drawing/2014/main" xmlns="" id="{645BCBEF-227D-480D-BD7F-89473DA5396A}"/>
              </a:ext>
            </a:extLst>
          </p:cNvPr>
          <p:cNvCxnSpPr>
            <a:cxnSpLocks/>
          </p:cNvCxnSpPr>
          <p:nvPr/>
        </p:nvCxnSpPr>
        <p:spPr>
          <a:xfrm>
            <a:off x="532148" y="3841696"/>
            <a:ext cx="23760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xmlns="" id="{E61E772A-031D-437C-8776-586A85FB47EE}"/>
              </a:ext>
            </a:extLst>
          </p:cNvPr>
          <p:cNvSpPr/>
          <p:nvPr/>
        </p:nvSpPr>
        <p:spPr>
          <a:xfrm>
            <a:off x="4833235" y="4604144"/>
            <a:ext cx="543627" cy="26501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2" name="Ellipse 31">
            <a:extLst>
              <a:ext uri="{FF2B5EF4-FFF2-40B4-BE49-F238E27FC236}">
                <a16:creationId xmlns:a16="http://schemas.microsoft.com/office/drawing/2014/main" xmlns="" id="{D2143448-B945-4633-A034-A6E7A0537BC1}"/>
              </a:ext>
            </a:extLst>
          </p:cNvPr>
          <p:cNvSpPr/>
          <p:nvPr/>
        </p:nvSpPr>
        <p:spPr>
          <a:xfrm>
            <a:off x="4742944" y="4705288"/>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7" name="Rechteck 36">
            <a:extLst>
              <a:ext uri="{FF2B5EF4-FFF2-40B4-BE49-F238E27FC236}">
                <a16:creationId xmlns:a16="http://schemas.microsoft.com/office/drawing/2014/main" xmlns="" id="{3DF52B25-0CC0-4E5E-9304-2BBAE5AEC643}"/>
              </a:ext>
            </a:extLst>
          </p:cNvPr>
          <p:cNvSpPr/>
          <p:nvPr/>
        </p:nvSpPr>
        <p:spPr>
          <a:xfrm>
            <a:off x="4921314" y="4667765"/>
            <a:ext cx="543627" cy="10565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3" name="Textfeld 32">
            <a:extLst>
              <a:ext uri="{FF2B5EF4-FFF2-40B4-BE49-F238E27FC236}">
                <a16:creationId xmlns:a16="http://schemas.microsoft.com/office/drawing/2014/main" xmlns="" id="{68CFAADF-D15C-4C72-82ED-12DD33C4F858}"/>
              </a:ext>
            </a:extLst>
          </p:cNvPr>
          <p:cNvSpPr txBox="1"/>
          <p:nvPr/>
        </p:nvSpPr>
        <p:spPr>
          <a:xfrm>
            <a:off x="4783202" y="4604144"/>
            <a:ext cx="815008" cy="338554"/>
          </a:xfrm>
          <a:prstGeom prst="rect">
            <a:avLst/>
          </a:prstGeom>
          <a:noFill/>
        </p:spPr>
        <p:txBody>
          <a:bodyPr wrap="square" rtlCol="0">
            <a:spAutoFit/>
          </a:bodyPr>
          <a:lstStyle/>
          <a:p>
            <a:r>
              <a:rPr lang="de-DE" sz="800" dirty="0"/>
              <a:t>Pfaffenhofen </a:t>
            </a:r>
            <a:r>
              <a:rPr lang="de-DE" sz="800" dirty="0" err="1"/>
              <a:t>a.d.</a:t>
            </a:r>
            <a:r>
              <a:rPr lang="de-DE" sz="800" dirty="0"/>
              <a:t> Ilm</a:t>
            </a:r>
          </a:p>
        </p:txBody>
      </p:sp>
      <p:sp>
        <p:nvSpPr>
          <p:cNvPr id="36" name="Rechteck 35">
            <a:extLst>
              <a:ext uri="{FF2B5EF4-FFF2-40B4-BE49-F238E27FC236}">
                <a16:creationId xmlns:a16="http://schemas.microsoft.com/office/drawing/2014/main" xmlns="" id="{6F9E45B9-2481-460A-AE70-15676314D6FF}"/>
              </a:ext>
            </a:extLst>
          </p:cNvPr>
          <p:cNvSpPr/>
          <p:nvPr/>
        </p:nvSpPr>
        <p:spPr>
          <a:xfrm>
            <a:off x="3378026" y="3492661"/>
            <a:ext cx="639377" cy="24006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4" name="Ellipse 33">
            <a:extLst>
              <a:ext uri="{FF2B5EF4-FFF2-40B4-BE49-F238E27FC236}">
                <a16:creationId xmlns:a16="http://schemas.microsoft.com/office/drawing/2014/main" xmlns="" id="{24743F14-034C-498D-92FE-E59A0576EF81}"/>
              </a:ext>
            </a:extLst>
          </p:cNvPr>
          <p:cNvSpPr/>
          <p:nvPr/>
        </p:nvSpPr>
        <p:spPr>
          <a:xfrm>
            <a:off x="3378026" y="3555707"/>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5" name="Textfeld 34">
            <a:extLst>
              <a:ext uri="{FF2B5EF4-FFF2-40B4-BE49-F238E27FC236}">
                <a16:creationId xmlns:a16="http://schemas.microsoft.com/office/drawing/2014/main" xmlns="" id="{9E892207-A314-476F-B9EA-F24FF22D3DBF}"/>
              </a:ext>
            </a:extLst>
          </p:cNvPr>
          <p:cNvSpPr txBox="1"/>
          <p:nvPr/>
        </p:nvSpPr>
        <p:spPr>
          <a:xfrm>
            <a:off x="3419872" y="3434202"/>
            <a:ext cx="743000" cy="338554"/>
          </a:xfrm>
          <a:prstGeom prst="rect">
            <a:avLst/>
          </a:prstGeom>
          <a:noFill/>
        </p:spPr>
        <p:txBody>
          <a:bodyPr wrap="square" rtlCol="0">
            <a:spAutoFit/>
          </a:bodyPr>
          <a:lstStyle/>
          <a:p>
            <a:r>
              <a:rPr lang="de-DE" sz="800" dirty="0"/>
              <a:t>Monheim/ Langenfeld</a:t>
            </a:r>
          </a:p>
        </p:txBody>
      </p:sp>
      <p:sp>
        <p:nvSpPr>
          <p:cNvPr id="38" name="Rechteck 37">
            <a:extLst>
              <a:ext uri="{FF2B5EF4-FFF2-40B4-BE49-F238E27FC236}">
                <a16:creationId xmlns:a16="http://schemas.microsoft.com/office/drawing/2014/main" xmlns="" id="{50F8135C-7E54-40DE-AD8B-32FB3EC77E9B}"/>
              </a:ext>
            </a:extLst>
          </p:cNvPr>
          <p:cNvSpPr/>
          <p:nvPr/>
        </p:nvSpPr>
        <p:spPr>
          <a:xfrm>
            <a:off x="4009305" y="4667765"/>
            <a:ext cx="359947" cy="15182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39" name="Ellipse 38">
            <a:extLst>
              <a:ext uri="{FF2B5EF4-FFF2-40B4-BE49-F238E27FC236}">
                <a16:creationId xmlns:a16="http://schemas.microsoft.com/office/drawing/2014/main" xmlns="" id="{1526828D-1D30-4A3C-B64F-00ED40D9E921}"/>
              </a:ext>
            </a:extLst>
          </p:cNvPr>
          <p:cNvSpPr/>
          <p:nvPr/>
        </p:nvSpPr>
        <p:spPr>
          <a:xfrm>
            <a:off x="4009305" y="4730811"/>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0" name="Textfeld 39">
            <a:extLst>
              <a:ext uri="{FF2B5EF4-FFF2-40B4-BE49-F238E27FC236}">
                <a16:creationId xmlns:a16="http://schemas.microsoft.com/office/drawing/2014/main" xmlns="" id="{A2CAE153-2BCC-4A4C-829D-8F4DE34E1F01}"/>
              </a:ext>
            </a:extLst>
          </p:cNvPr>
          <p:cNvSpPr txBox="1"/>
          <p:nvPr/>
        </p:nvSpPr>
        <p:spPr>
          <a:xfrm>
            <a:off x="4031194" y="4610888"/>
            <a:ext cx="743000" cy="215444"/>
          </a:xfrm>
          <a:prstGeom prst="rect">
            <a:avLst/>
          </a:prstGeom>
          <a:noFill/>
        </p:spPr>
        <p:txBody>
          <a:bodyPr wrap="square" rtlCol="0">
            <a:spAutoFit/>
          </a:bodyPr>
          <a:lstStyle/>
          <a:p>
            <a:r>
              <a:rPr lang="de-DE" sz="800" dirty="0"/>
              <a:t>Tübingen</a:t>
            </a:r>
          </a:p>
        </p:txBody>
      </p:sp>
      <p:sp>
        <p:nvSpPr>
          <p:cNvPr id="41" name="Rechteck 40">
            <a:extLst>
              <a:ext uri="{FF2B5EF4-FFF2-40B4-BE49-F238E27FC236}">
                <a16:creationId xmlns:a16="http://schemas.microsoft.com/office/drawing/2014/main" xmlns="" id="{1B445C1C-A9FC-4DE3-9D0D-9C8BB46F4559}"/>
              </a:ext>
            </a:extLst>
          </p:cNvPr>
          <p:cNvSpPr/>
          <p:nvPr/>
        </p:nvSpPr>
        <p:spPr>
          <a:xfrm>
            <a:off x="5166255" y="4467225"/>
            <a:ext cx="139169" cy="8572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2" name="Ellipse 41">
            <a:extLst>
              <a:ext uri="{FF2B5EF4-FFF2-40B4-BE49-F238E27FC236}">
                <a16:creationId xmlns:a16="http://schemas.microsoft.com/office/drawing/2014/main" xmlns="" id="{8B029E42-1C68-413B-935D-6E74D578A372}"/>
              </a:ext>
            </a:extLst>
          </p:cNvPr>
          <p:cNvSpPr/>
          <p:nvPr/>
        </p:nvSpPr>
        <p:spPr>
          <a:xfrm>
            <a:off x="5166255" y="4498083"/>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4" name="Rechteck 43">
            <a:extLst>
              <a:ext uri="{FF2B5EF4-FFF2-40B4-BE49-F238E27FC236}">
                <a16:creationId xmlns:a16="http://schemas.microsoft.com/office/drawing/2014/main" xmlns="" id="{5D3DA5C9-50E5-4D8F-93A9-15088647CE02}"/>
              </a:ext>
            </a:extLst>
          </p:cNvPr>
          <p:cNvSpPr/>
          <p:nvPr/>
        </p:nvSpPr>
        <p:spPr>
          <a:xfrm>
            <a:off x="5300213" y="4443746"/>
            <a:ext cx="297997" cy="85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3" name="Textfeld 42">
            <a:extLst>
              <a:ext uri="{FF2B5EF4-FFF2-40B4-BE49-F238E27FC236}">
                <a16:creationId xmlns:a16="http://schemas.microsoft.com/office/drawing/2014/main" xmlns="" id="{3DDB990A-660E-410A-8D7A-59FBB332568D}"/>
              </a:ext>
            </a:extLst>
          </p:cNvPr>
          <p:cNvSpPr txBox="1"/>
          <p:nvPr/>
        </p:nvSpPr>
        <p:spPr>
          <a:xfrm>
            <a:off x="5179314" y="4377048"/>
            <a:ext cx="743000" cy="215444"/>
          </a:xfrm>
          <a:prstGeom prst="rect">
            <a:avLst/>
          </a:prstGeom>
          <a:noFill/>
        </p:spPr>
        <p:txBody>
          <a:bodyPr wrap="square" rtlCol="0">
            <a:spAutoFit/>
          </a:bodyPr>
          <a:lstStyle/>
          <a:p>
            <a:r>
              <a:rPr lang="de-DE" sz="800" dirty="0"/>
              <a:t>Viechtach</a:t>
            </a:r>
          </a:p>
        </p:txBody>
      </p:sp>
      <p:sp>
        <p:nvSpPr>
          <p:cNvPr id="45" name="Rechteck 44">
            <a:extLst>
              <a:ext uri="{FF2B5EF4-FFF2-40B4-BE49-F238E27FC236}">
                <a16:creationId xmlns:a16="http://schemas.microsoft.com/office/drawing/2014/main" xmlns="" id="{2C066688-E356-472F-B146-66C789EEF6FC}"/>
              </a:ext>
            </a:extLst>
          </p:cNvPr>
          <p:cNvSpPr/>
          <p:nvPr/>
        </p:nvSpPr>
        <p:spPr>
          <a:xfrm>
            <a:off x="5513816" y="3303062"/>
            <a:ext cx="282319" cy="17701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6" name="Ellipse 45">
            <a:extLst>
              <a:ext uri="{FF2B5EF4-FFF2-40B4-BE49-F238E27FC236}">
                <a16:creationId xmlns:a16="http://schemas.microsoft.com/office/drawing/2014/main" xmlns="" id="{9B9C1A61-4A60-4033-84D4-4F955D488821}"/>
              </a:ext>
            </a:extLst>
          </p:cNvPr>
          <p:cNvSpPr/>
          <p:nvPr/>
        </p:nvSpPr>
        <p:spPr>
          <a:xfrm>
            <a:off x="5513816" y="3303062"/>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7" name="Rechteck 46">
            <a:extLst>
              <a:ext uri="{FF2B5EF4-FFF2-40B4-BE49-F238E27FC236}">
                <a16:creationId xmlns:a16="http://schemas.microsoft.com/office/drawing/2014/main" xmlns="" id="{0527EEBF-0552-4496-8308-BB276E4F058F}"/>
              </a:ext>
            </a:extLst>
          </p:cNvPr>
          <p:cNvSpPr/>
          <p:nvPr/>
        </p:nvSpPr>
        <p:spPr>
          <a:xfrm>
            <a:off x="5337597" y="2530875"/>
            <a:ext cx="224527" cy="144664"/>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9" name="Rechteck 48">
            <a:extLst>
              <a:ext uri="{FF2B5EF4-FFF2-40B4-BE49-F238E27FC236}">
                <a16:creationId xmlns:a16="http://schemas.microsoft.com/office/drawing/2014/main" xmlns="" id="{24D487F0-B9C4-4010-A752-B2025DC3DD34}"/>
              </a:ext>
            </a:extLst>
          </p:cNvPr>
          <p:cNvSpPr/>
          <p:nvPr/>
        </p:nvSpPr>
        <p:spPr>
          <a:xfrm>
            <a:off x="5337597" y="2530874"/>
            <a:ext cx="314523" cy="103691"/>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8" name="Ellipse 47">
            <a:extLst>
              <a:ext uri="{FF2B5EF4-FFF2-40B4-BE49-F238E27FC236}">
                <a16:creationId xmlns:a16="http://schemas.microsoft.com/office/drawing/2014/main" xmlns="" id="{36B77E90-4C57-43A4-8E27-03B53D9CBA51}"/>
              </a:ext>
            </a:extLst>
          </p:cNvPr>
          <p:cNvSpPr/>
          <p:nvPr/>
        </p:nvSpPr>
        <p:spPr>
          <a:xfrm>
            <a:off x="5337597" y="2554354"/>
            <a:ext cx="114300" cy="1143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50" name="Textfeld 49">
            <a:extLst>
              <a:ext uri="{FF2B5EF4-FFF2-40B4-BE49-F238E27FC236}">
                <a16:creationId xmlns:a16="http://schemas.microsoft.com/office/drawing/2014/main" xmlns="" id="{B9006577-8244-4CB8-87AB-2801F99FE7E5}"/>
              </a:ext>
            </a:extLst>
          </p:cNvPr>
          <p:cNvSpPr txBox="1"/>
          <p:nvPr/>
        </p:nvSpPr>
        <p:spPr>
          <a:xfrm>
            <a:off x="5366937" y="2451685"/>
            <a:ext cx="743000" cy="215444"/>
          </a:xfrm>
          <a:prstGeom prst="rect">
            <a:avLst/>
          </a:prstGeom>
          <a:noFill/>
        </p:spPr>
        <p:txBody>
          <a:bodyPr wrap="square" rtlCol="0">
            <a:spAutoFit/>
          </a:bodyPr>
          <a:lstStyle/>
          <a:p>
            <a:r>
              <a:rPr lang="de-DE" sz="800" dirty="0"/>
              <a:t>Templin</a:t>
            </a:r>
          </a:p>
        </p:txBody>
      </p:sp>
      <p:sp>
        <p:nvSpPr>
          <p:cNvPr id="51" name="Rechteck 50">
            <a:extLst>
              <a:ext uri="{FF2B5EF4-FFF2-40B4-BE49-F238E27FC236}">
                <a16:creationId xmlns:a16="http://schemas.microsoft.com/office/drawing/2014/main" xmlns="" id="{58ACB86D-F213-4E77-801F-720B27974B81}"/>
              </a:ext>
            </a:extLst>
          </p:cNvPr>
          <p:cNvSpPr/>
          <p:nvPr/>
        </p:nvSpPr>
        <p:spPr>
          <a:xfrm>
            <a:off x="5796135" y="3303062"/>
            <a:ext cx="296547" cy="95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53" name="Textfeld 52">
            <a:extLst>
              <a:ext uri="{FF2B5EF4-FFF2-40B4-BE49-F238E27FC236}">
                <a16:creationId xmlns:a16="http://schemas.microsoft.com/office/drawing/2014/main" xmlns="" id="{628B65C4-701F-412C-A000-04F1B2AA6331}"/>
              </a:ext>
            </a:extLst>
          </p:cNvPr>
          <p:cNvSpPr txBox="1"/>
          <p:nvPr/>
        </p:nvSpPr>
        <p:spPr>
          <a:xfrm>
            <a:off x="5553504" y="3213187"/>
            <a:ext cx="743000" cy="338554"/>
          </a:xfrm>
          <a:prstGeom prst="rect">
            <a:avLst/>
          </a:prstGeom>
          <a:noFill/>
        </p:spPr>
        <p:txBody>
          <a:bodyPr wrap="square" rtlCol="0">
            <a:spAutoFit/>
          </a:bodyPr>
          <a:lstStyle/>
          <a:p>
            <a:r>
              <a:rPr lang="de-DE" sz="800" dirty="0" err="1"/>
              <a:t>Senften</a:t>
            </a:r>
            <a:r>
              <a:rPr lang="de-DE" sz="800" dirty="0"/>
              <a:t>-berg</a:t>
            </a:r>
          </a:p>
        </p:txBody>
      </p:sp>
      <p:sp>
        <p:nvSpPr>
          <p:cNvPr id="52" name="Textfeld 51">
            <a:extLst>
              <a:ext uri="{FF2B5EF4-FFF2-40B4-BE49-F238E27FC236}">
                <a16:creationId xmlns:a16="http://schemas.microsoft.com/office/drawing/2014/main" xmlns="" id="{639C7FB2-EBF4-4D88-89D2-45F8AAE7E0B1}"/>
              </a:ext>
            </a:extLst>
          </p:cNvPr>
          <p:cNvSpPr txBox="1"/>
          <p:nvPr/>
        </p:nvSpPr>
        <p:spPr>
          <a:xfrm>
            <a:off x="3707904" y="5260558"/>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spTree>
    <p:extLst>
      <p:ext uri="{BB962C8B-B14F-4D97-AF65-F5344CB8AC3E}">
        <p14:creationId xmlns:p14="http://schemas.microsoft.com/office/powerpoint/2010/main" val="371186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641" name="think-cell Folie" r:id="rId6" imgW="270" imgH="270" progId="TCLayout.ActiveDocument.1">
                  <p:embed/>
                </p:oleObj>
              </mc:Choice>
              <mc:Fallback>
                <p:oleObj name="think-cell Folie" r:id="rId6" imgW="270" imgH="270" progId="TCLayout.ActiveDocument.1">
                  <p:embed/>
                  <p:pic>
                    <p:nvPicPr>
                      <p:cNvPr id="20" name="Objekt 1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xmlns="" id="{FFDC8F26-4899-42D9-8200-4AF26D5A851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defRPr/>
            </a:pPr>
            <a:endParaRPr kumimoji="0" lang="de-DE" sz="2200" b="1" u="none" strike="noStrike" kern="1200" cap="none" spc="0" normalizeH="0" noProof="0" dirty="0">
              <a:ln>
                <a:noFill/>
              </a:ln>
              <a:solidFill>
                <a:prstClr val="black"/>
              </a:solidFill>
              <a:effectLst/>
              <a:uLnTx/>
              <a:uFillTx/>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446996" y="281196"/>
            <a:ext cx="8301468" cy="648072"/>
          </a:xfrm>
        </p:spPr>
        <p:txBody>
          <a:bodyPr/>
          <a:lstStyle/>
          <a:p>
            <a:r>
              <a:rPr lang="de-DE" dirty="0"/>
              <a:t>In einigen größeren Verkehrsverbünden gab es zuletzt Nullrunden, bzw. sind Nullrunden geplant</a:t>
            </a:r>
          </a:p>
        </p:txBody>
      </p:sp>
      <p:sp>
        <p:nvSpPr>
          <p:cNvPr id="3" name="Inhaltsplatzhalter 2"/>
          <p:cNvSpPr>
            <a:spLocks noGrp="1"/>
          </p:cNvSpPr>
          <p:nvPr>
            <p:ph idx="1"/>
          </p:nvPr>
        </p:nvSpPr>
        <p:spPr/>
        <p:txBody>
          <a:bodyPr/>
          <a:lstStyle/>
          <a:p>
            <a:r>
              <a:rPr lang="de-DE" dirty="0"/>
              <a:t>Übersicht: Nullrunden bei Tarifanpassungen</a:t>
            </a:r>
          </a:p>
        </p:txBody>
      </p:sp>
      <p:sp>
        <p:nvSpPr>
          <p:cNvPr id="4" name="Foliennummernplatzhalter 3"/>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21EFEB-933F-4F46-A5AD-B6372944D9E5}" type="slidenum">
              <a:rPr kumimoji="0" lang="de-DE" sz="1600" b="0" i="0" u="none" strike="noStrike" kern="1200" cap="none" spc="0" normalizeH="0" baseline="0" noProof="0" smtClean="0">
                <a:ln>
                  <a:noFill/>
                </a:ln>
                <a:solidFill>
                  <a:srgbClr val="868889"/>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de-DE" sz="1600" b="0" i="0" u="none" strike="noStrike" kern="1200" cap="none" spc="0" normalizeH="0" baseline="0" noProof="0">
              <a:ln>
                <a:noFill/>
              </a:ln>
              <a:solidFill>
                <a:srgbClr val="868889"/>
              </a:solidFill>
              <a:effectLst/>
              <a:uLnTx/>
              <a:uFillTx/>
              <a:latin typeface="Arial"/>
              <a:ea typeface="+mn-ea"/>
              <a:cs typeface="+mn-cs"/>
            </a:endParaRPr>
          </a:p>
        </p:txBody>
      </p:sp>
      <p:grpSp>
        <p:nvGrpSpPr>
          <p:cNvPr id="23" name="Gruppieren 22">
            <a:extLst>
              <a:ext uri="{FF2B5EF4-FFF2-40B4-BE49-F238E27FC236}">
                <a16:creationId xmlns:a16="http://schemas.microsoft.com/office/drawing/2014/main" xmlns="" id="{9E9C33B2-3E65-43D4-8E63-8F00BFE136E1}"/>
              </a:ext>
            </a:extLst>
          </p:cNvPr>
          <p:cNvGrpSpPr/>
          <p:nvPr/>
        </p:nvGrpSpPr>
        <p:grpSpPr>
          <a:xfrm>
            <a:off x="539750" y="3115882"/>
            <a:ext cx="8208714" cy="543608"/>
            <a:chOff x="539750" y="3852981"/>
            <a:chExt cx="8208714" cy="543608"/>
          </a:xfrm>
        </p:grpSpPr>
        <p:sp>
          <p:nvSpPr>
            <p:cNvPr id="14" name="Inhaltsplatzhalter 2"/>
            <p:cNvSpPr txBox="1">
              <a:spLocks/>
            </p:cNvSpPr>
            <p:nvPr/>
          </p:nvSpPr>
          <p:spPr>
            <a:xfrm>
              <a:off x="2051721" y="3852981"/>
              <a:ext cx="6696743" cy="540000"/>
            </a:xfrm>
            <a:prstGeom prst="rect">
              <a:avLst/>
            </a:prstGeom>
            <a:no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Die letzte Tariferhöhung wurde </a:t>
              </a:r>
              <a:r>
                <a:rPr kumimoji="0" lang="de-DE" sz="1400" b="1" i="0" u="none" strike="noStrike" kern="1200" cap="none" spc="0" normalizeH="0" baseline="0" noProof="0" dirty="0">
                  <a:ln>
                    <a:noFill/>
                  </a:ln>
                  <a:solidFill>
                    <a:prstClr val="black"/>
                  </a:solidFill>
                  <a:effectLst/>
                  <a:uLnTx/>
                  <a:uFillTx/>
                  <a:latin typeface="Arial"/>
                  <a:ea typeface="+mn-ea"/>
                  <a:cs typeface="+mn-cs"/>
                </a:rPr>
                <a:t>Ende 2017</a:t>
              </a:r>
              <a:r>
                <a:rPr kumimoji="0" lang="de-DE" sz="1400" b="0" i="0" u="none" strike="noStrike" kern="1200" cap="none" spc="0" normalizeH="0" baseline="0" noProof="0" dirty="0">
                  <a:ln>
                    <a:noFill/>
                  </a:ln>
                  <a:solidFill>
                    <a:prstClr val="black"/>
                  </a:solidFill>
                  <a:effectLst/>
                  <a:uLnTx/>
                  <a:uFillTx/>
                  <a:latin typeface="Arial"/>
                  <a:ea typeface="+mn-ea"/>
                  <a:cs typeface="+mn-cs"/>
                </a:rPr>
                <a:t> vorgenommen</a:t>
              </a:r>
            </a:p>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lang="de-DE" sz="1400" dirty="0">
                  <a:solidFill>
                    <a:prstClr val="black"/>
                  </a:solidFill>
                  <a:latin typeface="Arial"/>
                </a:rPr>
                <a:t>Im Rahmen der</a:t>
              </a:r>
              <a:r>
                <a:rPr kumimoji="0" lang="de-DE" sz="1400" b="0" i="0" u="none" strike="noStrike" kern="1200" cap="none" spc="0" normalizeH="0" baseline="0" noProof="0" dirty="0">
                  <a:ln>
                    <a:noFill/>
                  </a:ln>
                  <a:solidFill>
                    <a:prstClr val="black"/>
                  </a:solidFill>
                  <a:effectLst/>
                  <a:uLnTx/>
                  <a:uFillTx/>
                  <a:latin typeface="Arial"/>
                  <a:ea typeface="+mn-ea"/>
                  <a:cs typeface="+mn-cs"/>
                </a:rPr>
                <a:t> </a:t>
              </a:r>
              <a:r>
                <a:rPr lang="de-DE" sz="1400" dirty="0">
                  <a:solidFill>
                    <a:prstClr val="black"/>
                  </a:solidFill>
                  <a:latin typeface="Arial"/>
                </a:rPr>
                <a:t>Tarifreform wird der Tarif am </a:t>
              </a:r>
              <a:r>
                <a:rPr lang="de-DE" sz="1400" b="1" dirty="0">
                  <a:solidFill>
                    <a:prstClr val="black"/>
                  </a:solidFill>
                  <a:latin typeface="Arial"/>
                </a:rPr>
                <a:t>15.12.2019</a:t>
              </a:r>
              <a:r>
                <a:rPr lang="de-DE" sz="1400" dirty="0">
                  <a:solidFill>
                    <a:prstClr val="black"/>
                  </a:solidFill>
                  <a:latin typeface="Arial"/>
                </a:rPr>
                <a:t> angepasst</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9" name="Gruppieren 8">
              <a:extLst>
                <a:ext uri="{FF2B5EF4-FFF2-40B4-BE49-F238E27FC236}">
                  <a16:creationId xmlns:a16="http://schemas.microsoft.com/office/drawing/2014/main" xmlns="" id="{33A2EE01-D459-40C4-A862-CA0171E013F6}"/>
                </a:ext>
              </a:extLst>
            </p:cNvPr>
            <p:cNvGrpSpPr/>
            <p:nvPr/>
          </p:nvGrpSpPr>
          <p:grpSpPr>
            <a:xfrm>
              <a:off x="539750" y="3856589"/>
              <a:ext cx="1511971" cy="540000"/>
              <a:chOff x="539750" y="3857710"/>
              <a:chExt cx="1511971" cy="540000"/>
            </a:xfrm>
          </p:grpSpPr>
          <p:sp>
            <p:nvSpPr>
              <p:cNvPr id="47" name="Inhaltsplatzhalter 2">
                <a:extLst>
                  <a:ext uri="{FF2B5EF4-FFF2-40B4-BE49-F238E27FC236}">
                    <a16:creationId xmlns:a16="http://schemas.microsoft.com/office/drawing/2014/main" xmlns="" id="{2F4A652F-FED2-4553-9299-48A31C4CD9E2}"/>
                  </a:ext>
                </a:extLst>
              </p:cNvPr>
              <p:cNvSpPr txBox="1">
                <a:spLocks/>
              </p:cNvSpPr>
              <p:nvPr/>
            </p:nvSpPr>
            <p:spPr>
              <a:xfrm>
                <a:off x="539750" y="3857710"/>
                <a:ext cx="1511971" cy="540000"/>
              </a:xfrm>
              <a:prstGeom prst="rect">
                <a:avLst/>
              </a:prstGeom>
              <a:solidFill>
                <a:schemeClr val="accent5">
                  <a:lumMod val="40000"/>
                  <a:lumOff val="60000"/>
                </a:schemeClr>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0" marR="0" lvl="1" indent="-184150" algn="l" defTabSz="914400" rtl="0" eaLnBrk="1" fontAlgn="auto" latinLnBrk="0" hangingPunct="1">
                  <a:lnSpc>
                    <a:spcPct val="100000"/>
                  </a:lnSpc>
                  <a:spcBef>
                    <a:spcPts val="20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pic>
            <p:nvPicPr>
              <p:cNvPr id="28" name="Bild 11" descr="MVV1_4c_ohne_schatten.png">
                <a:extLst>
                  <a:ext uri="{FF2B5EF4-FFF2-40B4-BE49-F238E27FC236}">
                    <a16:creationId xmlns:a16="http://schemas.microsoft.com/office/drawing/2014/main" xmlns="" id="{126974BF-B75A-4674-BF05-74DFDDDC19D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87323" y="3893607"/>
                <a:ext cx="616825" cy="450819"/>
              </a:xfrm>
              <a:prstGeom prst="rect">
                <a:avLst/>
              </a:prstGeom>
            </p:spPr>
          </p:pic>
        </p:grpSp>
      </p:grpSp>
      <p:grpSp>
        <p:nvGrpSpPr>
          <p:cNvPr id="38" name="Gruppieren 37">
            <a:extLst>
              <a:ext uri="{FF2B5EF4-FFF2-40B4-BE49-F238E27FC236}">
                <a16:creationId xmlns:a16="http://schemas.microsoft.com/office/drawing/2014/main" xmlns="" id="{E16F1C1E-3C30-4756-A09E-A6BD546FF342}"/>
              </a:ext>
            </a:extLst>
          </p:cNvPr>
          <p:cNvGrpSpPr/>
          <p:nvPr/>
        </p:nvGrpSpPr>
        <p:grpSpPr>
          <a:xfrm>
            <a:off x="539750" y="1624060"/>
            <a:ext cx="8208714" cy="541825"/>
            <a:chOff x="539750" y="1624060"/>
            <a:chExt cx="8208714" cy="541825"/>
          </a:xfrm>
        </p:grpSpPr>
        <p:grpSp>
          <p:nvGrpSpPr>
            <p:cNvPr id="8" name="Gruppieren 7">
              <a:extLst>
                <a:ext uri="{FF2B5EF4-FFF2-40B4-BE49-F238E27FC236}">
                  <a16:creationId xmlns:a16="http://schemas.microsoft.com/office/drawing/2014/main" xmlns="" id="{E49AFEF1-8B4E-415D-AFF0-FA262F5E9DF3}"/>
                </a:ext>
              </a:extLst>
            </p:cNvPr>
            <p:cNvGrpSpPr/>
            <p:nvPr/>
          </p:nvGrpSpPr>
          <p:grpSpPr>
            <a:xfrm>
              <a:off x="539750" y="1624060"/>
              <a:ext cx="8208714" cy="541825"/>
              <a:chOff x="539750" y="1624060"/>
              <a:chExt cx="8208714" cy="541825"/>
            </a:xfrm>
          </p:grpSpPr>
          <p:sp>
            <p:nvSpPr>
              <p:cNvPr id="10" name="Inhaltsplatzhalter 2"/>
              <p:cNvSpPr txBox="1">
                <a:spLocks/>
              </p:cNvSpPr>
              <p:nvPr/>
            </p:nvSpPr>
            <p:spPr>
              <a:xfrm>
                <a:off x="2051721" y="1625885"/>
                <a:ext cx="6696743" cy="540000"/>
              </a:xfrm>
              <a:prstGeom prst="rect">
                <a:avLst/>
              </a:prstGeom>
              <a:no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1" i="0" u="none" strike="noStrike" kern="1200" cap="none" spc="0" normalizeH="0" baseline="0" noProof="0" dirty="0">
                    <a:ln>
                      <a:noFill/>
                    </a:ln>
                    <a:solidFill>
                      <a:prstClr val="black"/>
                    </a:solidFill>
                    <a:effectLst/>
                    <a:uLnTx/>
                    <a:uFillTx/>
                    <a:latin typeface="Arial"/>
                    <a:ea typeface="+mn-ea"/>
                    <a:cs typeface="+mn-cs"/>
                  </a:rPr>
                  <a:t>Nullrunden in 2018 und 2019 </a:t>
                </a:r>
                <a:r>
                  <a:rPr kumimoji="0" lang="de-DE" sz="1400" b="0" i="0" u="none" strike="noStrike" kern="1200" cap="none" spc="0" normalizeH="0" baseline="0" noProof="0" dirty="0">
                    <a:ln>
                      <a:noFill/>
                    </a:ln>
                    <a:solidFill>
                      <a:prstClr val="black"/>
                    </a:solidFill>
                    <a:effectLst/>
                    <a:uLnTx/>
                    <a:uFillTx/>
                    <a:latin typeface="Arial"/>
                    <a:ea typeface="+mn-ea"/>
                    <a:cs typeface="+mn-cs"/>
                  </a:rPr>
                  <a:t>(2017 +0,56%, 2020 +3,3%)</a:t>
                </a:r>
              </a:p>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Die nächste Erhöhung ist bei der Tarifanpassung zum </a:t>
                </a:r>
                <a:r>
                  <a:rPr kumimoji="0" lang="de-DE" sz="1400" i="0" u="none" strike="noStrike" kern="1200" cap="none" spc="0" normalizeH="0" baseline="0" noProof="0" dirty="0">
                    <a:ln>
                      <a:noFill/>
                    </a:ln>
                    <a:solidFill>
                      <a:prstClr val="black"/>
                    </a:solidFill>
                    <a:effectLst/>
                    <a:uLnTx/>
                    <a:uFillTx/>
                    <a:latin typeface="Arial"/>
                    <a:ea typeface="+mn-ea"/>
                    <a:cs typeface="+mn-cs"/>
                  </a:rPr>
                  <a:t>01.01.2020 geplant </a:t>
                </a:r>
              </a:p>
            </p:txBody>
          </p:sp>
          <p:sp>
            <p:nvSpPr>
              <p:cNvPr id="50" name="Inhaltsplatzhalter 2">
                <a:extLst>
                  <a:ext uri="{FF2B5EF4-FFF2-40B4-BE49-F238E27FC236}">
                    <a16:creationId xmlns:a16="http://schemas.microsoft.com/office/drawing/2014/main" xmlns="" id="{8FA08D77-CB64-4799-8890-78DBAB48A619}"/>
                  </a:ext>
                </a:extLst>
              </p:cNvPr>
              <p:cNvSpPr txBox="1">
                <a:spLocks/>
              </p:cNvSpPr>
              <p:nvPr/>
            </p:nvSpPr>
            <p:spPr>
              <a:xfrm>
                <a:off x="539750" y="1624060"/>
                <a:ext cx="1511971" cy="540000"/>
              </a:xfrm>
              <a:prstGeom prst="rect">
                <a:avLst/>
              </a:prstGeom>
              <a:solidFill>
                <a:schemeClr val="accent5">
                  <a:lumMod val="40000"/>
                  <a:lumOff val="60000"/>
                </a:schemeClr>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0" marR="0" lvl="1" indent="-184150" algn="l" defTabSz="914400" rtl="0" eaLnBrk="1" fontAlgn="auto" latinLnBrk="0" hangingPunct="1">
                  <a:lnSpc>
                    <a:spcPct val="100000"/>
                  </a:lnSpc>
                  <a:spcBef>
                    <a:spcPts val="20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grpSp>
        <p:pic>
          <p:nvPicPr>
            <p:cNvPr id="6" name="Grafik 5">
              <a:extLst>
                <a:ext uri="{FF2B5EF4-FFF2-40B4-BE49-F238E27FC236}">
                  <a16:creationId xmlns:a16="http://schemas.microsoft.com/office/drawing/2014/main" xmlns="" id="{DA312CBD-D6E8-462F-B481-208EF8C9F989}"/>
                </a:ext>
              </a:extLst>
            </p:cNvPr>
            <p:cNvPicPr>
              <a:picLocks noChangeAspect="1"/>
            </p:cNvPicPr>
            <p:nvPr/>
          </p:nvPicPr>
          <p:blipFill>
            <a:blip r:embed="rId9"/>
            <a:stretch>
              <a:fillRect/>
            </a:stretch>
          </p:blipFill>
          <p:spPr>
            <a:xfrm>
              <a:off x="795561" y="1717710"/>
              <a:ext cx="1000348" cy="355554"/>
            </a:xfrm>
            <a:prstGeom prst="rect">
              <a:avLst/>
            </a:prstGeom>
          </p:spPr>
        </p:pic>
      </p:grpSp>
      <p:grpSp>
        <p:nvGrpSpPr>
          <p:cNvPr id="37" name="Gruppieren 36">
            <a:extLst>
              <a:ext uri="{FF2B5EF4-FFF2-40B4-BE49-F238E27FC236}">
                <a16:creationId xmlns:a16="http://schemas.microsoft.com/office/drawing/2014/main" xmlns="" id="{0FB51321-404C-418E-B206-939F42AB6D52}"/>
              </a:ext>
            </a:extLst>
          </p:cNvPr>
          <p:cNvGrpSpPr/>
          <p:nvPr/>
        </p:nvGrpSpPr>
        <p:grpSpPr>
          <a:xfrm>
            <a:off x="539750" y="2370006"/>
            <a:ext cx="8208714" cy="541755"/>
            <a:chOff x="539750" y="2318190"/>
            <a:chExt cx="8208714" cy="541755"/>
          </a:xfrm>
        </p:grpSpPr>
        <p:grpSp>
          <p:nvGrpSpPr>
            <p:cNvPr id="18" name="Gruppieren 17">
              <a:extLst>
                <a:ext uri="{FF2B5EF4-FFF2-40B4-BE49-F238E27FC236}">
                  <a16:creationId xmlns:a16="http://schemas.microsoft.com/office/drawing/2014/main" xmlns="" id="{6D1A0F4E-ED2D-4F39-AD6F-CCFE3CFD93C1}"/>
                </a:ext>
              </a:extLst>
            </p:cNvPr>
            <p:cNvGrpSpPr/>
            <p:nvPr/>
          </p:nvGrpSpPr>
          <p:grpSpPr>
            <a:xfrm>
              <a:off x="539750" y="2318190"/>
              <a:ext cx="8208714" cy="541755"/>
              <a:chOff x="539750" y="2392427"/>
              <a:chExt cx="8208714" cy="541755"/>
            </a:xfrm>
          </p:grpSpPr>
          <p:sp>
            <p:nvSpPr>
              <p:cNvPr id="11" name="Inhaltsplatzhalter 2"/>
              <p:cNvSpPr txBox="1">
                <a:spLocks/>
              </p:cNvSpPr>
              <p:nvPr/>
            </p:nvSpPr>
            <p:spPr>
              <a:xfrm>
                <a:off x="2051721" y="2394182"/>
                <a:ext cx="6696743" cy="540000"/>
              </a:xfrm>
              <a:prstGeom prst="rect">
                <a:avLst/>
              </a:prstGeom>
              <a:no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lang="de-DE" sz="1400" dirty="0">
                    <a:solidFill>
                      <a:prstClr val="black"/>
                    </a:solidFill>
                    <a:latin typeface="Arial"/>
                  </a:rPr>
                  <a:t>Zuletzt wurde der Tarif am </a:t>
                </a:r>
                <a:r>
                  <a:rPr lang="de-DE" sz="1400" b="1" dirty="0">
                    <a:solidFill>
                      <a:prstClr val="black"/>
                    </a:solidFill>
                    <a:latin typeface="Arial"/>
                  </a:rPr>
                  <a:t>01.01.2019</a:t>
                </a:r>
                <a:r>
                  <a:rPr lang="de-DE" sz="1400" dirty="0">
                    <a:solidFill>
                      <a:prstClr val="black"/>
                    </a:solidFill>
                    <a:latin typeface="Arial"/>
                  </a:rPr>
                  <a:t> erhöht</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Für den kommenden Jahreswechsel ist </a:t>
                </a:r>
                <a:r>
                  <a:rPr kumimoji="0" lang="de-DE" sz="1400" b="1" i="0" u="none" strike="noStrike" kern="1200" cap="none" spc="0" normalizeH="0" baseline="0" noProof="0" dirty="0">
                    <a:ln>
                      <a:noFill/>
                    </a:ln>
                    <a:solidFill>
                      <a:prstClr val="black"/>
                    </a:solidFill>
                    <a:effectLst/>
                    <a:uLnTx/>
                    <a:uFillTx/>
                    <a:latin typeface="Arial"/>
                    <a:ea typeface="+mn-ea"/>
                    <a:cs typeface="+mn-cs"/>
                  </a:rPr>
                  <a:t>keine Anpassung geplant</a:t>
                </a:r>
              </a:p>
            </p:txBody>
          </p:sp>
          <p:sp>
            <p:nvSpPr>
              <p:cNvPr id="49" name="Inhaltsplatzhalter 2">
                <a:extLst>
                  <a:ext uri="{FF2B5EF4-FFF2-40B4-BE49-F238E27FC236}">
                    <a16:creationId xmlns:a16="http://schemas.microsoft.com/office/drawing/2014/main" xmlns="" id="{0654D7C7-430E-446D-B9DE-269E347D596A}"/>
                  </a:ext>
                </a:extLst>
              </p:cNvPr>
              <p:cNvSpPr txBox="1">
                <a:spLocks/>
              </p:cNvSpPr>
              <p:nvPr/>
            </p:nvSpPr>
            <p:spPr>
              <a:xfrm>
                <a:off x="539750" y="2392427"/>
                <a:ext cx="1511971" cy="540000"/>
              </a:xfrm>
              <a:prstGeom prst="rect">
                <a:avLst/>
              </a:prstGeom>
              <a:solidFill>
                <a:schemeClr val="accent5">
                  <a:lumMod val="40000"/>
                  <a:lumOff val="60000"/>
                </a:schemeClr>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0" marR="0" lvl="1" indent="-184150" algn="l" defTabSz="914400" rtl="0" eaLnBrk="1" fontAlgn="auto" latinLnBrk="0" hangingPunct="1">
                  <a:lnSpc>
                    <a:spcPct val="100000"/>
                  </a:lnSpc>
                  <a:spcBef>
                    <a:spcPts val="20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grpSp>
        <p:pic>
          <p:nvPicPr>
            <p:cNvPr id="13" name="Grafik 12">
              <a:extLst>
                <a:ext uri="{FF2B5EF4-FFF2-40B4-BE49-F238E27FC236}">
                  <a16:creationId xmlns:a16="http://schemas.microsoft.com/office/drawing/2014/main" xmlns="" id="{90D03649-A9EA-4BC3-AB1A-3DFB1A3F7CBA}"/>
                </a:ext>
              </a:extLst>
            </p:cNvPr>
            <p:cNvPicPr>
              <a:picLocks noChangeAspect="1"/>
            </p:cNvPicPr>
            <p:nvPr/>
          </p:nvPicPr>
          <p:blipFill>
            <a:blip r:embed="rId10"/>
            <a:stretch>
              <a:fillRect/>
            </a:stretch>
          </p:blipFill>
          <p:spPr>
            <a:xfrm>
              <a:off x="850851" y="2373702"/>
              <a:ext cx="889770" cy="431708"/>
            </a:xfrm>
            <a:prstGeom prst="rect">
              <a:avLst/>
            </a:prstGeom>
          </p:spPr>
        </p:pic>
      </p:grpSp>
      <p:grpSp>
        <p:nvGrpSpPr>
          <p:cNvPr id="36" name="Gruppieren 35">
            <a:extLst>
              <a:ext uri="{FF2B5EF4-FFF2-40B4-BE49-F238E27FC236}">
                <a16:creationId xmlns:a16="http://schemas.microsoft.com/office/drawing/2014/main" xmlns="" id="{AE6C557C-E7FC-44E1-94B4-612D90CA2FC6}"/>
              </a:ext>
            </a:extLst>
          </p:cNvPr>
          <p:cNvGrpSpPr/>
          <p:nvPr/>
        </p:nvGrpSpPr>
        <p:grpSpPr>
          <a:xfrm>
            <a:off x="539750" y="3863611"/>
            <a:ext cx="8208714" cy="540000"/>
            <a:chOff x="539750" y="3708163"/>
            <a:chExt cx="8208714" cy="540000"/>
          </a:xfrm>
        </p:grpSpPr>
        <p:grpSp>
          <p:nvGrpSpPr>
            <p:cNvPr id="24" name="Gruppieren 23">
              <a:extLst>
                <a:ext uri="{FF2B5EF4-FFF2-40B4-BE49-F238E27FC236}">
                  <a16:creationId xmlns:a16="http://schemas.microsoft.com/office/drawing/2014/main" xmlns="" id="{9FE10F02-E306-4C9A-87EB-53D50862264F}"/>
                </a:ext>
              </a:extLst>
            </p:cNvPr>
            <p:cNvGrpSpPr/>
            <p:nvPr/>
          </p:nvGrpSpPr>
          <p:grpSpPr>
            <a:xfrm>
              <a:off x="539750" y="3708163"/>
              <a:ext cx="8208714" cy="540000"/>
              <a:chOff x="539750" y="4588670"/>
              <a:chExt cx="8208714" cy="540000"/>
            </a:xfrm>
          </p:grpSpPr>
          <p:sp>
            <p:nvSpPr>
              <p:cNvPr id="22" name="Inhaltsplatzhalter 2">
                <a:extLst>
                  <a:ext uri="{FF2B5EF4-FFF2-40B4-BE49-F238E27FC236}">
                    <a16:creationId xmlns:a16="http://schemas.microsoft.com/office/drawing/2014/main" xmlns="" id="{7FBF2B1F-FEE8-423B-9753-A5D28762840E}"/>
                  </a:ext>
                </a:extLst>
              </p:cNvPr>
              <p:cNvSpPr txBox="1">
                <a:spLocks/>
              </p:cNvSpPr>
              <p:nvPr/>
            </p:nvSpPr>
            <p:spPr>
              <a:xfrm>
                <a:off x="2051721" y="4588670"/>
                <a:ext cx="6696743" cy="540000"/>
              </a:xfrm>
              <a:prstGeom prst="rect">
                <a:avLst/>
              </a:prstGeom>
              <a:no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Am </a:t>
                </a:r>
                <a:r>
                  <a:rPr kumimoji="0" lang="de-DE" sz="1400" b="1" i="0" u="none" strike="noStrike" kern="1200" cap="none" spc="0" normalizeH="0" baseline="0" noProof="0" dirty="0">
                    <a:ln>
                      <a:noFill/>
                    </a:ln>
                    <a:solidFill>
                      <a:prstClr val="black"/>
                    </a:solidFill>
                    <a:effectLst/>
                    <a:uLnTx/>
                    <a:uFillTx/>
                    <a:latin typeface="Arial"/>
                    <a:ea typeface="+mn-ea"/>
                    <a:cs typeface="+mn-cs"/>
                  </a:rPr>
                  <a:t>01.08.2018</a:t>
                </a:r>
                <a:r>
                  <a:rPr kumimoji="0" lang="de-DE" sz="1400" b="0" i="0" u="none" strike="noStrike" kern="1200" cap="none" spc="0" normalizeH="0" baseline="0" noProof="0" dirty="0">
                    <a:ln>
                      <a:noFill/>
                    </a:ln>
                    <a:solidFill>
                      <a:prstClr val="black"/>
                    </a:solidFill>
                    <a:effectLst/>
                    <a:uLnTx/>
                    <a:uFillTx/>
                    <a:latin typeface="Arial"/>
                    <a:ea typeface="+mn-ea"/>
                    <a:cs typeface="+mn-cs"/>
                  </a:rPr>
                  <a:t> wurde der VMS-Tarif </a:t>
                </a:r>
                <a:r>
                  <a:rPr lang="de-DE" sz="1400" dirty="0">
                    <a:solidFill>
                      <a:prstClr val="black"/>
                    </a:solidFill>
                    <a:latin typeface="Arial"/>
                  </a:rPr>
                  <a:t>erhöht, in 2019 gab es keine Anpassung</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lang="de-DE" sz="1400" dirty="0">
                    <a:solidFill>
                      <a:prstClr val="black"/>
                    </a:solidFill>
                    <a:latin typeface="Arial"/>
                  </a:rPr>
                  <a:t>Voraussichtlich wird es </a:t>
                </a:r>
                <a:r>
                  <a:rPr lang="de-DE" sz="1400" b="1" dirty="0">
                    <a:solidFill>
                      <a:prstClr val="black"/>
                    </a:solidFill>
                    <a:latin typeface="Arial"/>
                  </a:rPr>
                  <a:t>Mitte 2020 </a:t>
                </a:r>
                <a:r>
                  <a:rPr lang="de-DE" sz="1400" dirty="0">
                    <a:solidFill>
                      <a:prstClr val="black"/>
                    </a:solidFill>
                    <a:latin typeface="Arial"/>
                  </a:rPr>
                  <a:t>zur nächsten Anpassung kommen </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46" name="Inhaltsplatzhalter 2">
                <a:extLst>
                  <a:ext uri="{FF2B5EF4-FFF2-40B4-BE49-F238E27FC236}">
                    <a16:creationId xmlns:a16="http://schemas.microsoft.com/office/drawing/2014/main" xmlns="" id="{3C68A6D5-83A6-453E-B1B9-E43EFEA46AE2}"/>
                  </a:ext>
                </a:extLst>
              </p:cNvPr>
              <p:cNvSpPr txBox="1">
                <a:spLocks/>
              </p:cNvSpPr>
              <p:nvPr/>
            </p:nvSpPr>
            <p:spPr>
              <a:xfrm>
                <a:off x="539750" y="4588670"/>
                <a:ext cx="1511971" cy="540000"/>
              </a:xfrm>
              <a:prstGeom prst="rect">
                <a:avLst/>
              </a:prstGeom>
              <a:solidFill>
                <a:schemeClr val="accent5">
                  <a:lumMod val="40000"/>
                  <a:lumOff val="60000"/>
                </a:schemeClr>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0" marR="0" lvl="1" indent="-184150" algn="l" defTabSz="914400" rtl="0" eaLnBrk="1" fontAlgn="auto" latinLnBrk="0" hangingPunct="1">
                  <a:lnSpc>
                    <a:spcPct val="100000"/>
                  </a:lnSpc>
                  <a:spcBef>
                    <a:spcPts val="20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grpSp>
        <p:pic>
          <p:nvPicPr>
            <p:cNvPr id="16" name="Grafik 15">
              <a:extLst>
                <a:ext uri="{FF2B5EF4-FFF2-40B4-BE49-F238E27FC236}">
                  <a16:creationId xmlns:a16="http://schemas.microsoft.com/office/drawing/2014/main" xmlns="" id="{DF1C69BE-C940-4439-9DAF-1C4B6ED616F7}"/>
                </a:ext>
              </a:extLst>
            </p:cNvPr>
            <p:cNvPicPr>
              <a:picLocks noChangeAspect="1"/>
            </p:cNvPicPr>
            <p:nvPr/>
          </p:nvPicPr>
          <p:blipFill>
            <a:blip r:embed="rId11"/>
            <a:stretch>
              <a:fillRect/>
            </a:stretch>
          </p:blipFill>
          <p:spPr>
            <a:xfrm>
              <a:off x="756312" y="3800608"/>
              <a:ext cx="1110561" cy="343315"/>
            </a:xfrm>
            <a:prstGeom prst="rect">
              <a:avLst/>
            </a:prstGeom>
          </p:spPr>
        </p:pic>
      </p:grpSp>
      <p:grpSp>
        <p:nvGrpSpPr>
          <p:cNvPr id="35" name="Gruppieren 34">
            <a:extLst>
              <a:ext uri="{FF2B5EF4-FFF2-40B4-BE49-F238E27FC236}">
                <a16:creationId xmlns:a16="http://schemas.microsoft.com/office/drawing/2014/main" xmlns="" id="{4BFF3ABE-0969-4BA6-B4D8-4F1D3F1641AB}"/>
              </a:ext>
            </a:extLst>
          </p:cNvPr>
          <p:cNvGrpSpPr/>
          <p:nvPr/>
        </p:nvGrpSpPr>
        <p:grpSpPr>
          <a:xfrm>
            <a:off x="539750" y="4607732"/>
            <a:ext cx="8208714" cy="561658"/>
            <a:chOff x="539750" y="4400468"/>
            <a:chExt cx="8208714" cy="561658"/>
          </a:xfrm>
        </p:grpSpPr>
        <p:grpSp>
          <p:nvGrpSpPr>
            <p:cNvPr id="27" name="Gruppieren 26">
              <a:extLst>
                <a:ext uri="{FF2B5EF4-FFF2-40B4-BE49-F238E27FC236}">
                  <a16:creationId xmlns:a16="http://schemas.microsoft.com/office/drawing/2014/main" xmlns="" id="{25710570-E536-4BE0-8EAF-953940B458F3}"/>
                </a:ext>
              </a:extLst>
            </p:cNvPr>
            <p:cNvGrpSpPr/>
            <p:nvPr/>
          </p:nvGrpSpPr>
          <p:grpSpPr>
            <a:xfrm>
              <a:off x="539750" y="4400468"/>
              <a:ext cx="8208714" cy="561658"/>
              <a:chOff x="539750" y="5323119"/>
              <a:chExt cx="8208714" cy="561658"/>
            </a:xfrm>
          </p:grpSpPr>
          <p:sp>
            <p:nvSpPr>
              <p:cNvPr id="25" name="Inhaltsplatzhalter 2">
                <a:extLst>
                  <a:ext uri="{FF2B5EF4-FFF2-40B4-BE49-F238E27FC236}">
                    <a16:creationId xmlns:a16="http://schemas.microsoft.com/office/drawing/2014/main" xmlns="" id="{2F368F86-04B1-4CA0-8B97-7D6A3E3D2ED8}"/>
                  </a:ext>
                </a:extLst>
              </p:cNvPr>
              <p:cNvSpPr txBox="1">
                <a:spLocks/>
              </p:cNvSpPr>
              <p:nvPr/>
            </p:nvSpPr>
            <p:spPr>
              <a:xfrm>
                <a:off x="2051721" y="5344777"/>
                <a:ext cx="6696743" cy="540000"/>
              </a:xfrm>
              <a:prstGeom prst="rect">
                <a:avLst/>
              </a:prstGeom>
              <a:no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Zu Beginn des Jahres, am </a:t>
                </a:r>
                <a:r>
                  <a:rPr kumimoji="0" lang="de-DE" sz="1400" b="1" i="0" u="none" strike="noStrike" kern="1200" cap="none" spc="0" normalizeH="0" baseline="0" noProof="0" dirty="0">
                    <a:ln>
                      <a:noFill/>
                    </a:ln>
                    <a:solidFill>
                      <a:prstClr val="black"/>
                    </a:solidFill>
                    <a:effectLst/>
                    <a:uLnTx/>
                    <a:uFillTx/>
                    <a:latin typeface="Arial"/>
                    <a:ea typeface="+mn-ea"/>
                    <a:cs typeface="+mn-cs"/>
                  </a:rPr>
                  <a:t>01.02.2019</a:t>
                </a:r>
                <a:r>
                  <a:rPr kumimoji="0" lang="de-DE" sz="1400" b="0" i="0" u="none" strike="noStrike" kern="1200" cap="none" spc="0" normalizeH="0" baseline="0" noProof="0" dirty="0">
                    <a:ln>
                      <a:noFill/>
                    </a:ln>
                    <a:solidFill>
                      <a:prstClr val="black"/>
                    </a:solidFill>
                    <a:effectLst/>
                    <a:uLnTx/>
                    <a:uFillTx/>
                    <a:latin typeface="Arial"/>
                    <a:ea typeface="+mn-ea"/>
                    <a:cs typeface="+mn-cs"/>
                  </a:rPr>
                  <a:t>, wurde der VVW-Tarif erhöht</a:t>
                </a:r>
              </a:p>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lang="de-DE" sz="1400" dirty="0">
                    <a:solidFill>
                      <a:prstClr val="black"/>
                    </a:solidFill>
                    <a:latin typeface="Arial"/>
                  </a:rPr>
                  <a:t>Eine Anpassung erfolgt hier generell </a:t>
                </a:r>
                <a:r>
                  <a:rPr lang="de-DE" sz="1400" b="1" dirty="0">
                    <a:solidFill>
                      <a:prstClr val="black"/>
                    </a:solidFill>
                    <a:latin typeface="Arial"/>
                  </a:rPr>
                  <a:t>alle 2 Jahre</a:t>
                </a:r>
                <a:endParaRPr kumimoji="0" lang="de-D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45" name="Inhaltsplatzhalter 2">
                <a:extLst>
                  <a:ext uri="{FF2B5EF4-FFF2-40B4-BE49-F238E27FC236}">
                    <a16:creationId xmlns:a16="http://schemas.microsoft.com/office/drawing/2014/main" xmlns="" id="{E7AF306B-B467-43B6-8CF0-66F1E96C0154}"/>
                  </a:ext>
                </a:extLst>
              </p:cNvPr>
              <p:cNvSpPr txBox="1">
                <a:spLocks/>
              </p:cNvSpPr>
              <p:nvPr/>
            </p:nvSpPr>
            <p:spPr>
              <a:xfrm>
                <a:off x="539750" y="5323119"/>
                <a:ext cx="1511971" cy="540000"/>
              </a:xfrm>
              <a:prstGeom prst="rect">
                <a:avLst/>
              </a:prstGeom>
              <a:solidFill>
                <a:schemeClr val="accent5">
                  <a:lumMod val="40000"/>
                  <a:lumOff val="60000"/>
                </a:schemeClr>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0" marR="0" lvl="1" indent="-184150" algn="l" defTabSz="914400" rtl="0" eaLnBrk="1" fontAlgn="auto" latinLnBrk="0" hangingPunct="1">
                  <a:lnSpc>
                    <a:spcPct val="100000"/>
                  </a:lnSpc>
                  <a:spcBef>
                    <a:spcPts val="20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grpSp>
        <p:pic>
          <p:nvPicPr>
            <p:cNvPr id="26" name="Grafik 25">
              <a:extLst>
                <a:ext uri="{FF2B5EF4-FFF2-40B4-BE49-F238E27FC236}">
                  <a16:creationId xmlns:a16="http://schemas.microsoft.com/office/drawing/2014/main" xmlns="" id="{2A0A6323-2ABF-450A-8698-4ACACCED5839}"/>
                </a:ext>
              </a:extLst>
            </p:cNvPr>
            <p:cNvPicPr>
              <a:picLocks noChangeAspect="1"/>
            </p:cNvPicPr>
            <p:nvPr/>
          </p:nvPicPr>
          <p:blipFill>
            <a:blip r:embed="rId12"/>
            <a:stretch>
              <a:fillRect/>
            </a:stretch>
          </p:blipFill>
          <p:spPr>
            <a:xfrm>
              <a:off x="763537" y="4445240"/>
              <a:ext cx="1064398" cy="458741"/>
            </a:xfrm>
            <a:prstGeom prst="rect">
              <a:avLst/>
            </a:prstGeom>
          </p:spPr>
        </p:pic>
      </p:grpSp>
      <p:grpSp>
        <p:nvGrpSpPr>
          <p:cNvPr id="34" name="Gruppieren 33">
            <a:extLst>
              <a:ext uri="{FF2B5EF4-FFF2-40B4-BE49-F238E27FC236}">
                <a16:creationId xmlns:a16="http://schemas.microsoft.com/office/drawing/2014/main" xmlns="" id="{C762B6C2-4E13-4B3F-8905-791CBFD0609C}"/>
              </a:ext>
            </a:extLst>
          </p:cNvPr>
          <p:cNvGrpSpPr/>
          <p:nvPr/>
        </p:nvGrpSpPr>
        <p:grpSpPr>
          <a:xfrm>
            <a:off x="539750" y="5373509"/>
            <a:ext cx="8208714" cy="547064"/>
            <a:chOff x="539750" y="5114429"/>
            <a:chExt cx="8208714" cy="547064"/>
          </a:xfrm>
        </p:grpSpPr>
        <p:grpSp>
          <p:nvGrpSpPr>
            <p:cNvPr id="30" name="Gruppieren 29">
              <a:extLst>
                <a:ext uri="{FF2B5EF4-FFF2-40B4-BE49-F238E27FC236}">
                  <a16:creationId xmlns:a16="http://schemas.microsoft.com/office/drawing/2014/main" xmlns="" id="{B97FC3DB-3275-45BC-A004-D8E0FCA426ED}"/>
                </a:ext>
              </a:extLst>
            </p:cNvPr>
            <p:cNvGrpSpPr/>
            <p:nvPr/>
          </p:nvGrpSpPr>
          <p:grpSpPr>
            <a:xfrm>
              <a:off x="539750" y="5114429"/>
              <a:ext cx="8208714" cy="547064"/>
              <a:chOff x="539750" y="5323119"/>
              <a:chExt cx="8208714" cy="547064"/>
            </a:xfrm>
          </p:grpSpPr>
          <p:sp>
            <p:nvSpPr>
              <p:cNvPr id="31" name="Inhaltsplatzhalter 2">
                <a:extLst>
                  <a:ext uri="{FF2B5EF4-FFF2-40B4-BE49-F238E27FC236}">
                    <a16:creationId xmlns:a16="http://schemas.microsoft.com/office/drawing/2014/main" xmlns="" id="{BA9FA792-CFE5-4B5C-A0BE-9D66922A25F1}"/>
                  </a:ext>
                </a:extLst>
              </p:cNvPr>
              <p:cNvSpPr txBox="1">
                <a:spLocks/>
              </p:cNvSpPr>
              <p:nvPr/>
            </p:nvSpPr>
            <p:spPr>
              <a:xfrm>
                <a:off x="2051721" y="5330183"/>
                <a:ext cx="6696743" cy="540000"/>
              </a:xfrm>
              <a:prstGeom prst="rect">
                <a:avLst/>
              </a:prstGeom>
              <a:no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Im </a:t>
                </a:r>
                <a:r>
                  <a:rPr kumimoji="0" lang="de-DE" sz="1400" b="0" i="0" u="none" strike="noStrike" kern="1200" cap="none" spc="0" normalizeH="0" baseline="0" noProof="0" dirty="0" err="1">
                    <a:ln>
                      <a:noFill/>
                    </a:ln>
                    <a:solidFill>
                      <a:prstClr val="black"/>
                    </a:solidFill>
                    <a:effectLst/>
                    <a:uLnTx/>
                    <a:uFillTx/>
                    <a:latin typeface="Arial"/>
                    <a:ea typeface="+mn-ea"/>
                    <a:cs typeface="+mn-cs"/>
                  </a:rPr>
                  <a:t>saarVV</a:t>
                </a:r>
                <a:r>
                  <a:rPr kumimoji="0" lang="de-DE" sz="1400" b="0" i="0" u="none" strike="noStrike" kern="1200" cap="none" spc="0" normalizeH="0" baseline="0" noProof="0" dirty="0">
                    <a:ln>
                      <a:noFill/>
                    </a:ln>
                    <a:solidFill>
                      <a:prstClr val="black"/>
                    </a:solidFill>
                    <a:effectLst/>
                    <a:uLnTx/>
                    <a:uFillTx/>
                    <a:latin typeface="Arial"/>
                    <a:ea typeface="+mn-ea"/>
                    <a:cs typeface="+mn-cs"/>
                  </a:rPr>
                  <a:t> wurde zuletzt am </a:t>
                </a:r>
                <a:r>
                  <a:rPr kumimoji="0" lang="de-DE" sz="1400" b="1" i="0" u="none" strike="noStrike" kern="1200" cap="none" spc="0" normalizeH="0" baseline="0" noProof="0" dirty="0">
                    <a:ln>
                      <a:noFill/>
                    </a:ln>
                    <a:solidFill>
                      <a:prstClr val="black"/>
                    </a:solidFill>
                    <a:effectLst/>
                    <a:uLnTx/>
                    <a:uFillTx/>
                    <a:latin typeface="Arial"/>
                    <a:ea typeface="+mn-ea"/>
                    <a:cs typeface="+mn-cs"/>
                  </a:rPr>
                  <a:t>01.01.2019</a:t>
                </a:r>
                <a:r>
                  <a:rPr kumimoji="0" lang="de-DE" sz="1400" b="0" i="0" u="none" strike="noStrike" kern="1200" cap="none" spc="0" normalizeH="0" baseline="0" noProof="0" dirty="0">
                    <a:ln>
                      <a:noFill/>
                    </a:ln>
                    <a:solidFill>
                      <a:prstClr val="black"/>
                    </a:solidFill>
                    <a:effectLst/>
                    <a:uLnTx/>
                    <a:uFillTx/>
                    <a:latin typeface="Arial"/>
                    <a:ea typeface="+mn-ea"/>
                    <a:cs typeface="+mn-cs"/>
                  </a:rPr>
                  <a:t> der Tarif erhöht</a:t>
                </a:r>
              </a:p>
              <a:p>
                <a:pPr marL="176213" marR="0" lvl="2" indent="-176213"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Eine Anpassung zum kommenden Jahr ist </a:t>
                </a:r>
                <a:r>
                  <a:rPr kumimoji="0" lang="de-DE" sz="1400" b="1" i="0" u="none" strike="noStrike" kern="1200" cap="none" spc="0" normalizeH="0" baseline="0" noProof="0" dirty="0">
                    <a:ln>
                      <a:noFill/>
                    </a:ln>
                    <a:solidFill>
                      <a:prstClr val="black"/>
                    </a:solidFill>
                    <a:effectLst/>
                    <a:uLnTx/>
                    <a:uFillTx/>
                    <a:latin typeface="Arial"/>
                    <a:ea typeface="+mn-ea"/>
                    <a:cs typeface="+mn-cs"/>
                  </a:rPr>
                  <a:t>nicht geplant</a:t>
                </a:r>
              </a:p>
            </p:txBody>
          </p:sp>
          <p:sp>
            <p:nvSpPr>
              <p:cNvPr id="32" name="Inhaltsplatzhalter 2">
                <a:extLst>
                  <a:ext uri="{FF2B5EF4-FFF2-40B4-BE49-F238E27FC236}">
                    <a16:creationId xmlns:a16="http://schemas.microsoft.com/office/drawing/2014/main" xmlns="" id="{5118153E-68FE-4312-B4AD-54AEB340F74D}"/>
                  </a:ext>
                </a:extLst>
              </p:cNvPr>
              <p:cNvSpPr txBox="1">
                <a:spLocks/>
              </p:cNvSpPr>
              <p:nvPr/>
            </p:nvSpPr>
            <p:spPr>
              <a:xfrm>
                <a:off x="539750" y="5323119"/>
                <a:ext cx="1511971" cy="540000"/>
              </a:xfrm>
              <a:prstGeom prst="rect">
                <a:avLst/>
              </a:prstGeom>
              <a:solidFill>
                <a:schemeClr val="accent5">
                  <a:lumMod val="40000"/>
                  <a:lumOff val="60000"/>
                </a:schemeClr>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marL="0" marR="0" lvl="1" indent="-184150" algn="l" defTabSz="914400" rtl="0" eaLnBrk="1" fontAlgn="auto" latinLnBrk="0" hangingPunct="1">
                  <a:lnSpc>
                    <a:spcPct val="100000"/>
                  </a:lnSpc>
                  <a:spcBef>
                    <a:spcPts val="200"/>
                  </a:spcBef>
                  <a:spcAft>
                    <a:spcPts val="0"/>
                  </a:spcAft>
                  <a:buClrTx/>
                  <a:buSzTx/>
                  <a:buFontTx/>
                  <a:buNone/>
                  <a:tabLst/>
                  <a:defRPr/>
                </a:pPr>
                <a:endParaRPr kumimoji="0" lang="de-DE" sz="1400" b="0"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grpSp>
        <p:pic>
          <p:nvPicPr>
            <p:cNvPr id="33" name="Grafik 32">
              <a:extLst>
                <a:ext uri="{FF2B5EF4-FFF2-40B4-BE49-F238E27FC236}">
                  <a16:creationId xmlns:a16="http://schemas.microsoft.com/office/drawing/2014/main" xmlns="" id="{762AE2A8-7C28-4F83-A244-74BA5D0FEF2E}"/>
                </a:ext>
              </a:extLst>
            </p:cNvPr>
            <p:cNvPicPr>
              <a:picLocks noChangeAspect="1"/>
            </p:cNvPicPr>
            <p:nvPr/>
          </p:nvPicPr>
          <p:blipFill>
            <a:blip r:embed="rId13"/>
            <a:stretch>
              <a:fillRect/>
            </a:stretch>
          </p:blipFill>
          <p:spPr>
            <a:xfrm>
              <a:off x="775944" y="5255697"/>
              <a:ext cx="1039581" cy="271591"/>
            </a:xfrm>
            <a:prstGeom prst="rect">
              <a:avLst/>
            </a:prstGeom>
          </p:spPr>
        </p:pic>
      </p:grpSp>
    </p:spTree>
    <p:extLst>
      <p:ext uri="{BB962C8B-B14F-4D97-AF65-F5344CB8AC3E}">
        <p14:creationId xmlns:p14="http://schemas.microsoft.com/office/powerpoint/2010/main" val="6878087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665" name="think-cell Folie" r:id="rId6" imgW="270" imgH="270" progId="TCLayout.ActiveDocument.1">
                  <p:embed/>
                </p:oleObj>
              </mc:Choice>
              <mc:Fallback>
                <p:oleObj name="think-cell Folie" r:id="rId6" imgW="270" imgH="270" progId="TCLayout.ActiveDocument.1">
                  <p:embed/>
                  <p:pic>
                    <p:nvPicPr>
                      <p:cNvPr id="5" name="Objekt 4"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FEED3B46-EEC3-4A96-A9E4-54EE80927101}"/>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3" name="Inhaltsplatzhalter 2"/>
          <p:cNvSpPr txBox="1">
            <a:spLocks/>
          </p:cNvSpPr>
          <p:nvPr/>
        </p:nvSpPr>
        <p:spPr>
          <a:xfrm>
            <a:off x="519428" y="2061022"/>
            <a:ext cx="5327648"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Modellstadt im Rahmen Luftreinhalteprogramm</a:t>
            </a:r>
          </a:p>
          <a:p>
            <a:pPr lvl="2"/>
            <a:r>
              <a:rPr lang="de-DE" sz="1400" dirty="0"/>
              <a:t>Förderung durch das BMVI</a:t>
            </a:r>
          </a:p>
          <a:p>
            <a:pPr lvl="2"/>
            <a:r>
              <a:rPr lang="de-DE" sz="1400" dirty="0"/>
              <a:t>Laufzeit von 2 Jahren bis Ende 2020 </a:t>
            </a:r>
          </a:p>
          <a:p>
            <a:pPr lvl="2"/>
            <a:r>
              <a:rPr lang="de-DE" sz="1400" dirty="0"/>
              <a:t>Verschiedene Tarifmaßnahmen:</a:t>
            </a:r>
          </a:p>
          <a:p>
            <a:pPr lvl="3"/>
            <a:r>
              <a:rPr lang="de-DE" sz="1400" dirty="0"/>
              <a:t>Jahresticket für 365 €</a:t>
            </a:r>
          </a:p>
          <a:p>
            <a:pPr lvl="4"/>
            <a:r>
              <a:rPr lang="de-DE" sz="1400" dirty="0"/>
              <a:t>Für Neukunden</a:t>
            </a:r>
          </a:p>
          <a:p>
            <a:pPr lvl="3"/>
            <a:r>
              <a:rPr lang="de-DE" sz="1400" dirty="0"/>
              <a:t>Vergünstigter Zugang zum Jobticket</a:t>
            </a:r>
          </a:p>
          <a:p>
            <a:pPr lvl="4"/>
            <a:r>
              <a:rPr lang="de-DE" sz="1400" dirty="0"/>
              <a:t>Für Kunden ohne bisheriges Jobticket</a:t>
            </a:r>
          </a:p>
          <a:p>
            <a:pPr lvl="3"/>
            <a:r>
              <a:rPr lang="de-DE" sz="1400" dirty="0"/>
              <a:t>5-Personen-Ticket</a:t>
            </a:r>
          </a:p>
          <a:p>
            <a:pPr lvl="4"/>
            <a:r>
              <a:rPr lang="de-DE" sz="1400" dirty="0"/>
              <a:t>24-Stunden-Tagesticket Bonn für 5 Personen zum Preis des Tagestickets Bonn für 1 Person</a:t>
            </a:r>
          </a:p>
          <a:p>
            <a:pPr marL="0" lvl="2" indent="0">
              <a:buNone/>
            </a:pPr>
            <a:endParaRPr lang="de-DE" sz="1400" dirty="0"/>
          </a:p>
        </p:txBody>
      </p:sp>
      <p:sp>
        <p:nvSpPr>
          <p:cNvPr id="2" name="Titel 1"/>
          <p:cNvSpPr>
            <a:spLocks noGrp="1"/>
          </p:cNvSpPr>
          <p:nvPr>
            <p:ph type="title"/>
          </p:nvPr>
        </p:nvSpPr>
        <p:spPr/>
        <p:txBody>
          <a:bodyPr/>
          <a:lstStyle/>
          <a:p>
            <a:r>
              <a:rPr lang="de-DE" dirty="0"/>
              <a:t>Das Jahresticket für 365 € wird in Bonn für Neukunden bei Abschluss für den Zeitraum von einem Jahr angeboten</a:t>
            </a:r>
          </a:p>
        </p:txBody>
      </p:sp>
      <p:sp>
        <p:nvSpPr>
          <p:cNvPr id="3" name="Inhaltsplatzhalter 2"/>
          <p:cNvSpPr>
            <a:spLocks noGrp="1"/>
          </p:cNvSpPr>
          <p:nvPr>
            <p:ph idx="1"/>
          </p:nvPr>
        </p:nvSpPr>
        <p:spPr/>
        <p:txBody>
          <a:bodyPr/>
          <a:lstStyle/>
          <a:p>
            <a:r>
              <a:rPr lang="de-DE" dirty="0"/>
              <a:t>Beispiel: „Lead City“ Bonn</a:t>
            </a:r>
          </a:p>
        </p:txBody>
      </p:sp>
      <p:sp>
        <p:nvSpPr>
          <p:cNvPr id="4" name="Foliennummernplatzhalter 3"/>
          <p:cNvSpPr>
            <a:spLocks noGrp="1"/>
          </p:cNvSpPr>
          <p:nvPr>
            <p:ph type="sldNum" sz="quarter" idx="11"/>
          </p:nvPr>
        </p:nvSpPr>
        <p:spPr>
          <a:xfrm>
            <a:off x="519428" y="6295779"/>
            <a:ext cx="227626" cy="246221"/>
          </a:xfrm>
        </p:spPr>
        <p:txBody>
          <a:bodyPr/>
          <a:lstStyle/>
          <a:p>
            <a:fld id="{CD21EFEB-933F-4F46-A5AD-B6372944D9E5}" type="slidenum">
              <a:rPr lang="de-DE" smtClean="0"/>
              <a:pPr/>
              <a:t>49</a:t>
            </a:fld>
            <a:endParaRPr lang="de-DE"/>
          </a:p>
        </p:txBody>
      </p:sp>
      <p:sp>
        <p:nvSpPr>
          <p:cNvPr id="18" name="Rechteck 17"/>
          <p:cNvSpPr/>
          <p:nvPr/>
        </p:nvSpPr>
        <p:spPr>
          <a:xfrm>
            <a:off x="519428"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Beschreibung</a:t>
            </a:r>
          </a:p>
        </p:txBody>
      </p:sp>
      <p:cxnSp>
        <p:nvCxnSpPr>
          <p:cNvPr id="7" name="Gerade Verbindung 6"/>
          <p:cNvCxnSpPr/>
          <p:nvPr/>
        </p:nvCxnSpPr>
        <p:spPr>
          <a:xfrm>
            <a:off x="543240"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Grafik 8">
            <a:extLst>
              <a:ext uri="{FF2B5EF4-FFF2-40B4-BE49-F238E27FC236}">
                <a16:creationId xmlns:a16="http://schemas.microsoft.com/office/drawing/2014/main" xmlns="" id="{8A33ED82-E301-4A75-BDB7-D6878802AE9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8333405" y="1759461"/>
            <a:ext cx="242075" cy="276934"/>
          </a:xfrm>
          <a:prstGeom prst="rect">
            <a:avLst/>
          </a:prstGeom>
        </p:spPr>
      </p:pic>
      <p:sp>
        <p:nvSpPr>
          <p:cNvPr id="15" name="Rechteck 14">
            <a:extLst>
              <a:ext uri="{FF2B5EF4-FFF2-40B4-BE49-F238E27FC236}">
                <a16:creationId xmlns:a16="http://schemas.microsoft.com/office/drawing/2014/main" xmlns="" id="{A6C7563B-3282-4F0C-B995-7BA7D488F8A2}"/>
              </a:ext>
            </a:extLst>
          </p:cNvPr>
          <p:cNvSpPr/>
          <p:nvPr/>
        </p:nvSpPr>
        <p:spPr>
          <a:xfrm>
            <a:off x="5916613" y="1700809"/>
            <a:ext cx="2687636" cy="3603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Gültigkeitsbereich</a:t>
            </a:r>
          </a:p>
        </p:txBody>
      </p:sp>
      <p:cxnSp>
        <p:nvCxnSpPr>
          <p:cNvPr id="16" name="Gerade Verbindung 19">
            <a:extLst>
              <a:ext uri="{FF2B5EF4-FFF2-40B4-BE49-F238E27FC236}">
                <a16:creationId xmlns:a16="http://schemas.microsoft.com/office/drawing/2014/main" xmlns="" id="{2CC55F9E-4138-472F-AE9F-026DE4FED55E}"/>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Grafik 9">
            <a:extLst>
              <a:ext uri="{FF2B5EF4-FFF2-40B4-BE49-F238E27FC236}">
                <a16:creationId xmlns:a16="http://schemas.microsoft.com/office/drawing/2014/main" xmlns="" id="{5F57BE60-89CF-4916-9404-ACAF2593E768}"/>
              </a:ext>
            </a:extLst>
          </p:cNvPr>
          <p:cNvPicPr>
            <a:picLocks noChangeAspect="1"/>
          </p:cNvPicPr>
          <p:nvPr/>
        </p:nvPicPr>
        <p:blipFill>
          <a:blip r:embed="rId10"/>
          <a:stretch>
            <a:fillRect/>
          </a:stretch>
        </p:blipFill>
        <p:spPr>
          <a:xfrm>
            <a:off x="6011864" y="2190899"/>
            <a:ext cx="2605993" cy="2750270"/>
          </a:xfrm>
          <a:prstGeom prst="rect">
            <a:avLst/>
          </a:prstGeom>
        </p:spPr>
      </p:pic>
      <p:sp>
        <p:nvSpPr>
          <p:cNvPr id="17" name="Freihandform: Form 16">
            <a:extLst>
              <a:ext uri="{FF2B5EF4-FFF2-40B4-BE49-F238E27FC236}">
                <a16:creationId xmlns:a16="http://schemas.microsoft.com/office/drawing/2014/main" xmlns="" id="{EB691DB3-05AC-4B3E-80C4-50CB647CAF4D}"/>
              </a:ext>
            </a:extLst>
          </p:cNvPr>
          <p:cNvSpPr/>
          <p:nvPr/>
        </p:nvSpPr>
        <p:spPr>
          <a:xfrm>
            <a:off x="6583680" y="2951018"/>
            <a:ext cx="1263535" cy="1587731"/>
          </a:xfrm>
          <a:custGeom>
            <a:avLst/>
            <a:gdLst>
              <a:gd name="connsiteX0" fmla="*/ 656705 w 1263535"/>
              <a:gd name="connsiteY0" fmla="*/ 0 h 1587731"/>
              <a:gd name="connsiteX1" fmla="*/ 1221971 w 1263535"/>
              <a:gd name="connsiteY1" fmla="*/ 307571 h 1587731"/>
              <a:gd name="connsiteX2" fmla="*/ 1263535 w 1263535"/>
              <a:gd name="connsiteY2" fmla="*/ 1404851 h 1587731"/>
              <a:gd name="connsiteX3" fmla="*/ 1030778 w 1263535"/>
              <a:gd name="connsiteY3" fmla="*/ 1587731 h 1587731"/>
              <a:gd name="connsiteX4" fmla="*/ 964276 w 1263535"/>
              <a:gd name="connsiteY4" fmla="*/ 1363287 h 1587731"/>
              <a:gd name="connsiteX5" fmla="*/ 99753 w 1263535"/>
              <a:gd name="connsiteY5" fmla="*/ 1155469 h 1587731"/>
              <a:gd name="connsiteX6" fmla="*/ 166255 w 1263535"/>
              <a:gd name="connsiteY6" fmla="*/ 432262 h 1587731"/>
              <a:gd name="connsiteX7" fmla="*/ 0 w 1263535"/>
              <a:gd name="connsiteY7" fmla="*/ 191193 h 1587731"/>
              <a:gd name="connsiteX8" fmla="*/ 241069 w 1263535"/>
              <a:gd name="connsiteY8" fmla="*/ 8313 h 1587731"/>
              <a:gd name="connsiteX9" fmla="*/ 656705 w 1263535"/>
              <a:gd name="connsiteY9" fmla="*/ 0 h 158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3535" h="1587731">
                <a:moveTo>
                  <a:pt x="656705" y="0"/>
                </a:moveTo>
                <a:lnTo>
                  <a:pt x="1221971" y="307571"/>
                </a:lnTo>
                <a:lnTo>
                  <a:pt x="1263535" y="1404851"/>
                </a:lnTo>
                <a:lnTo>
                  <a:pt x="1030778" y="1587731"/>
                </a:lnTo>
                <a:lnTo>
                  <a:pt x="964276" y="1363287"/>
                </a:lnTo>
                <a:lnTo>
                  <a:pt x="99753" y="1155469"/>
                </a:lnTo>
                <a:lnTo>
                  <a:pt x="166255" y="432262"/>
                </a:lnTo>
                <a:lnTo>
                  <a:pt x="0" y="191193"/>
                </a:lnTo>
                <a:lnTo>
                  <a:pt x="241069" y="8313"/>
                </a:lnTo>
                <a:lnTo>
                  <a:pt x="656705" y="0"/>
                </a:lnTo>
                <a:close/>
              </a:path>
            </a:pathLst>
          </a:custGeom>
          <a:no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400" dirty="0">
              <a:solidFill>
                <a:schemeClr val="tx1"/>
              </a:solidFill>
            </a:endParaRPr>
          </a:p>
        </p:txBody>
      </p:sp>
      <p:sp>
        <p:nvSpPr>
          <p:cNvPr id="19" name="Textfeld 18">
            <a:extLst>
              <a:ext uri="{FF2B5EF4-FFF2-40B4-BE49-F238E27FC236}">
                <a16:creationId xmlns:a16="http://schemas.microsoft.com/office/drawing/2014/main" xmlns="" id="{BED30F74-DB96-4798-8216-6F71D2CB904D}"/>
              </a:ext>
            </a:extLst>
          </p:cNvPr>
          <p:cNvSpPr txBox="1"/>
          <p:nvPr/>
        </p:nvSpPr>
        <p:spPr>
          <a:xfrm>
            <a:off x="7070099" y="3322652"/>
            <a:ext cx="864096" cy="307777"/>
          </a:xfrm>
          <a:prstGeom prst="rect">
            <a:avLst/>
          </a:prstGeom>
          <a:noFill/>
        </p:spPr>
        <p:txBody>
          <a:bodyPr wrap="square" rtlCol="0">
            <a:spAutoFit/>
          </a:bodyPr>
          <a:lstStyle/>
          <a:p>
            <a:r>
              <a:rPr lang="de-DE" sz="1400" b="1" dirty="0"/>
              <a:t>1b</a:t>
            </a:r>
          </a:p>
        </p:txBody>
      </p:sp>
    </p:spTree>
    <p:extLst>
      <p:ext uri="{BB962C8B-B14F-4D97-AF65-F5344CB8AC3E}">
        <p14:creationId xmlns:p14="http://schemas.microsoft.com/office/powerpoint/2010/main" val="2774971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B8883286-65BD-45E5-BC44-4A8D494EF4B7}"/>
              </a:ext>
            </a:extLst>
          </p:cNvPr>
          <p:cNvGraphicFramePr>
            <a:graphicFrameLocks noChangeAspect="1"/>
          </p:cNvGraphicFramePr>
          <p:nvPr>
            <p:custDataLst>
              <p:tags r:id="rId2"/>
            </p:custDataLst>
            <p:extLst>
              <p:ext uri="{D42A27DB-BD31-4B8C-83A1-F6EECF244321}">
                <p14:modId xmlns:p14="http://schemas.microsoft.com/office/powerpoint/2010/main" val="3217793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0428" name="think-cell Folie" r:id="rId6" imgW="216" imgH="216" progId="TCLayout.ActiveDocument.1">
                  <p:embed/>
                </p:oleObj>
              </mc:Choice>
              <mc:Fallback>
                <p:oleObj name="think-cell Folie" r:id="rId6" imgW="216" imgH="216" progId="TCLayout.ActiveDocument.1">
                  <p:embed/>
                  <p:pic>
                    <p:nvPicPr>
                      <p:cNvPr id="8" name="Objekt 7" hidden="1">
                        <a:extLst>
                          <a:ext uri="{FF2B5EF4-FFF2-40B4-BE49-F238E27FC236}">
                            <a16:creationId xmlns:a16="http://schemas.microsoft.com/office/drawing/2014/main" xmlns="" id="{B8883286-65BD-45E5-BC44-4A8D494EF4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D3FA8C60-36EC-450D-B271-6F45D4A6BC6F}"/>
              </a:ext>
            </a:extLst>
          </p:cNvPr>
          <p:cNvSpPr>
            <a:spLocks noGrp="1"/>
          </p:cNvSpPr>
          <p:nvPr>
            <p:ph type="title"/>
          </p:nvPr>
        </p:nvSpPr>
        <p:spPr/>
        <p:txBody>
          <a:bodyPr/>
          <a:lstStyle/>
          <a:p>
            <a:r>
              <a:rPr lang="de-DE" dirty="0"/>
              <a:t>Wien hat mit Abstand den höchsten Split Anteil des öffentlichen Verkehrs</a:t>
            </a:r>
          </a:p>
        </p:txBody>
      </p:sp>
      <p:sp>
        <p:nvSpPr>
          <p:cNvPr id="3" name="Inhaltsplatzhalter 2">
            <a:extLst>
              <a:ext uri="{FF2B5EF4-FFF2-40B4-BE49-F238E27FC236}">
                <a16:creationId xmlns:a16="http://schemas.microsoft.com/office/drawing/2014/main" xmlns="" id="{CBD6F9BE-CBA5-4A65-83BF-217532CE93B6}"/>
              </a:ext>
            </a:extLst>
          </p:cNvPr>
          <p:cNvSpPr>
            <a:spLocks noGrp="1"/>
          </p:cNvSpPr>
          <p:nvPr>
            <p:ph idx="1"/>
          </p:nvPr>
        </p:nvSpPr>
        <p:spPr>
          <a:xfrm>
            <a:off x="451758" y="1083558"/>
            <a:ext cx="6635010" cy="292316"/>
          </a:xfrm>
        </p:spPr>
        <p:txBody>
          <a:bodyPr/>
          <a:lstStyle/>
          <a:p>
            <a:r>
              <a:rPr lang="de-DE" dirty="0"/>
              <a:t>Modal Split im Stadtverkehr</a:t>
            </a:r>
          </a:p>
        </p:txBody>
      </p:sp>
      <p:sp>
        <p:nvSpPr>
          <p:cNvPr id="4" name="Foliennummernplatzhalter 3"/>
          <p:cNvSpPr>
            <a:spLocks noGrp="1"/>
          </p:cNvSpPr>
          <p:nvPr>
            <p:ph type="sldNum" sz="quarter" idx="11"/>
          </p:nvPr>
        </p:nvSpPr>
        <p:spPr/>
        <p:txBody>
          <a:bodyPr/>
          <a:lstStyle/>
          <a:p>
            <a:fld id="{CD21EFEB-933F-4F46-A5AD-B6372944D9E5}" type="slidenum">
              <a:rPr lang="de-DE" smtClean="0"/>
              <a:pPr/>
              <a:t>5</a:t>
            </a:fld>
            <a:endParaRPr lang="de-DE"/>
          </a:p>
        </p:txBody>
      </p:sp>
      <p:pic>
        <p:nvPicPr>
          <p:cNvPr id="93" name="Grafik 92">
            <a:extLst>
              <a:ext uri="{FF2B5EF4-FFF2-40B4-BE49-F238E27FC236}">
                <a16:creationId xmlns:a16="http://schemas.microsoft.com/office/drawing/2014/main" xmlns="" id="{462BB692-099D-4C5F-8266-20CDCF13F538}"/>
              </a:ext>
            </a:extLst>
          </p:cNvPr>
          <p:cNvPicPr>
            <a:picLocks noChangeAspect="1"/>
          </p:cNvPicPr>
          <p:nvPr/>
        </p:nvPicPr>
        <p:blipFill>
          <a:blip r:embed="rId8">
            <a:duotone>
              <a:schemeClr val="accent5">
                <a:shade val="45000"/>
                <a:satMod val="135000"/>
              </a:schemeClr>
              <a:prstClr val="white"/>
            </a:duotone>
            <a:extLst>
              <a:ext uri="{BEBA8EAE-BF5A-486C-A8C5-ECC9F3942E4B}">
                <a14:imgProps xmlns:a14="http://schemas.microsoft.com/office/drawing/2010/main">
                  <a14:imgLayer r:embed="rId9">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8046541" y="2325688"/>
            <a:ext cx="270361" cy="269875"/>
          </a:xfrm>
          <a:prstGeom prst="rect">
            <a:avLst/>
          </a:prstGeom>
        </p:spPr>
      </p:pic>
      <p:pic>
        <p:nvPicPr>
          <p:cNvPr id="96" name="Grafik 95">
            <a:extLst>
              <a:ext uri="{FF2B5EF4-FFF2-40B4-BE49-F238E27FC236}">
                <a16:creationId xmlns:a16="http://schemas.microsoft.com/office/drawing/2014/main" xmlns="" id="{EF9CACB1-8A71-4FDD-943F-B3A1541B0AAE}"/>
              </a:ext>
            </a:extLst>
          </p:cNvPr>
          <p:cNvPicPr>
            <a:picLocks noChangeAspect="1"/>
          </p:cNvPicPr>
          <p:nvPr/>
        </p:nvPicPr>
        <p:blipFill rotWithShape="1">
          <a:blip r:embed="rId10">
            <a:duotone>
              <a:schemeClr val="accent5">
                <a:shade val="45000"/>
                <a:satMod val="135000"/>
              </a:schemeClr>
              <a:prstClr val="white"/>
            </a:duotone>
            <a:extLst>
              <a:ext uri="{BEBA8EAE-BF5A-486C-A8C5-ECC9F3942E4B}">
                <a14:imgProps xmlns:a14="http://schemas.microsoft.com/office/drawing/2010/main">
                  <a14:imgLayer r:embed="rId11">
                    <a14:imgEffect>
                      <a14:brightnessContrast contrast="-44000"/>
                    </a14:imgEffect>
                  </a14:imgLayer>
                </a14:imgProps>
              </a:ext>
              <a:ext uri="{28A0092B-C50C-407E-A947-70E740481C1C}">
                <a14:useLocalDpi xmlns:a14="http://schemas.microsoft.com/office/drawing/2010/main" val="0"/>
              </a:ext>
            </a:extLst>
          </a:blip>
          <a:srcRect t="20987" b="-7451"/>
          <a:stretch/>
        </p:blipFill>
        <p:spPr>
          <a:xfrm>
            <a:off x="6356872" y="3084513"/>
            <a:ext cx="299817" cy="258763"/>
          </a:xfrm>
          <a:prstGeom prst="rect">
            <a:avLst/>
          </a:prstGeom>
        </p:spPr>
      </p:pic>
      <p:pic>
        <p:nvPicPr>
          <p:cNvPr id="99" name="Grafik 98">
            <a:extLst>
              <a:ext uri="{FF2B5EF4-FFF2-40B4-BE49-F238E27FC236}">
                <a16:creationId xmlns:a16="http://schemas.microsoft.com/office/drawing/2014/main" xmlns="" id="{E9F75BA2-4EDC-4241-B3CD-1623CD2E7A00}"/>
              </a:ext>
            </a:extLst>
          </p:cNvPr>
          <p:cNvPicPr>
            <a:picLocks noChangeAspect="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6360456" y="2132013"/>
            <a:ext cx="322843" cy="322263"/>
          </a:xfrm>
          <a:prstGeom prst="rect">
            <a:avLst/>
          </a:prstGeom>
        </p:spPr>
      </p:pic>
      <p:pic>
        <p:nvPicPr>
          <p:cNvPr id="105" name="Grafik 104">
            <a:extLst>
              <a:ext uri="{FF2B5EF4-FFF2-40B4-BE49-F238E27FC236}">
                <a16:creationId xmlns:a16="http://schemas.microsoft.com/office/drawing/2014/main" xmlns="" id="{87DDCF2E-9980-43EB-9D22-8A6B06C8BEDA}"/>
              </a:ext>
            </a:extLst>
          </p:cNvPr>
          <p:cNvPicPr>
            <a:picLocks noChangeAspect="1"/>
          </p:cNvPicPr>
          <p:nvPr/>
        </p:nvPicPr>
        <p:blipFill>
          <a:blip r:embed="rId8">
            <a:duotone>
              <a:schemeClr val="accent5">
                <a:shade val="45000"/>
                <a:satMod val="135000"/>
              </a:schemeClr>
              <a:prstClr val="white"/>
            </a:duotone>
            <a:extLst>
              <a:ext uri="{BEBA8EAE-BF5A-486C-A8C5-ECC9F3942E4B}">
                <a14:imgProps xmlns:a14="http://schemas.microsoft.com/office/drawing/2010/main">
                  <a14:imgLayer r:embed="rId9">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5365763" y="2346325"/>
            <a:ext cx="270361" cy="269875"/>
          </a:xfrm>
          <a:prstGeom prst="rect">
            <a:avLst/>
          </a:prstGeom>
        </p:spPr>
      </p:pic>
      <p:pic>
        <p:nvPicPr>
          <p:cNvPr id="108" name="Grafik 107">
            <a:extLst>
              <a:ext uri="{FF2B5EF4-FFF2-40B4-BE49-F238E27FC236}">
                <a16:creationId xmlns:a16="http://schemas.microsoft.com/office/drawing/2014/main" xmlns="" id="{200FCEF9-1BD3-4699-8595-C254456AD81C}"/>
              </a:ext>
            </a:extLst>
          </p:cNvPr>
          <p:cNvPicPr>
            <a:picLocks noChangeAspect="1"/>
          </p:cNvPicPr>
          <p:nvPr/>
        </p:nvPicPr>
        <p:blipFill rotWithShape="1">
          <a:blip r:embed="rId10">
            <a:duotone>
              <a:schemeClr val="accent5">
                <a:shade val="45000"/>
                <a:satMod val="135000"/>
              </a:schemeClr>
              <a:prstClr val="white"/>
            </a:duotone>
            <a:extLst>
              <a:ext uri="{BEBA8EAE-BF5A-486C-A8C5-ECC9F3942E4B}">
                <a14:imgProps xmlns:a14="http://schemas.microsoft.com/office/drawing/2010/main">
                  <a14:imgLayer r:embed="rId11">
                    <a14:imgEffect>
                      <a14:brightnessContrast contrast="-44000"/>
                    </a14:imgEffect>
                  </a14:imgLayer>
                </a14:imgProps>
              </a:ext>
              <a:ext uri="{28A0092B-C50C-407E-A947-70E740481C1C}">
                <a14:useLocalDpi xmlns:a14="http://schemas.microsoft.com/office/drawing/2010/main" val="0"/>
              </a:ext>
            </a:extLst>
          </a:blip>
          <a:srcRect t="20987" b="-7451"/>
          <a:stretch/>
        </p:blipFill>
        <p:spPr>
          <a:xfrm>
            <a:off x="3544095" y="3092450"/>
            <a:ext cx="299817" cy="258763"/>
          </a:xfrm>
          <a:prstGeom prst="rect">
            <a:avLst/>
          </a:prstGeom>
        </p:spPr>
      </p:pic>
      <p:pic>
        <p:nvPicPr>
          <p:cNvPr id="111" name="Grafik 110">
            <a:extLst>
              <a:ext uri="{FF2B5EF4-FFF2-40B4-BE49-F238E27FC236}">
                <a16:creationId xmlns:a16="http://schemas.microsoft.com/office/drawing/2014/main" xmlns="" id="{1960BD2C-48D3-4E31-A5EC-64E8F8EAFF10}"/>
              </a:ext>
            </a:extLst>
          </p:cNvPr>
          <p:cNvPicPr>
            <a:picLocks noChangeAspect="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3556252" y="2089150"/>
            <a:ext cx="322843" cy="322263"/>
          </a:xfrm>
          <a:prstGeom prst="rect">
            <a:avLst/>
          </a:prstGeom>
        </p:spPr>
      </p:pic>
      <p:pic>
        <p:nvPicPr>
          <p:cNvPr id="117" name="Grafik 116">
            <a:extLst>
              <a:ext uri="{FF2B5EF4-FFF2-40B4-BE49-F238E27FC236}">
                <a16:creationId xmlns:a16="http://schemas.microsoft.com/office/drawing/2014/main" xmlns="" id="{DC7CEAA1-15D3-4DD0-88CC-FBFF9CFC57D1}"/>
              </a:ext>
            </a:extLst>
          </p:cNvPr>
          <p:cNvPicPr>
            <a:picLocks noChangeAspect="1"/>
          </p:cNvPicPr>
          <p:nvPr/>
        </p:nvPicPr>
        <p:blipFill>
          <a:blip r:embed="rId8">
            <a:duotone>
              <a:schemeClr val="accent5">
                <a:shade val="45000"/>
                <a:satMod val="135000"/>
              </a:schemeClr>
              <a:prstClr val="white"/>
            </a:duotone>
            <a:extLst>
              <a:ext uri="{BEBA8EAE-BF5A-486C-A8C5-ECC9F3942E4B}">
                <a14:imgProps xmlns:a14="http://schemas.microsoft.com/office/drawing/2010/main">
                  <a14:imgLayer r:embed="rId9">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2573933" y="2352675"/>
            <a:ext cx="270361" cy="269875"/>
          </a:xfrm>
          <a:prstGeom prst="rect">
            <a:avLst/>
          </a:prstGeom>
        </p:spPr>
      </p:pic>
      <p:pic>
        <p:nvPicPr>
          <p:cNvPr id="120" name="Grafik 119">
            <a:extLst>
              <a:ext uri="{FF2B5EF4-FFF2-40B4-BE49-F238E27FC236}">
                <a16:creationId xmlns:a16="http://schemas.microsoft.com/office/drawing/2014/main" xmlns="" id="{69BA191F-4C3B-4E3D-B8C5-118C34D6BAB4}"/>
              </a:ext>
            </a:extLst>
          </p:cNvPr>
          <p:cNvPicPr>
            <a:picLocks noChangeAspect="1"/>
          </p:cNvPicPr>
          <p:nvPr/>
        </p:nvPicPr>
        <p:blipFill rotWithShape="1">
          <a:blip r:embed="rId10">
            <a:duotone>
              <a:schemeClr val="accent5">
                <a:shade val="45000"/>
                <a:satMod val="135000"/>
              </a:schemeClr>
              <a:prstClr val="white"/>
            </a:duotone>
            <a:extLst>
              <a:ext uri="{BEBA8EAE-BF5A-486C-A8C5-ECC9F3942E4B}">
                <a14:imgProps xmlns:a14="http://schemas.microsoft.com/office/drawing/2010/main">
                  <a14:imgLayer r:embed="rId11">
                    <a14:imgEffect>
                      <a14:brightnessContrast contrast="-44000"/>
                    </a14:imgEffect>
                  </a14:imgLayer>
                </a14:imgProps>
              </a:ext>
              <a:ext uri="{28A0092B-C50C-407E-A947-70E740481C1C}">
                <a14:useLocalDpi xmlns:a14="http://schemas.microsoft.com/office/drawing/2010/main" val="0"/>
              </a:ext>
            </a:extLst>
          </a:blip>
          <a:srcRect t="20987" b="-7451"/>
          <a:stretch/>
        </p:blipFill>
        <p:spPr>
          <a:xfrm>
            <a:off x="859012" y="3063875"/>
            <a:ext cx="299817" cy="258763"/>
          </a:xfrm>
          <a:prstGeom prst="rect">
            <a:avLst/>
          </a:prstGeom>
        </p:spPr>
      </p:pic>
      <p:pic>
        <p:nvPicPr>
          <p:cNvPr id="123" name="Grafik 122">
            <a:extLst>
              <a:ext uri="{FF2B5EF4-FFF2-40B4-BE49-F238E27FC236}">
                <a16:creationId xmlns:a16="http://schemas.microsoft.com/office/drawing/2014/main" xmlns="" id="{69C3A037-DFA7-444F-AD0B-D3D4B26687FC}"/>
              </a:ext>
            </a:extLst>
          </p:cNvPr>
          <p:cNvPicPr>
            <a:picLocks noChangeAspect="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865361" y="2159000"/>
            <a:ext cx="322843" cy="322263"/>
          </a:xfrm>
          <a:prstGeom prst="rect">
            <a:avLst/>
          </a:prstGeom>
        </p:spPr>
      </p:pic>
      <p:pic>
        <p:nvPicPr>
          <p:cNvPr id="162" name="Grafik 161">
            <a:extLst>
              <a:ext uri="{FF2B5EF4-FFF2-40B4-BE49-F238E27FC236}">
                <a16:creationId xmlns:a16="http://schemas.microsoft.com/office/drawing/2014/main" xmlns="" id="{55BA7C69-80FC-4F8C-A860-E3E7B6D3363F}"/>
              </a:ext>
            </a:extLst>
          </p:cNvPr>
          <p:cNvPicPr>
            <a:picLocks noChangeAspect="1"/>
          </p:cNvPicPr>
          <p:nvPr/>
        </p:nvPicPr>
        <p:blipFill>
          <a:blip r:embed="rId14">
            <a:duotone>
              <a:schemeClr val="accent5">
                <a:shade val="45000"/>
                <a:satMod val="135000"/>
              </a:schemeClr>
              <a:prstClr val="white"/>
            </a:duotone>
            <a:extLst>
              <a:ext uri="{BEBA8EAE-BF5A-486C-A8C5-ECC9F3942E4B}">
                <a14:imgProps xmlns:a14="http://schemas.microsoft.com/office/drawing/2010/main">
                  <a14:imgLayer r:embed="rId15">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7730627" y="3360738"/>
            <a:ext cx="316482" cy="315913"/>
          </a:xfrm>
          <a:prstGeom prst="rect">
            <a:avLst/>
          </a:prstGeom>
        </p:spPr>
      </p:pic>
      <p:pic>
        <p:nvPicPr>
          <p:cNvPr id="165" name="Grafik 164">
            <a:extLst>
              <a:ext uri="{FF2B5EF4-FFF2-40B4-BE49-F238E27FC236}">
                <a16:creationId xmlns:a16="http://schemas.microsoft.com/office/drawing/2014/main" xmlns="" id="{DD61D12B-1D77-43D8-BF1D-5521B6CDE544}"/>
              </a:ext>
            </a:extLst>
          </p:cNvPr>
          <p:cNvPicPr>
            <a:picLocks noChangeAspect="1"/>
          </p:cNvPicPr>
          <p:nvPr/>
        </p:nvPicPr>
        <p:blipFill>
          <a:blip r:embed="rId14">
            <a:duotone>
              <a:schemeClr val="accent5">
                <a:shade val="45000"/>
                <a:satMod val="135000"/>
              </a:schemeClr>
              <a:prstClr val="white"/>
            </a:duotone>
            <a:extLst>
              <a:ext uri="{BEBA8EAE-BF5A-486C-A8C5-ECC9F3942E4B}">
                <a14:imgProps xmlns:a14="http://schemas.microsoft.com/office/drawing/2010/main">
                  <a14:imgLayer r:embed="rId15">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4943518" y="3444875"/>
            <a:ext cx="316482" cy="315913"/>
          </a:xfrm>
          <a:prstGeom prst="rect">
            <a:avLst/>
          </a:prstGeom>
        </p:spPr>
      </p:pic>
      <p:pic>
        <p:nvPicPr>
          <p:cNvPr id="168" name="Grafik 167">
            <a:extLst>
              <a:ext uri="{FF2B5EF4-FFF2-40B4-BE49-F238E27FC236}">
                <a16:creationId xmlns:a16="http://schemas.microsoft.com/office/drawing/2014/main" xmlns="" id="{9D7C7F78-6BB0-410F-B938-F768CD5F5F50}"/>
              </a:ext>
            </a:extLst>
          </p:cNvPr>
          <p:cNvPicPr>
            <a:picLocks noChangeAspect="1"/>
          </p:cNvPicPr>
          <p:nvPr/>
        </p:nvPicPr>
        <p:blipFill>
          <a:blip r:embed="rId14">
            <a:duotone>
              <a:schemeClr val="accent5">
                <a:shade val="45000"/>
                <a:satMod val="135000"/>
              </a:schemeClr>
              <a:prstClr val="white"/>
            </a:duotone>
            <a:extLst>
              <a:ext uri="{BEBA8EAE-BF5A-486C-A8C5-ECC9F3942E4B}">
                <a14:imgProps xmlns:a14="http://schemas.microsoft.com/office/drawing/2010/main">
                  <a14:imgLayer r:embed="rId15">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2312417" y="3248025"/>
            <a:ext cx="316482" cy="315913"/>
          </a:xfrm>
          <a:prstGeom prst="rect">
            <a:avLst/>
          </a:prstGeom>
        </p:spPr>
      </p:pic>
      <p:sp>
        <p:nvSpPr>
          <p:cNvPr id="103" name="Textfeld 102">
            <a:extLst>
              <a:ext uri="{FF2B5EF4-FFF2-40B4-BE49-F238E27FC236}">
                <a16:creationId xmlns:a16="http://schemas.microsoft.com/office/drawing/2014/main" xmlns="" id="{F9C64C7F-DA17-4BB9-9050-9E752362B067}"/>
              </a:ext>
            </a:extLst>
          </p:cNvPr>
          <p:cNvSpPr txBox="1"/>
          <p:nvPr/>
        </p:nvSpPr>
        <p:spPr>
          <a:xfrm>
            <a:off x="451758" y="5919083"/>
            <a:ext cx="5417425" cy="246221"/>
          </a:xfrm>
          <a:prstGeom prst="rect">
            <a:avLst/>
          </a:prstGeom>
          <a:noFill/>
        </p:spPr>
        <p:txBody>
          <a:bodyPr wrap="square" rtlCol="0">
            <a:spAutoFit/>
          </a:bodyPr>
          <a:lstStyle/>
          <a:p>
            <a:r>
              <a:rPr lang="de-DE" sz="1000" dirty="0"/>
              <a:t>Quellen: Modal Split: Mobilität in Deutschland 2017, Wiener Linien – Modal Split 2018 </a:t>
            </a:r>
            <a:endParaRPr lang="de-DE" sz="1000" b="1" dirty="0">
              <a:solidFill>
                <a:srgbClr val="FF0000"/>
              </a:solidFill>
            </a:endParaRPr>
          </a:p>
        </p:txBody>
      </p:sp>
      <p:cxnSp>
        <p:nvCxnSpPr>
          <p:cNvPr id="196" name="Gerader Verbinder 195">
            <a:extLst>
              <a:ext uri="{FF2B5EF4-FFF2-40B4-BE49-F238E27FC236}">
                <a16:creationId xmlns:a16="http://schemas.microsoft.com/office/drawing/2014/main" xmlns="" id="{68DBDC8A-706D-4E8D-B141-C3EE314BAC43}"/>
              </a:ext>
            </a:extLst>
          </p:cNvPr>
          <p:cNvCxnSpPr/>
          <p:nvPr/>
        </p:nvCxnSpPr>
        <p:spPr>
          <a:xfrm>
            <a:off x="539750" y="5733256"/>
            <a:ext cx="8064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7" name="Textfeld 11">
            <a:extLst>
              <a:ext uri="{FF2B5EF4-FFF2-40B4-BE49-F238E27FC236}">
                <a16:creationId xmlns:a16="http://schemas.microsoft.com/office/drawing/2014/main" xmlns="" id="{99C358BC-2977-44D3-9E0A-E797ED72D1AE}"/>
              </a:ext>
            </a:extLst>
          </p:cNvPr>
          <p:cNvSpPr txBox="1"/>
          <p:nvPr/>
        </p:nvSpPr>
        <p:spPr>
          <a:xfrm>
            <a:off x="3189288" y="1613324"/>
            <a:ext cx="971550" cy="325752"/>
          </a:xfrm>
          <a:prstGeom prst="rect">
            <a:avLst/>
          </a:prstGeom>
          <a:noFill/>
        </p:spPr>
        <p:txBody>
          <a:bodyPr wrap="none"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b="1" dirty="0"/>
              <a:t>Hamburg</a:t>
            </a:r>
          </a:p>
        </p:txBody>
      </p:sp>
      <p:sp>
        <p:nvSpPr>
          <p:cNvPr id="88" name="Textfeld 12">
            <a:extLst>
              <a:ext uri="{FF2B5EF4-FFF2-40B4-BE49-F238E27FC236}">
                <a16:creationId xmlns:a16="http://schemas.microsoft.com/office/drawing/2014/main" xmlns="" id="{9C7CA3DA-89D0-4CB4-84FB-07DE38A80ADF}"/>
              </a:ext>
            </a:extLst>
          </p:cNvPr>
          <p:cNvSpPr txBox="1"/>
          <p:nvPr/>
        </p:nvSpPr>
        <p:spPr>
          <a:xfrm>
            <a:off x="5937250" y="1613324"/>
            <a:ext cx="968375" cy="325752"/>
          </a:xfrm>
          <a:prstGeom prst="rect">
            <a:avLst/>
          </a:prstGeom>
          <a:noFill/>
        </p:spPr>
        <p:txBody>
          <a:bodyPr wrap="none"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b="1" dirty="0"/>
              <a:t>München</a:t>
            </a:r>
          </a:p>
        </p:txBody>
      </p:sp>
      <p:sp>
        <p:nvSpPr>
          <p:cNvPr id="89" name="Rechteck 88">
            <a:extLst>
              <a:ext uri="{FF2B5EF4-FFF2-40B4-BE49-F238E27FC236}">
                <a16:creationId xmlns:a16="http://schemas.microsoft.com/office/drawing/2014/main" xmlns="" id="{D9EC5BF1-B463-4D32-83A1-C47BB6BF5C97}"/>
              </a:ext>
            </a:extLst>
          </p:cNvPr>
          <p:cNvSpPr/>
          <p:nvPr/>
        </p:nvSpPr>
        <p:spPr>
          <a:xfrm>
            <a:off x="452438" y="1613324"/>
            <a:ext cx="1103313" cy="3256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400" b="1" dirty="0">
                <a:solidFill>
                  <a:schemeClr val="tx1"/>
                </a:solidFill>
              </a:rPr>
              <a:t>Berlin</a:t>
            </a:r>
          </a:p>
        </p:txBody>
      </p:sp>
      <p:pic>
        <p:nvPicPr>
          <p:cNvPr id="90" name="Grafik 89">
            <a:extLst>
              <a:ext uri="{FF2B5EF4-FFF2-40B4-BE49-F238E27FC236}">
                <a16:creationId xmlns:a16="http://schemas.microsoft.com/office/drawing/2014/main" xmlns="" id="{0DC1438B-EDFE-4175-AFF9-4AF5BC3D8D08}"/>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467350" y="1506720"/>
            <a:ext cx="257175" cy="360045"/>
          </a:xfrm>
          <a:prstGeom prst="rect">
            <a:avLst/>
          </a:prstGeom>
        </p:spPr>
      </p:pic>
      <p:pic>
        <p:nvPicPr>
          <p:cNvPr id="91" name="Grafik 90">
            <a:extLst>
              <a:ext uri="{FF2B5EF4-FFF2-40B4-BE49-F238E27FC236}">
                <a16:creationId xmlns:a16="http://schemas.microsoft.com/office/drawing/2014/main" xmlns="" id="{5589A50D-55A1-45E2-A39A-0E1BA9533B59}"/>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2768600" y="1506720"/>
            <a:ext cx="219075" cy="359770"/>
          </a:xfrm>
          <a:prstGeom prst="rect">
            <a:avLst/>
          </a:prstGeom>
        </p:spPr>
      </p:pic>
      <p:pic>
        <p:nvPicPr>
          <p:cNvPr id="92" name="Grafik 91">
            <a:extLst>
              <a:ext uri="{FF2B5EF4-FFF2-40B4-BE49-F238E27FC236}">
                <a16:creationId xmlns:a16="http://schemas.microsoft.com/office/drawing/2014/main" xmlns="" id="{84A5E2E0-CEE7-42C9-92FB-9AB67C0E7554}"/>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8245475" y="1506721"/>
            <a:ext cx="287338" cy="359507"/>
          </a:xfrm>
          <a:prstGeom prst="rect">
            <a:avLst/>
          </a:prstGeom>
        </p:spPr>
      </p:pic>
      <p:sp>
        <p:nvSpPr>
          <p:cNvPr id="94" name="Textfeld 20">
            <a:extLst>
              <a:ext uri="{FF2B5EF4-FFF2-40B4-BE49-F238E27FC236}">
                <a16:creationId xmlns:a16="http://schemas.microsoft.com/office/drawing/2014/main" xmlns="" id="{85F01585-F060-4227-9C1E-C6B77538D972}"/>
              </a:ext>
            </a:extLst>
          </p:cNvPr>
          <p:cNvSpPr txBox="1"/>
          <p:nvPr/>
        </p:nvSpPr>
        <p:spPr>
          <a:xfrm>
            <a:off x="3189288" y="3757433"/>
            <a:ext cx="611188" cy="325752"/>
          </a:xfrm>
          <a:prstGeom prst="rect">
            <a:avLst/>
          </a:prstGeom>
          <a:noFill/>
        </p:spPr>
        <p:txBody>
          <a:bodyPr wrap="none"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b="1" dirty="0"/>
              <a:t>Wien</a:t>
            </a:r>
          </a:p>
        </p:txBody>
      </p:sp>
      <p:sp>
        <p:nvSpPr>
          <p:cNvPr id="95" name="Rechteck 94">
            <a:extLst>
              <a:ext uri="{FF2B5EF4-FFF2-40B4-BE49-F238E27FC236}">
                <a16:creationId xmlns:a16="http://schemas.microsoft.com/office/drawing/2014/main" xmlns="" id="{6A9163E2-B2CC-4F69-BA1C-FFB6340DE692}"/>
              </a:ext>
            </a:extLst>
          </p:cNvPr>
          <p:cNvSpPr/>
          <p:nvPr/>
        </p:nvSpPr>
        <p:spPr>
          <a:xfrm>
            <a:off x="452438" y="3757433"/>
            <a:ext cx="1103313" cy="3256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400" b="1" dirty="0">
                <a:solidFill>
                  <a:schemeClr val="tx1"/>
                </a:solidFill>
              </a:rPr>
              <a:t>Köln</a:t>
            </a:r>
          </a:p>
        </p:txBody>
      </p:sp>
      <p:cxnSp>
        <p:nvCxnSpPr>
          <p:cNvPr id="109" name="Gerade Verbindung 6">
            <a:extLst>
              <a:ext uri="{FF2B5EF4-FFF2-40B4-BE49-F238E27FC236}">
                <a16:creationId xmlns:a16="http://schemas.microsoft.com/office/drawing/2014/main" xmlns="" id="{309D525A-275B-4AAE-820A-295BAAA3F254}"/>
              </a:ext>
            </a:extLst>
          </p:cNvPr>
          <p:cNvCxnSpPr/>
          <p:nvPr/>
        </p:nvCxnSpPr>
        <p:spPr>
          <a:xfrm>
            <a:off x="539750" y="1938943"/>
            <a:ext cx="25923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0" name="Gerade Verbindung 18">
            <a:extLst>
              <a:ext uri="{FF2B5EF4-FFF2-40B4-BE49-F238E27FC236}">
                <a16:creationId xmlns:a16="http://schemas.microsoft.com/office/drawing/2014/main" xmlns="" id="{BD9D77B0-FAF5-4BF9-87D6-05245ABC573E}"/>
              </a:ext>
            </a:extLst>
          </p:cNvPr>
          <p:cNvCxnSpPr/>
          <p:nvPr/>
        </p:nvCxnSpPr>
        <p:spPr>
          <a:xfrm>
            <a:off x="3276600" y="1938943"/>
            <a:ext cx="25923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Gerade Verbindung 19">
            <a:extLst>
              <a:ext uri="{FF2B5EF4-FFF2-40B4-BE49-F238E27FC236}">
                <a16:creationId xmlns:a16="http://schemas.microsoft.com/office/drawing/2014/main" xmlns="" id="{EC0D09B5-9010-4F3E-BA99-C793A5612DDF}"/>
              </a:ext>
            </a:extLst>
          </p:cNvPr>
          <p:cNvCxnSpPr/>
          <p:nvPr/>
        </p:nvCxnSpPr>
        <p:spPr>
          <a:xfrm>
            <a:off x="6011863" y="1938943"/>
            <a:ext cx="25923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3" name="Gerade Verbindung 6">
            <a:extLst>
              <a:ext uri="{FF2B5EF4-FFF2-40B4-BE49-F238E27FC236}">
                <a16:creationId xmlns:a16="http://schemas.microsoft.com/office/drawing/2014/main" xmlns="" id="{3DF2D4D0-9715-4AC5-A51B-6B69054DBA85}"/>
              </a:ext>
            </a:extLst>
          </p:cNvPr>
          <p:cNvCxnSpPr/>
          <p:nvPr/>
        </p:nvCxnSpPr>
        <p:spPr>
          <a:xfrm>
            <a:off x="539750" y="4083051"/>
            <a:ext cx="25923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4" name="Gerade Verbindung 18">
            <a:extLst>
              <a:ext uri="{FF2B5EF4-FFF2-40B4-BE49-F238E27FC236}">
                <a16:creationId xmlns:a16="http://schemas.microsoft.com/office/drawing/2014/main" xmlns="" id="{EE2D6DF0-FBF5-43B0-A1C1-1344B92A6678}"/>
              </a:ext>
            </a:extLst>
          </p:cNvPr>
          <p:cNvCxnSpPr/>
          <p:nvPr/>
        </p:nvCxnSpPr>
        <p:spPr>
          <a:xfrm>
            <a:off x="3276600" y="4083051"/>
            <a:ext cx="25923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6" name="Grafik 115">
            <a:extLst>
              <a:ext uri="{FF2B5EF4-FFF2-40B4-BE49-F238E27FC236}">
                <a16:creationId xmlns:a16="http://schemas.microsoft.com/office/drawing/2014/main" xmlns="" id="{5018FA8C-683D-4886-A4BF-2183B2651490}"/>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5467350" y="3716198"/>
            <a:ext cx="257175" cy="334327"/>
          </a:xfrm>
          <a:prstGeom prst="rect">
            <a:avLst/>
          </a:prstGeom>
        </p:spPr>
      </p:pic>
      <p:pic>
        <p:nvPicPr>
          <p:cNvPr id="118" name="Grafik 117">
            <a:extLst>
              <a:ext uri="{FF2B5EF4-FFF2-40B4-BE49-F238E27FC236}">
                <a16:creationId xmlns:a16="http://schemas.microsoft.com/office/drawing/2014/main" xmlns="" id="{13959A9B-3B22-4DC6-B04A-279340CE26AE}"/>
              </a:ext>
            </a:extLst>
          </p:cNvPr>
          <p:cNvPicPr>
            <a:picLocks noChangeAspect="1"/>
          </p:cNvPicPr>
          <p:nvPr/>
        </p:nvPicPr>
        <p:blipFill>
          <a:blip r:embed="rId20" cstate="hqprint">
            <a:extLst>
              <a:ext uri="{28A0092B-C50C-407E-A947-70E740481C1C}">
                <a14:useLocalDpi xmlns:a14="http://schemas.microsoft.com/office/drawing/2010/main"/>
              </a:ext>
            </a:extLst>
          </a:blip>
          <a:stretch>
            <a:fillRect/>
          </a:stretch>
        </p:blipFill>
        <p:spPr>
          <a:xfrm>
            <a:off x="2770188" y="3724864"/>
            <a:ext cx="271463" cy="326028"/>
          </a:xfrm>
          <a:prstGeom prst="rect">
            <a:avLst/>
          </a:prstGeom>
          <a:effectLst/>
        </p:spPr>
      </p:pic>
      <p:pic>
        <p:nvPicPr>
          <p:cNvPr id="106" name="Grafik 105">
            <a:extLst>
              <a:ext uri="{FF2B5EF4-FFF2-40B4-BE49-F238E27FC236}">
                <a16:creationId xmlns:a16="http://schemas.microsoft.com/office/drawing/2014/main" xmlns="" id="{455509C3-9A19-44EE-A28D-483595271E7A}"/>
              </a:ext>
            </a:extLst>
          </p:cNvPr>
          <p:cNvPicPr>
            <a:picLocks noChangeAspect="1"/>
          </p:cNvPicPr>
          <p:nvPr/>
        </p:nvPicPr>
        <p:blipFill>
          <a:blip r:embed="rId8">
            <a:duotone>
              <a:schemeClr val="accent5">
                <a:shade val="45000"/>
                <a:satMod val="135000"/>
              </a:schemeClr>
              <a:prstClr val="white"/>
            </a:duotone>
            <a:extLst>
              <a:ext uri="{BEBA8EAE-BF5A-486C-A8C5-ECC9F3942E4B}">
                <a14:imgProps xmlns:a14="http://schemas.microsoft.com/office/drawing/2010/main">
                  <a14:imgLayer r:embed="rId9">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2596926" y="4460789"/>
            <a:ext cx="270361" cy="269875"/>
          </a:xfrm>
          <a:prstGeom prst="rect">
            <a:avLst/>
          </a:prstGeom>
        </p:spPr>
      </p:pic>
      <p:pic>
        <p:nvPicPr>
          <p:cNvPr id="107" name="Grafik 106">
            <a:extLst>
              <a:ext uri="{FF2B5EF4-FFF2-40B4-BE49-F238E27FC236}">
                <a16:creationId xmlns:a16="http://schemas.microsoft.com/office/drawing/2014/main" xmlns="" id="{E76A36DB-5D14-4AAD-98F8-ACFF11F22B56}"/>
              </a:ext>
            </a:extLst>
          </p:cNvPr>
          <p:cNvPicPr>
            <a:picLocks noChangeAspect="1"/>
          </p:cNvPicPr>
          <p:nvPr/>
        </p:nvPicPr>
        <p:blipFill>
          <a:blip r:embed="rId14">
            <a:duotone>
              <a:schemeClr val="accent5">
                <a:shade val="45000"/>
                <a:satMod val="135000"/>
              </a:schemeClr>
              <a:prstClr val="white"/>
            </a:duotone>
            <a:extLst>
              <a:ext uri="{BEBA8EAE-BF5A-486C-A8C5-ECC9F3942E4B}">
                <a14:imgProps xmlns:a14="http://schemas.microsoft.com/office/drawing/2010/main">
                  <a14:imgLayer r:embed="rId15">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2340200" y="5331370"/>
            <a:ext cx="316482" cy="315913"/>
          </a:xfrm>
          <a:prstGeom prst="rect">
            <a:avLst/>
          </a:prstGeom>
        </p:spPr>
      </p:pic>
      <p:pic>
        <p:nvPicPr>
          <p:cNvPr id="115" name="Grafik 114">
            <a:extLst>
              <a:ext uri="{FF2B5EF4-FFF2-40B4-BE49-F238E27FC236}">
                <a16:creationId xmlns:a16="http://schemas.microsoft.com/office/drawing/2014/main" xmlns="" id="{AFF368B1-4AB2-4AE8-A7EB-1EF83AB0509D}"/>
              </a:ext>
            </a:extLst>
          </p:cNvPr>
          <p:cNvPicPr>
            <a:picLocks noChangeAspect="1"/>
          </p:cNvPicPr>
          <p:nvPr/>
        </p:nvPicPr>
        <p:blipFill rotWithShape="1">
          <a:blip r:embed="rId10">
            <a:duotone>
              <a:schemeClr val="accent5">
                <a:shade val="45000"/>
                <a:satMod val="135000"/>
              </a:schemeClr>
              <a:prstClr val="white"/>
            </a:duotone>
            <a:extLst>
              <a:ext uri="{BEBA8EAE-BF5A-486C-A8C5-ECC9F3942E4B}">
                <a14:imgProps xmlns:a14="http://schemas.microsoft.com/office/drawing/2010/main">
                  <a14:imgLayer r:embed="rId11">
                    <a14:imgEffect>
                      <a14:brightnessContrast contrast="-44000"/>
                    </a14:imgEffect>
                  </a14:imgLayer>
                </a14:imgProps>
              </a:ext>
              <a:ext uri="{28A0092B-C50C-407E-A947-70E740481C1C}">
                <a14:useLocalDpi xmlns:a14="http://schemas.microsoft.com/office/drawing/2010/main" val="0"/>
              </a:ext>
            </a:extLst>
          </a:blip>
          <a:srcRect t="20987" b="-7451"/>
          <a:stretch/>
        </p:blipFill>
        <p:spPr>
          <a:xfrm>
            <a:off x="876583" y="5159848"/>
            <a:ext cx="299817" cy="258763"/>
          </a:xfrm>
          <a:prstGeom prst="rect">
            <a:avLst/>
          </a:prstGeom>
        </p:spPr>
      </p:pic>
      <p:pic>
        <p:nvPicPr>
          <p:cNvPr id="119" name="Grafik 118">
            <a:extLst>
              <a:ext uri="{FF2B5EF4-FFF2-40B4-BE49-F238E27FC236}">
                <a16:creationId xmlns:a16="http://schemas.microsoft.com/office/drawing/2014/main" xmlns="" id="{2B5F8F17-5518-4B44-9879-9CE54916EBB4}"/>
              </a:ext>
            </a:extLst>
          </p:cNvPr>
          <p:cNvPicPr>
            <a:picLocks noChangeAspect="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936789" y="4206875"/>
            <a:ext cx="322843" cy="322263"/>
          </a:xfrm>
          <a:prstGeom prst="rect">
            <a:avLst/>
          </a:prstGeom>
        </p:spPr>
      </p:pic>
      <p:pic>
        <p:nvPicPr>
          <p:cNvPr id="124" name="Grafik 123">
            <a:extLst>
              <a:ext uri="{FF2B5EF4-FFF2-40B4-BE49-F238E27FC236}">
                <a16:creationId xmlns:a16="http://schemas.microsoft.com/office/drawing/2014/main" xmlns="" id="{1FC3DCF0-7AC0-47A9-A6B8-DC0BFF0304BF}"/>
              </a:ext>
            </a:extLst>
          </p:cNvPr>
          <p:cNvPicPr>
            <a:picLocks noChangeAspect="1"/>
          </p:cNvPicPr>
          <p:nvPr/>
        </p:nvPicPr>
        <p:blipFill>
          <a:blip r:embed="rId8">
            <a:duotone>
              <a:schemeClr val="accent5">
                <a:shade val="45000"/>
                <a:satMod val="135000"/>
              </a:schemeClr>
              <a:prstClr val="white"/>
            </a:duotone>
            <a:extLst>
              <a:ext uri="{BEBA8EAE-BF5A-486C-A8C5-ECC9F3942E4B}">
                <a14:imgProps xmlns:a14="http://schemas.microsoft.com/office/drawing/2010/main">
                  <a14:imgLayer r:embed="rId9">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5365277" y="4325939"/>
            <a:ext cx="270361" cy="269875"/>
          </a:xfrm>
          <a:prstGeom prst="rect">
            <a:avLst/>
          </a:prstGeom>
        </p:spPr>
      </p:pic>
      <p:pic>
        <p:nvPicPr>
          <p:cNvPr id="125" name="Grafik 124">
            <a:extLst>
              <a:ext uri="{FF2B5EF4-FFF2-40B4-BE49-F238E27FC236}">
                <a16:creationId xmlns:a16="http://schemas.microsoft.com/office/drawing/2014/main" xmlns="" id="{5550ADAA-C166-4F0E-9E69-D5CAAF62A7D0}"/>
              </a:ext>
            </a:extLst>
          </p:cNvPr>
          <p:cNvPicPr>
            <a:picLocks noChangeAspect="1"/>
          </p:cNvPicPr>
          <p:nvPr/>
        </p:nvPicPr>
        <p:blipFill>
          <a:blip r:embed="rId14">
            <a:duotone>
              <a:schemeClr val="accent5">
                <a:shade val="45000"/>
                <a:satMod val="135000"/>
              </a:schemeClr>
              <a:prstClr val="white"/>
            </a:duotone>
            <a:extLst>
              <a:ext uri="{BEBA8EAE-BF5A-486C-A8C5-ECC9F3942E4B}">
                <a14:imgProps xmlns:a14="http://schemas.microsoft.com/office/drawing/2010/main">
                  <a14:imgLayer r:embed="rId15">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5207036" y="5349433"/>
            <a:ext cx="316482" cy="315913"/>
          </a:xfrm>
          <a:prstGeom prst="rect">
            <a:avLst/>
          </a:prstGeom>
        </p:spPr>
      </p:pic>
      <p:pic>
        <p:nvPicPr>
          <p:cNvPr id="126" name="Grafik 125">
            <a:extLst>
              <a:ext uri="{FF2B5EF4-FFF2-40B4-BE49-F238E27FC236}">
                <a16:creationId xmlns:a16="http://schemas.microsoft.com/office/drawing/2014/main" xmlns="" id="{48DBB9DF-B582-4ED5-93DE-E3545F54A45E}"/>
              </a:ext>
            </a:extLst>
          </p:cNvPr>
          <p:cNvPicPr>
            <a:picLocks noChangeAspect="1"/>
          </p:cNvPicPr>
          <p:nvPr/>
        </p:nvPicPr>
        <p:blipFill rotWithShape="1">
          <a:blip r:embed="rId10">
            <a:duotone>
              <a:schemeClr val="accent5">
                <a:shade val="45000"/>
                <a:satMod val="135000"/>
              </a:schemeClr>
              <a:prstClr val="white"/>
            </a:duotone>
            <a:extLst>
              <a:ext uri="{BEBA8EAE-BF5A-486C-A8C5-ECC9F3942E4B}">
                <a14:imgProps xmlns:a14="http://schemas.microsoft.com/office/drawing/2010/main">
                  <a14:imgLayer r:embed="rId11">
                    <a14:imgEffect>
                      <a14:brightnessContrast contrast="-44000"/>
                    </a14:imgEffect>
                  </a14:imgLayer>
                </a14:imgProps>
              </a:ext>
              <a:ext uri="{28A0092B-C50C-407E-A947-70E740481C1C}">
                <a14:useLocalDpi xmlns:a14="http://schemas.microsoft.com/office/drawing/2010/main" val="0"/>
              </a:ext>
            </a:extLst>
          </a:blip>
          <a:srcRect t="20987" b="-7451"/>
          <a:stretch/>
        </p:blipFill>
        <p:spPr>
          <a:xfrm>
            <a:off x="3455304" y="5061608"/>
            <a:ext cx="299817" cy="258763"/>
          </a:xfrm>
          <a:prstGeom prst="rect">
            <a:avLst/>
          </a:prstGeom>
        </p:spPr>
      </p:pic>
      <p:pic>
        <p:nvPicPr>
          <p:cNvPr id="127" name="Grafik 126">
            <a:extLst>
              <a:ext uri="{FF2B5EF4-FFF2-40B4-BE49-F238E27FC236}">
                <a16:creationId xmlns:a16="http://schemas.microsoft.com/office/drawing/2014/main" xmlns="" id="{87C0BAC6-36F6-4E41-B633-973BF1FD7657}"/>
              </a:ext>
            </a:extLst>
          </p:cNvPr>
          <p:cNvPicPr>
            <a:picLocks noChangeAspect="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3569959" y="4235789"/>
            <a:ext cx="322843" cy="322263"/>
          </a:xfrm>
          <a:prstGeom prst="rect">
            <a:avLst/>
          </a:prstGeom>
        </p:spPr>
      </p:pic>
      <p:pic>
        <p:nvPicPr>
          <p:cNvPr id="65" name="Grafik 64">
            <a:extLst>
              <a:ext uri="{FF2B5EF4-FFF2-40B4-BE49-F238E27FC236}">
                <a16:creationId xmlns:a16="http://schemas.microsoft.com/office/drawing/2014/main" xmlns="" id="{71DA6F10-04D6-4008-AA59-1DE57253572C}"/>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l="17376" t="33075" r="52738" b="41992"/>
          <a:stretch/>
        </p:blipFill>
        <p:spPr>
          <a:xfrm>
            <a:off x="1021053" y="2001349"/>
            <a:ext cx="1554784" cy="1498330"/>
          </a:xfrm>
          <a:prstGeom prst="rect">
            <a:avLst/>
          </a:prstGeom>
        </p:spPr>
      </p:pic>
      <p:pic>
        <p:nvPicPr>
          <p:cNvPr id="66" name="Grafik 65">
            <a:extLst>
              <a:ext uri="{FF2B5EF4-FFF2-40B4-BE49-F238E27FC236}">
                <a16:creationId xmlns:a16="http://schemas.microsoft.com/office/drawing/2014/main" xmlns="" id="{77D2AB3E-1B2D-457F-B181-B25A4ABA7BC0}"/>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l="36056" t="5974" r="34544" b="68992"/>
          <a:stretch/>
        </p:blipFill>
        <p:spPr>
          <a:xfrm>
            <a:off x="3825129" y="4170852"/>
            <a:ext cx="1529509" cy="1504366"/>
          </a:xfrm>
          <a:prstGeom prst="rect">
            <a:avLst/>
          </a:prstGeom>
        </p:spPr>
      </p:pic>
      <p:pic>
        <p:nvPicPr>
          <p:cNvPr id="69" name="Grafik 68">
            <a:extLst>
              <a:ext uri="{FF2B5EF4-FFF2-40B4-BE49-F238E27FC236}">
                <a16:creationId xmlns:a16="http://schemas.microsoft.com/office/drawing/2014/main" xmlns="" id="{561E0E41-96C5-49F0-A7E4-EF13131B9461}"/>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l="52531" t="33401" r="17583" b="41992"/>
          <a:stretch/>
        </p:blipFill>
        <p:spPr>
          <a:xfrm>
            <a:off x="3817345" y="2070002"/>
            <a:ext cx="1554784" cy="1478777"/>
          </a:xfrm>
          <a:prstGeom prst="rect">
            <a:avLst/>
          </a:prstGeom>
        </p:spPr>
      </p:pic>
      <p:pic>
        <p:nvPicPr>
          <p:cNvPr id="70" name="Grafik 69">
            <a:extLst>
              <a:ext uri="{FF2B5EF4-FFF2-40B4-BE49-F238E27FC236}">
                <a16:creationId xmlns:a16="http://schemas.microsoft.com/office/drawing/2014/main" xmlns="" id="{0014E37F-F5A2-4349-B04D-B8E78A8686E3}"/>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l="17376" t="59823" r="50857" b="15416"/>
          <a:stretch/>
        </p:blipFill>
        <p:spPr>
          <a:xfrm>
            <a:off x="6529335" y="2011659"/>
            <a:ext cx="1652641" cy="1488020"/>
          </a:xfrm>
          <a:prstGeom prst="rect">
            <a:avLst/>
          </a:prstGeom>
        </p:spPr>
      </p:pic>
      <p:pic>
        <p:nvPicPr>
          <p:cNvPr id="71" name="Grafik 70">
            <a:extLst>
              <a:ext uri="{FF2B5EF4-FFF2-40B4-BE49-F238E27FC236}">
                <a16:creationId xmlns:a16="http://schemas.microsoft.com/office/drawing/2014/main" xmlns="" id="{583AEA0E-698D-483D-B3BC-C9AFC5C7D82B}"/>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l="52531" t="60077" r="17583" b="15416"/>
          <a:stretch/>
        </p:blipFill>
        <p:spPr>
          <a:xfrm>
            <a:off x="1074114" y="4164643"/>
            <a:ext cx="1554785" cy="1472755"/>
          </a:xfrm>
          <a:prstGeom prst="rect">
            <a:avLst/>
          </a:prstGeom>
        </p:spPr>
      </p:pic>
      <p:sp>
        <p:nvSpPr>
          <p:cNvPr id="5" name="Textfeld 4">
            <a:extLst>
              <a:ext uri="{FF2B5EF4-FFF2-40B4-BE49-F238E27FC236}">
                <a16:creationId xmlns:a16="http://schemas.microsoft.com/office/drawing/2014/main" xmlns="" id="{942EE0CC-4CC2-4137-8E0A-85DD25765FE7}"/>
              </a:ext>
            </a:extLst>
          </p:cNvPr>
          <p:cNvSpPr txBox="1"/>
          <p:nvPr/>
        </p:nvSpPr>
        <p:spPr>
          <a:xfrm>
            <a:off x="-1614106" y="1506720"/>
            <a:ext cx="1206962" cy="2062103"/>
          </a:xfrm>
          <a:prstGeom prst="rect">
            <a:avLst/>
          </a:prstGeom>
          <a:solidFill>
            <a:srgbClr val="92D050"/>
          </a:solidFill>
        </p:spPr>
        <p:txBody>
          <a:bodyPr wrap="square" rtlCol="0">
            <a:spAutoFit/>
          </a:bodyPr>
          <a:lstStyle/>
          <a:p>
            <a:r>
              <a:rPr lang="de-DE" sz="1600" b="1" dirty="0"/>
              <a:t>Teaser</a:t>
            </a:r>
            <a:r>
              <a:rPr lang="de-DE" sz="1600" dirty="0"/>
              <a:t>: </a:t>
            </a:r>
          </a:p>
          <a:p>
            <a:r>
              <a:rPr lang="de-DE" sz="1600" dirty="0"/>
              <a:t>Wien als Erfolg, aber „Das beste Angebot ist nicht der Preis“ </a:t>
            </a:r>
          </a:p>
        </p:txBody>
      </p:sp>
    </p:spTree>
    <p:extLst>
      <p:ext uri="{BB962C8B-B14F-4D97-AF65-F5344CB8AC3E}">
        <p14:creationId xmlns:p14="http://schemas.microsoft.com/office/powerpoint/2010/main" val="177477399"/>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689" name="think-cell Folie" r:id="rId8" imgW="270" imgH="270" progId="TCLayout.ActiveDocument.1">
                  <p:embed/>
                </p:oleObj>
              </mc:Choice>
              <mc:Fallback>
                <p:oleObj name="think-cell Folie" r:id="rId8" imgW="270" imgH="270" progId="TCLayout.ActiveDocument.1">
                  <p:embed/>
                  <p:pic>
                    <p:nvPicPr>
                      <p:cNvPr id="2" name="Objekt 1" hidden="1"/>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 id="{A7DCB83B-56B6-4512-B417-8BF536F42992}"/>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3" name="Titel 22"/>
          <p:cNvSpPr>
            <a:spLocks noGrp="1"/>
          </p:cNvSpPr>
          <p:nvPr>
            <p:ph type="title"/>
          </p:nvPr>
        </p:nvSpPr>
        <p:spPr/>
        <p:txBody>
          <a:bodyPr/>
          <a:lstStyle/>
          <a:p>
            <a:r>
              <a:rPr lang="de-DE" dirty="0"/>
              <a:t>Bis auf den deutlich günstigeren Preis hat das 365-Euro-Ticket </a:t>
            </a:r>
            <a:r>
              <a:rPr lang="de-DE" dirty="0" err="1"/>
              <a:t>ggü</a:t>
            </a:r>
            <a:r>
              <a:rPr lang="de-DE" dirty="0"/>
              <a:t>. dem regulären Abo ausschließlich Nachteile</a:t>
            </a:r>
          </a:p>
        </p:txBody>
      </p:sp>
      <p:sp>
        <p:nvSpPr>
          <p:cNvPr id="24" name="Inhaltsplatzhalter 23"/>
          <p:cNvSpPr>
            <a:spLocks noGrp="1"/>
          </p:cNvSpPr>
          <p:nvPr>
            <p:ph idx="1"/>
          </p:nvPr>
        </p:nvSpPr>
        <p:spPr/>
        <p:txBody>
          <a:bodyPr/>
          <a:lstStyle/>
          <a:p>
            <a:r>
              <a:rPr lang="de-DE" dirty="0"/>
              <a:t>Beispiel: „Lead City“ Bonn</a:t>
            </a:r>
          </a:p>
        </p:txBody>
      </p:sp>
      <p:sp>
        <p:nvSpPr>
          <p:cNvPr id="4" name="Foliennummernplatzhalter 3"/>
          <p:cNvSpPr>
            <a:spLocks noGrp="1"/>
          </p:cNvSpPr>
          <p:nvPr>
            <p:ph type="sldNum" sz="quarter" idx="11"/>
          </p:nvPr>
        </p:nvSpPr>
        <p:spPr>
          <a:xfrm>
            <a:off x="519428" y="6295779"/>
            <a:ext cx="227626" cy="246221"/>
          </a:xfrm>
        </p:spPr>
        <p:txBody>
          <a:bodyPr/>
          <a:lstStyle/>
          <a:p>
            <a:fld id="{CD21EFEB-933F-4F46-A5AD-B6372944D9E5}" type="slidenum">
              <a:rPr lang="de-DE" smtClean="0"/>
              <a:pPr/>
              <a:t>50</a:t>
            </a:fld>
            <a:endParaRPr lang="de-DE"/>
          </a:p>
        </p:txBody>
      </p:sp>
      <p:sp>
        <p:nvSpPr>
          <p:cNvPr id="10" name="Inhaltsplatzhalter 2"/>
          <p:cNvSpPr txBox="1">
            <a:spLocks/>
          </p:cNvSpPr>
          <p:nvPr/>
        </p:nvSpPr>
        <p:spPr>
          <a:xfrm>
            <a:off x="539750" y="1988063"/>
            <a:ext cx="3603622" cy="3961887"/>
          </a:xfrm>
          <a:prstGeom prst="homePlate">
            <a:avLst>
              <a:gd name="adj" fmla="val 8023"/>
            </a:avLst>
          </a:prstGeom>
          <a:solidFill>
            <a:schemeClr val="bg1"/>
          </a:solidFill>
          <a:ln>
            <a:solidFill>
              <a:schemeClr val="accent5"/>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177800" lvl="2" indent="-177800">
              <a:spcBef>
                <a:spcPts val="900"/>
              </a:spcBef>
            </a:pPr>
            <a:r>
              <a:rPr lang="de-DE" sz="1400" dirty="0"/>
              <a:t>Preis: 1.021,20 € (Stufe 1b für Stadtgebiet Bonn)</a:t>
            </a:r>
          </a:p>
          <a:p>
            <a:pPr marL="177800" lvl="2" indent="-177800">
              <a:spcBef>
                <a:spcPts val="900"/>
              </a:spcBef>
            </a:pPr>
            <a:r>
              <a:rPr lang="de-DE" sz="1400" b="1" dirty="0"/>
              <a:t>Neu- und Bestandskunden</a:t>
            </a:r>
          </a:p>
          <a:p>
            <a:pPr marL="177800" lvl="2" indent="-177800">
              <a:spcBef>
                <a:spcPts val="900"/>
              </a:spcBef>
            </a:pPr>
            <a:r>
              <a:rPr lang="de-DE" sz="1400" b="1" dirty="0"/>
              <a:t>Übertragbar</a:t>
            </a:r>
          </a:p>
          <a:p>
            <a:pPr marL="177800" lvl="2" indent="-177800">
              <a:spcBef>
                <a:spcPts val="900"/>
              </a:spcBef>
            </a:pPr>
            <a:r>
              <a:rPr lang="de-DE" sz="1400" b="1" dirty="0"/>
              <a:t>Bei Bedarf erweiterbar über Stadtgebiet Bonn hinaus</a:t>
            </a:r>
          </a:p>
          <a:p>
            <a:pPr marL="177800" lvl="2" indent="-177800">
              <a:spcBef>
                <a:spcPts val="900"/>
              </a:spcBef>
            </a:pPr>
            <a:r>
              <a:rPr lang="de-DE" sz="1400" b="1" dirty="0"/>
              <a:t>Anschlussticket möglich</a:t>
            </a:r>
          </a:p>
          <a:p>
            <a:pPr marL="177800" lvl="2" indent="-177800">
              <a:spcBef>
                <a:spcPts val="900"/>
              </a:spcBef>
            </a:pPr>
            <a:r>
              <a:rPr lang="de-DE" sz="1400" b="1" dirty="0"/>
              <a:t>unbefristet</a:t>
            </a:r>
          </a:p>
        </p:txBody>
      </p:sp>
      <p:sp>
        <p:nvSpPr>
          <p:cNvPr id="6" name="Freeform 17"/>
          <p:cNvSpPr/>
          <p:nvPr>
            <p:custDataLst>
              <p:tags r:id="rId4"/>
            </p:custDataLst>
          </p:nvPr>
        </p:nvSpPr>
        <p:spPr bwMode="auto">
          <a:xfrm>
            <a:off x="539750" y="1627849"/>
            <a:ext cx="3314700" cy="360363"/>
          </a:xfrm>
          <a:custGeom>
            <a:avLst/>
            <a:gdLst>
              <a:gd name="connsiteX0" fmla="*/ 0 w 4100512"/>
              <a:gd name="connsiteY0" fmla="*/ 0 h 352425"/>
              <a:gd name="connsiteX1" fmla="*/ 3986212 w 4100512"/>
              <a:gd name="connsiteY1" fmla="*/ 4762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0 h 352425"/>
              <a:gd name="connsiteX1" fmla="*/ 3989695 w 4100512"/>
              <a:gd name="connsiteY1" fmla="*/ 6566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1753 h 354178"/>
              <a:gd name="connsiteX1" fmla="*/ 3976307 w 4100512"/>
              <a:gd name="connsiteY1" fmla="*/ 0 h 354178"/>
              <a:gd name="connsiteX2" fmla="*/ 4100512 w 4100512"/>
              <a:gd name="connsiteY2" fmla="*/ 354178 h 354178"/>
              <a:gd name="connsiteX3" fmla="*/ 0 w 4100512"/>
              <a:gd name="connsiteY3" fmla="*/ 354178 h 354178"/>
              <a:gd name="connsiteX4" fmla="*/ 0 w 4100512"/>
              <a:gd name="connsiteY4" fmla="*/ 1753 h 354178"/>
              <a:gd name="connsiteX0" fmla="*/ 0 w 4100512"/>
              <a:gd name="connsiteY0" fmla="*/ 10072 h 362497"/>
              <a:gd name="connsiteX1" fmla="*/ 3986538 w 4100512"/>
              <a:gd name="connsiteY1" fmla="*/ 0 h 362497"/>
              <a:gd name="connsiteX2" fmla="*/ 4100512 w 4100512"/>
              <a:gd name="connsiteY2" fmla="*/ 362497 h 362497"/>
              <a:gd name="connsiteX3" fmla="*/ 0 w 4100512"/>
              <a:gd name="connsiteY3" fmla="*/ 362497 h 362497"/>
              <a:gd name="connsiteX4" fmla="*/ 0 w 4100512"/>
              <a:gd name="connsiteY4" fmla="*/ 10072 h 362497"/>
              <a:gd name="connsiteX0" fmla="*/ 0 w 4100512"/>
              <a:gd name="connsiteY0" fmla="*/ 0 h 352425"/>
              <a:gd name="connsiteX1" fmla="*/ 3989912 w 4100512"/>
              <a:gd name="connsiteY1" fmla="*/ 3424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3324 h 355749"/>
              <a:gd name="connsiteX1" fmla="*/ 3989912 w 4100512"/>
              <a:gd name="connsiteY1" fmla="*/ 0 h 355749"/>
              <a:gd name="connsiteX2" fmla="*/ 4100512 w 4100512"/>
              <a:gd name="connsiteY2" fmla="*/ 355749 h 355749"/>
              <a:gd name="connsiteX3" fmla="*/ 0 w 4100512"/>
              <a:gd name="connsiteY3" fmla="*/ 355749 h 355749"/>
              <a:gd name="connsiteX4" fmla="*/ 0 w 4100512"/>
              <a:gd name="connsiteY4" fmla="*/ 3324 h 355749"/>
              <a:gd name="connsiteX0" fmla="*/ 0 w 4100512"/>
              <a:gd name="connsiteY0" fmla="*/ 0 h 352425"/>
              <a:gd name="connsiteX1" fmla="*/ 3993286 w 4100512"/>
              <a:gd name="connsiteY1" fmla="*/ 50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4895 h 357320"/>
              <a:gd name="connsiteX1" fmla="*/ 4017181 w 4100512"/>
              <a:gd name="connsiteY1" fmla="*/ 0 h 357320"/>
              <a:gd name="connsiteX2" fmla="*/ 4100512 w 4100512"/>
              <a:gd name="connsiteY2" fmla="*/ 357320 h 357320"/>
              <a:gd name="connsiteX3" fmla="*/ 0 w 4100512"/>
              <a:gd name="connsiteY3" fmla="*/ 357320 h 357320"/>
              <a:gd name="connsiteX4" fmla="*/ 0 w 4100512"/>
              <a:gd name="connsiteY4" fmla="*/ 4895 h 357320"/>
              <a:gd name="connsiteX0" fmla="*/ 0 w 4100512"/>
              <a:gd name="connsiteY0" fmla="*/ 0 h 352425"/>
              <a:gd name="connsiteX1" fmla="*/ 4020579 w 4100512"/>
              <a:gd name="connsiteY1" fmla="*/ 5228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708 h 353133"/>
              <a:gd name="connsiteX1" fmla="*/ 4015161 w 4100512"/>
              <a:gd name="connsiteY1" fmla="*/ 0 h 353133"/>
              <a:gd name="connsiteX2" fmla="*/ 4100512 w 4100512"/>
              <a:gd name="connsiteY2" fmla="*/ 353133 h 353133"/>
              <a:gd name="connsiteX3" fmla="*/ 0 w 4100512"/>
              <a:gd name="connsiteY3" fmla="*/ 353133 h 353133"/>
              <a:gd name="connsiteX4" fmla="*/ 0 w 4100512"/>
              <a:gd name="connsiteY4" fmla="*/ 708 h 353133"/>
              <a:gd name="connsiteX0" fmla="*/ 0 w 4129916"/>
              <a:gd name="connsiteY0" fmla="*/ 708 h 353133"/>
              <a:gd name="connsiteX1" fmla="*/ 4015161 w 4129916"/>
              <a:gd name="connsiteY1" fmla="*/ 0 h 353133"/>
              <a:gd name="connsiteX2" fmla="*/ 4129916 w 4129916"/>
              <a:gd name="connsiteY2" fmla="*/ 348369 h 353133"/>
              <a:gd name="connsiteX3" fmla="*/ 0 w 4129916"/>
              <a:gd name="connsiteY3" fmla="*/ 353133 h 353133"/>
              <a:gd name="connsiteX4" fmla="*/ 0 w 4129916"/>
              <a:gd name="connsiteY4" fmla="*/ 708 h 353133"/>
              <a:gd name="connsiteX0" fmla="*/ 0 w 4129916"/>
              <a:gd name="connsiteY0" fmla="*/ 708 h 355009"/>
              <a:gd name="connsiteX1" fmla="*/ 4015161 w 4129916"/>
              <a:gd name="connsiteY1" fmla="*/ 0 h 355009"/>
              <a:gd name="connsiteX2" fmla="*/ 4129916 w 4129916"/>
              <a:gd name="connsiteY2" fmla="*/ 355009 h 355009"/>
              <a:gd name="connsiteX3" fmla="*/ 0 w 4129916"/>
              <a:gd name="connsiteY3" fmla="*/ 353133 h 355009"/>
              <a:gd name="connsiteX4" fmla="*/ 0 w 4129916"/>
              <a:gd name="connsiteY4" fmla="*/ 708 h 355009"/>
              <a:gd name="connsiteX0" fmla="*/ 0 w 4129916"/>
              <a:gd name="connsiteY0" fmla="*/ 708 h 355009"/>
              <a:gd name="connsiteX1" fmla="*/ 4015161 w 4129916"/>
              <a:gd name="connsiteY1" fmla="*/ 0 h 355009"/>
              <a:gd name="connsiteX2" fmla="*/ 4129916 w 4129916"/>
              <a:gd name="connsiteY2" fmla="*/ 355009 h 355009"/>
              <a:gd name="connsiteX3" fmla="*/ 0 w 4129916"/>
              <a:gd name="connsiteY3" fmla="*/ 353133 h 355009"/>
              <a:gd name="connsiteX4" fmla="*/ 0 w 4129916"/>
              <a:gd name="connsiteY4" fmla="*/ 708 h 355009"/>
              <a:gd name="connsiteX0" fmla="*/ 0 w 4129916"/>
              <a:gd name="connsiteY0" fmla="*/ 708 h 355009"/>
              <a:gd name="connsiteX1" fmla="*/ 4015161 w 4129916"/>
              <a:gd name="connsiteY1" fmla="*/ 0 h 355009"/>
              <a:gd name="connsiteX2" fmla="*/ 4017544 w 4129916"/>
              <a:gd name="connsiteY2" fmla="*/ 11 h 355009"/>
              <a:gd name="connsiteX3" fmla="*/ 4129916 w 4129916"/>
              <a:gd name="connsiteY3" fmla="*/ 355009 h 355009"/>
              <a:gd name="connsiteX4" fmla="*/ 0 w 4129916"/>
              <a:gd name="connsiteY4" fmla="*/ 353133 h 355009"/>
              <a:gd name="connsiteX5" fmla="*/ 0 w 4129916"/>
              <a:gd name="connsiteY5" fmla="*/ 708 h 355009"/>
              <a:gd name="connsiteX0" fmla="*/ 0 w 4129916"/>
              <a:gd name="connsiteY0" fmla="*/ 5419 h 359720"/>
              <a:gd name="connsiteX1" fmla="*/ 4015161 w 4129916"/>
              <a:gd name="connsiteY1" fmla="*/ 4711 h 359720"/>
              <a:gd name="connsiteX2" fmla="*/ 4028790 w 4129916"/>
              <a:gd name="connsiteY2" fmla="*/ 0 h 359720"/>
              <a:gd name="connsiteX3" fmla="*/ 4129916 w 4129916"/>
              <a:gd name="connsiteY3" fmla="*/ 359720 h 359720"/>
              <a:gd name="connsiteX4" fmla="*/ 0 w 4129916"/>
              <a:gd name="connsiteY4" fmla="*/ 357844 h 359720"/>
              <a:gd name="connsiteX5" fmla="*/ 0 w 4129916"/>
              <a:gd name="connsiteY5" fmla="*/ 5419 h 359720"/>
              <a:gd name="connsiteX0" fmla="*/ 0 w 4135543"/>
              <a:gd name="connsiteY0" fmla="*/ 5419 h 357844"/>
              <a:gd name="connsiteX1" fmla="*/ 4015161 w 4135543"/>
              <a:gd name="connsiteY1" fmla="*/ 4711 h 357844"/>
              <a:gd name="connsiteX2" fmla="*/ 4028790 w 4135543"/>
              <a:gd name="connsiteY2" fmla="*/ 0 h 357844"/>
              <a:gd name="connsiteX3" fmla="*/ 4135543 w 4135543"/>
              <a:gd name="connsiteY3" fmla="*/ 354995 h 357844"/>
              <a:gd name="connsiteX4" fmla="*/ 0 w 4135543"/>
              <a:gd name="connsiteY4" fmla="*/ 357844 h 357844"/>
              <a:gd name="connsiteX5" fmla="*/ 0 w 4135543"/>
              <a:gd name="connsiteY5" fmla="*/ 5419 h 357844"/>
              <a:gd name="connsiteX0" fmla="*/ 0 w 4330655"/>
              <a:gd name="connsiteY0" fmla="*/ 5419 h 357844"/>
              <a:gd name="connsiteX1" fmla="*/ 4015161 w 4330655"/>
              <a:gd name="connsiteY1" fmla="*/ 4711 h 357844"/>
              <a:gd name="connsiteX2" fmla="*/ 4028790 w 4330655"/>
              <a:gd name="connsiteY2" fmla="*/ 0 h 357844"/>
              <a:gd name="connsiteX3" fmla="*/ 4330655 w 4330655"/>
              <a:gd name="connsiteY3" fmla="*/ 352629 h 357844"/>
              <a:gd name="connsiteX4" fmla="*/ 0 w 4330655"/>
              <a:gd name="connsiteY4" fmla="*/ 357844 h 357844"/>
              <a:gd name="connsiteX5" fmla="*/ 0 w 4330655"/>
              <a:gd name="connsiteY5" fmla="*/ 5419 h 357844"/>
              <a:gd name="connsiteX0" fmla="*/ 0 w 4330655"/>
              <a:gd name="connsiteY0" fmla="*/ 3053 h 355478"/>
              <a:gd name="connsiteX1" fmla="*/ 4015161 w 4330655"/>
              <a:gd name="connsiteY1" fmla="*/ 2345 h 355478"/>
              <a:gd name="connsiteX2" fmla="*/ 4251775 w 4330655"/>
              <a:gd name="connsiteY2" fmla="*/ 0 h 355478"/>
              <a:gd name="connsiteX3" fmla="*/ 4330655 w 4330655"/>
              <a:gd name="connsiteY3" fmla="*/ 350263 h 355478"/>
              <a:gd name="connsiteX4" fmla="*/ 0 w 4330655"/>
              <a:gd name="connsiteY4" fmla="*/ 355478 h 355478"/>
              <a:gd name="connsiteX5" fmla="*/ 0 w 4330655"/>
              <a:gd name="connsiteY5" fmla="*/ 3053 h 355478"/>
              <a:gd name="connsiteX0" fmla="*/ 0 w 4330655"/>
              <a:gd name="connsiteY0" fmla="*/ 3053 h 355478"/>
              <a:gd name="connsiteX1" fmla="*/ 4251775 w 4330655"/>
              <a:gd name="connsiteY1" fmla="*/ 0 h 355478"/>
              <a:gd name="connsiteX2" fmla="*/ 4330655 w 4330655"/>
              <a:gd name="connsiteY2" fmla="*/ 350263 h 355478"/>
              <a:gd name="connsiteX3" fmla="*/ 0 w 4330655"/>
              <a:gd name="connsiteY3" fmla="*/ 355478 h 355478"/>
              <a:gd name="connsiteX4" fmla="*/ 0 w 4330655"/>
              <a:gd name="connsiteY4" fmla="*/ 3053 h 355478"/>
              <a:gd name="connsiteX0" fmla="*/ 0 w 4330655"/>
              <a:gd name="connsiteY0" fmla="*/ 3053 h 355478"/>
              <a:gd name="connsiteX1" fmla="*/ 4251775 w 4330655"/>
              <a:gd name="connsiteY1" fmla="*/ 0 h 355478"/>
              <a:gd name="connsiteX2" fmla="*/ 4330655 w 4330655"/>
              <a:gd name="connsiteY2" fmla="*/ 352630 h 355478"/>
              <a:gd name="connsiteX3" fmla="*/ 0 w 4330655"/>
              <a:gd name="connsiteY3" fmla="*/ 355478 h 355478"/>
              <a:gd name="connsiteX4" fmla="*/ 0 w 4330655"/>
              <a:gd name="connsiteY4" fmla="*/ 3053 h 355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0655" h="355478">
                <a:moveTo>
                  <a:pt x="0" y="3053"/>
                </a:moveTo>
                <a:lnTo>
                  <a:pt x="4251775" y="0"/>
                </a:lnTo>
                <a:lnTo>
                  <a:pt x="4330655" y="352630"/>
                </a:lnTo>
                <a:lnTo>
                  <a:pt x="0" y="355478"/>
                </a:lnTo>
                <a:cubicBezTo>
                  <a:pt x="1587" y="238003"/>
                  <a:pt x="3175" y="120528"/>
                  <a:pt x="0" y="3053"/>
                </a:cubicBezTo>
                <a:close/>
              </a:path>
            </a:pathLst>
          </a:cu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Reguläres Abonnement Bonn</a:t>
            </a:r>
          </a:p>
        </p:txBody>
      </p:sp>
      <p:sp>
        <p:nvSpPr>
          <p:cNvPr id="11" name="Freeform 18"/>
          <p:cNvSpPr/>
          <p:nvPr>
            <p:custDataLst>
              <p:tags r:id="rId5"/>
            </p:custDataLst>
          </p:nvPr>
        </p:nvSpPr>
        <p:spPr bwMode="auto">
          <a:xfrm flipH="1">
            <a:off x="5286375" y="1627849"/>
            <a:ext cx="3317873" cy="360363"/>
          </a:xfrm>
          <a:custGeom>
            <a:avLst/>
            <a:gdLst>
              <a:gd name="connsiteX0" fmla="*/ 0 w 4100512"/>
              <a:gd name="connsiteY0" fmla="*/ 0 h 352425"/>
              <a:gd name="connsiteX1" fmla="*/ 3986212 w 4100512"/>
              <a:gd name="connsiteY1" fmla="*/ 4762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0 h 352425"/>
              <a:gd name="connsiteX1" fmla="*/ 3989695 w 4100512"/>
              <a:gd name="connsiteY1" fmla="*/ 6566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1753 h 354178"/>
              <a:gd name="connsiteX1" fmla="*/ 3976307 w 4100512"/>
              <a:gd name="connsiteY1" fmla="*/ 0 h 354178"/>
              <a:gd name="connsiteX2" fmla="*/ 4100512 w 4100512"/>
              <a:gd name="connsiteY2" fmla="*/ 354178 h 354178"/>
              <a:gd name="connsiteX3" fmla="*/ 0 w 4100512"/>
              <a:gd name="connsiteY3" fmla="*/ 354178 h 354178"/>
              <a:gd name="connsiteX4" fmla="*/ 0 w 4100512"/>
              <a:gd name="connsiteY4" fmla="*/ 1753 h 354178"/>
              <a:gd name="connsiteX0" fmla="*/ 0 w 4100512"/>
              <a:gd name="connsiteY0" fmla="*/ 10072 h 362497"/>
              <a:gd name="connsiteX1" fmla="*/ 3986538 w 4100512"/>
              <a:gd name="connsiteY1" fmla="*/ 0 h 362497"/>
              <a:gd name="connsiteX2" fmla="*/ 4100512 w 4100512"/>
              <a:gd name="connsiteY2" fmla="*/ 362497 h 362497"/>
              <a:gd name="connsiteX3" fmla="*/ 0 w 4100512"/>
              <a:gd name="connsiteY3" fmla="*/ 362497 h 362497"/>
              <a:gd name="connsiteX4" fmla="*/ 0 w 4100512"/>
              <a:gd name="connsiteY4" fmla="*/ 10072 h 362497"/>
              <a:gd name="connsiteX0" fmla="*/ 0 w 4100512"/>
              <a:gd name="connsiteY0" fmla="*/ 0 h 352425"/>
              <a:gd name="connsiteX1" fmla="*/ 3989912 w 4100512"/>
              <a:gd name="connsiteY1" fmla="*/ 3424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3324 h 355749"/>
              <a:gd name="connsiteX1" fmla="*/ 3989912 w 4100512"/>
              <a:gd name="connsiteY1" fmla="*/ 0 h 355749"/>
              <a:gd name="connsiteX2" fmla="*/ 4100512 w 4100512"/>
              <a:gd name="connsiteY2" fmla="*/ 355749 h 355749"/>
              <a:gd name="connsiteX3" fmla="*/ 0 w 4100512"/>
              <a:gd name="connsiteY3" fmla="*/ 355749 h 355749"/>
              <a:gd name="connsiteX4" fmla="*/ 0 w 4100512"/>
              <a:gd name="connsiteY4" fmla="*/ 3324 h 355749"/>
              <a:gd name="connsiteX0" fmla="*/ 0 w 4100512"/>
              <a:gd name="connsiteY0" fmla="*/ 0 h 352425"/>
              <a:gd name="connsiteX1" fmla="*/ 3993286 w 4100512"/>
              <a:gd name="connsiteY1" fmla="*/ 50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4895 h 357320"/>
              <a:gd name="connsiteX1" fmla="*/ 4017181 w 4100512"/>
              <a:gd name="connsiteY1" fmla="*/ 0 h 357320"/>
              <a:gd name="connsiteX2" fmla="*/ 4100512 w 4100512"/>
              <a:gd name="connsiteY2" fmla="*/ 357320 h 357320"/>
              <a:gd name="connsiteX3" fmla="*/ 0 w 4100512"/>
              <a:gd name="connsiteY3" fmla="*/ 357320 h 357320"/>
              <a:gd name="connsiteX4" fmla="*/ 0 w 4100512"/>
              <a:gd name="connsiteY4" fmla="*/ 4895 h 357320"/>
              <a:gd name="connsiteX0" fmla="*/ 0 w 4100512"/>
              <a:gd name="connsiteY0" fmla="*/ 0 h 352425"/>
              <a:gd name="connsiteX1" fmla="*/ 4020579 w 4100512"/>
              <a:gd name="connsiteY1" fmla="*/ 5228 h 352425"/>
              <a:gd name="connsiteX2" fmla="*/ 4100512 w 4100512"/>
              <a:gd name="connsiteY2" fmla="*/ 352425 h 352425"/>
              <a:gd name="connsiteX3" fmla="*/ 0 w 4100512"/>
              <a:gd name="connsiteY3" fmla="*/ 352425 h 352425"/>
              <a:gd name="connsiteX4" fmla="*/ 0 w 4100512"/>
              <a:gd name="connsiteY4" fmla="*/ 0 h 352425"/>
              <a:gd name="connsiteX0" fmla="*/ 0 w 4100512"/>
              <a:gd name="connsiteY0" fmla="*/ 708 h 353133"/>
              <a:gd name="connsiteX1" fmla="*/ 4015161 w 4100512"/>
              <a:gd name="connsiteY1" fmla="*/ 0 h 353133"/>
              <a:gd name="connsiteX2" fmla="*/ 4100512 w 4100512"/>
              <a:gd name="connsiteY2" fmla="*/ 353133 h 353133"/>
              <a:gd name="connsiteX3" fmla="*/ 0 w 4100512"/>
              <a:gd name="connsiteY3" fmla="*/ 353133 h 353133"/>
              <a:gd name="connsiteX4" fmla="*/ 0 w 4100512"/>
              <a:gd name="connsiteY4" fmla="*/ 708 h 353133"/>
              <a:gd name="connsiteX0" fmla="*/ 0 w 4129916"/>
              <a:gd name="connsiteY0" fmla="*/ 708 h 353133"/>
              <a:gd name="connsiteX1" fmla="*/ 4015161 w 4129916"/>
              <a:gd name="connsiteY1" fmla="*/ 0 h 353133"/>
              <a:gd name="connsiteX2" fmla="*/ 4129916 w 4129916"/>
              <a:gd name="connsiteY2" fmla="*/ 348369 h 353133"/>
              <a:gd name="connsiteX3" fmla="*/ 0 w 4129916"/>
              <a:gd name="connsiteY3" fmla="*/ 353133 h 353133"/>
              <a:gd name="connsiteX4" fmla="*/ 0 w 4129916"/>
              <a:gd name="connsiteY4" fmla="*/ 708 h 353133"/>
              <a:gd name="connsiteX0" fmla="*/ 0 w 4129916"/>
              <a:gd name="connsiteY0" fmla="*/ 708 h 355009"/>
              <a:gd name="connsiteX1" fmla="*/ 4015161 w 4129916"/>
              <a:gd name="connsiteY1" fmla="*/ 0 h 355009"/>
              <a:gd name="connsiteX2" fmla="*/ 4129916 w 4129916"/>
              <a:gd name="connsiteY2" fmla="*/ 355009 h 355009"/>
              <a:gd name="connsiteX3" fmla="*/ 0 w 4129916"/>
              <a:gd name="connsiteY3" fmla="*/ 353133 h 355009"/>
              <a:gd name="connsiteX4" fmla="*/ 0 w 4129916"/>
              <a:gd name="connsiteY4" fmla="*/ 708 h 355009"/>
              <a:gd name="connsiteX0" fmla="*/ 0 w 4129916"/>
              <a:gd name="connsiteY0" fmla="*/ 708 h 355009"/>
              <a:gd name="connsiteX1" fmla="*/ 4059526 w 4129916"/>
              <a:gd name="connsiteY1" fmla="*/ 0 h 355009"/>
              <a:gd name="connsiteX2" fmla="*/ 4129916 w 4129916"/>
              <a:gd name="connsiteY2" fmla="*/ 355009 h 355009"/>
              <a:gd name="connsiteX3" fmla="*/ 0 w 4129916"/>
              <a:gd name="connsiteY3" fmla="*/ 353133 h 355009"/>
              <a:gd name="connsiteX4" fmla="*/ 0 w 4129916"/>
              <a:gd name="connsiteY4" fmla="*/ 708 h 355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9916" h="355009">
                <a:moveTo>
                  <a:pt x="0" y="708"/>
                </a:moveTo>
                <a:lnTo>
                  <a:pt x="4059526" y="0"/>
                </a:lnTo>
                <a:lnTo>
                  <a:pt x="4129916" y="355009"/>
                </a:lnTo>
                <a:lnTo>
                  <a:pt x="0" y="353133"/>
                </a:lnTo>
                <a:cubicBezTo>
                  <a:pt x="1587" y="235658"/>
                  <a:pt x="3175" y="118183"/>
                  <a:pt x="0" y="708"/>
                </a:cubicBezTo>
                <a:close/>
              </a:path>
            </a:pathLst>
          </a:custGeom>
          <a:solidFill>
            <a:schemeClr val="accent5"/>
          </a:solidFill>
          <a:ln w="9525" cap="flat" cmpd="sng" algn="ctr">
            <a:solidFill>
              <a:schemeClr val="accent5"/>
            </a:solidFill>
            <a:prstDash val="solid"/>
            <a:miter lim="800000"/>
            <a:headEnd type="none" w="med" len="med"/>
            <a:tailEnd type="none" w="med" len="med"/>
          </a:ln>
          <a:effectLst/>
        </p:spPr>
        <p:txBody>
          <a:bodyPr vert="horz" wrap="square" lIns="90000" tIns="45720" rIns="91440" bIns="45720" numCol="1" anchor="ctr" anchorCtr="0" compatLnSpc="1">
            <a:prstTxWarp prst="textNoShape">
              <a:avLst/>
            </a:prstTxWarp>
          </a:bodyPr>
          <a:lstStyle/>
          <a:p>
            <a:pPr indent="-455612" fontAlgn="base">
              <a:lnSpc>
                <a:spcPct val="90000"/>
              </a:lnSpc>
              <a:spcAft>
                <a:spcPct val="0"/>
              </a:spcAft>
            </a:pPr>
            <a:r>
              <a:rPr lang="de-DE" sz="1400" b="1" dirty="0">
                <a:solidFill>
                  <a:srgbClr val="000000"/>
                </a:solidFill>
              </a:rPr>
              <a:t>365-Euro-Ticket Bonn</a:t>
            </a:r>
          </a:p>
        </p:txBody>
      </p:sp>
      <p:sp>
        <p:nvSpPr>
          <p:cNvPr id="13" name="Inhaltsplatzhalter 2"/>
          <p:cNvSpPr txBox="1">
            <a:spLocks/>
          </p:cNvSpPr>
          <p:nvPr/>
        </p:nvSpPr>
        <p:spPr>
          <a:xfrm flipH="1">
            <a:off x="5000627" y="1988063"/>
            <a:ext cx="3603622" cy="3961887"/>
          </a:xfrm>
          <a:prstGeom prst="homePlate">
            <a:avLst>
              <a:gd name="adj" fmla="val 8023"/>
            </a:avLst>
          </a:prstGeom>
          <a:solidFill>
            <a:schemeClr val="bg1"/>
          </a:solidFill>
          <a:ln>
            <a:solidFill>
              <a:schemeClr val="accent5"/>
            </a:solidFill>
          </a:ln>
        </p:spPr>
        <p:txBody>
          <a:bodyPr vert="horz" lIns="216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177800" lvl="2" indent="-177800">
              <a:spcBef>
                <a:spcPts val="900"/>
              </a:spcBef>
            </a:pPr>
            <a:r>
              <a:rPr lang="de-DE" sz="1400" b="1" dirty="0"/>
              <a:t>Preis: 365 € (für Stadtgebiet </a:t>
            </a:r>
            <a:br>
              <a:rPr lang="de-DE" sz="1400" b="1" dirty="0"/>
            </a:br>
            <a:r>
              <a:rPr lang="de-DE" sz="1400" b="1" dirty="0"/>
              <a:t>Bonn)</a:t>
            </a:r>
          </a:p>
          <a:p>
            <a:pPr marL="177800" lvl="2" indent="-177800">
              <a:spcBef>
                <a:spcPts val="900"/>
              </a:spcBef>
            </a:pPr>
            <a:r>
              <a:rPr lang="de-DE" sz="1400" dirty="0"/>
              <a:t>Nur Neukunden</a:t>
            </a:r>
          </a:p>
          <a:p>
            <a:pPr marL="177800" lvl="2" indent="-177800">
              <a:spcBef>
                <a:spcPts val="900"/>
              </a:spcBef>
            </a:pPr>
            <a:r>
              <a:rPr lang="de-DE" sz="1400" dirty="0"/>
              <a:t>Nicht übertragbar</a:t>
            </a:r>
          </a:p>
          <a:p>
            <a:pPr marL="177800" lvl="2" indent="-177800">
              <a:spcBef>
                <a:spcPts val="900"/>
              </a:spcBef>
            </a:pPr>
            <a:r>
              <a:rPr lang="de-DE" sz="1400" dirty="0"/>
              <a:t>Kann nicht über das Stadtgebiet Bonn hinaus erweitert werden</a:t>
            </a:r>
          </a:p>
          <a:p>
            <a:pPr marL="177800" lvl="2" indent="-177800">
              <a:spcBef>
                <a:spcPts val="900"/>
              </a:spcBef>
            </a:pPr>
            <a:r>
              <a:rPr lang="de-DE" sz="1400" dirty="0"/>
              <a:t>Kein Anschlussticket möglich</a:t>
            </a:r>
          </a:p>
          <a:p>
            <a:pPr marL="177800" lvl="2" indent="-177800">
              <a:spcBef>
                <a:spcPts val="900"/>
              </a:spcBef>
            </a:pPr>
            <a:r>
              <a:rPr lang="de-DE" sz="1400" dirty="0"/>
              <a:t>Maximal 1 Jahr Gesamtlaufzeit</a:t>
            </a:r>
          </a:p>
        </p:txBody>
      </p:sp>
      <p:pic>
        <p:nvPicPr>
          <p:cNvPr id="12" name="Grafik 11">
            <a:extLst>
              <a:ext uri="{FF2B5EF4-FFF2-40B4-BE49-F238E27FC236}">
                <a16:creationId xmlns:a16="http://schemas.microsoft.com/office/drawing/2014/main" xmlns="" id="{4B189A10-0302-47F7-A70E-6E3C846CEA3F}"/>
              </a:ext>
            </a:extLst>
          </p:cNvPr>
          <p:cNvPicPr>
            <a:picLocks noChangeAspect="1"/>
          </p:cNvPicPr>
          <p:nvPr/>
        </p:nvPicPr>
        <p:blipFill rotWithShape="1">
          <a:blip r:embed="rId10"/>
          <a:srcRect l="23502" r="5200"/>
          <a:stretch/>
        </p:blipFill>
        <p:spPr>
          <a:xfrm>
            <a:off x="6081215" y="4629546"/>
            <a:ext cx="1728192" cy="1031479"/>
          </a:xfrm>
          <a:prstGeom prst="rect">
            <a:avLst/>
          </a:prstGeom>
        </p:spPr>
      </p:pic>
      <p:pic>
        <p:nvPicPr>
          <p:cNvPr id="7" name="Grafik 6">
            <a:extLst>
              <a:ext uri="{FF2B5EF4-FFF2-40B4-BE49-F238E27FC236}">
                <a16:creationId xmlns:a16="http://schemas.microsoft.com/office/drawing/2014/main" xmlns="" id="{3A1D7AD5-82A9-48E2-8B46-858E00268096}"/>
              </a:ext>
            </a:extLst>
          </p:cNvPr>
          <p:cNvPicPr>
            <a:picLocks noChangeAspect="1"/>
          </p:cNvPicPr>
          <p:nvPr/>
        </p:nvPicPr>
        <p:blipFill>
          <a:blip r:embed="rId11"/>
          <a:stretch>
            <a:fillRect/>
          </a:stretch>
        </p:blipFill>
        <p:spPr>
          <a:xfrm>
            <a:off x="1348279" y="4629546"/>
            <a:ext cx="1697642" cy="1031479"/>
          </a:xfrm>
          <a:prstGeom prst="rect">
            <a:avLst/>
          </a:prstGeom>
          <a:effectLst>
            <a:outerShdw blurRad="50800" dist="38100" dir="2700000" algn="tl" rotWithShape="0">
              <a:prstClr val="black">
                <a:alpha val="40000"/>
              </a:prstClr>
            </a:outerShdw>
          </a:effectLst>
        </p:spPr>
      </p:pic>
      <p:sp>
        <p:nvSpPr>
          <p:cNvPr id="22" name="Abgerundetes Rechteck 41">
            <a:extLst>
              <a:ext uri="{FF2B5EF4-FFF2-40B4-BE49-F238E27FC236}">
                <a16:creationId xmlns:a16="http://schemas.microsoft.com/office/drawing/2014/main" xmlns="" id="{D30BD289-8452-4224-A0B8-D971BEA5D10D}"/>
              </a:ext>
            </a:extLst>
          </p:cNvPr>
          <p:cNvSpPr/>
          <p:nvPr/>
        </p:nvSpPr>
        <p:spPr>
          <a:xfrm rot="19525768" flipH="1">
            <a:off x="3436770" y="2580839"/>
            <a:ext cx="256931" cy="139511"/>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25" name="Abgerundetes Rechteck 41">
            <a:extLst>
              <a:ext uri="{FF2B5EF4-FFF2-40B4-BE49-F238E27FC236}">
                <a16:creationId xmlns:a16="http://schemas.microsoft.com/office/drawing/2014/main" xmlns="" id="{A60E5016-9721-48DC-802F-2F03B785B3DA}"/>
              </a:ext>
            </a:extLst>
          </p:cNvPr>
          <p:cNvSpPr/>
          <p:nvPr/>
        </p:nvSpPr>
        <p:spPr>
          <a:xfrm rot="19525768" flipH="1">
            <a:off x="3436770" y="2940879"/>
            <a:ext cx="256931" cy="139511"/>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27" name="Abgerundetes Rechteck 41">
            <a:extLst>
              <a:ext uri="{FF2B5EF4-FFF2-40B4-BE49-F238E27FC236}">
                <a16:creationId xmlns:a16="http://schemas.microsoft.com/office/drawing/2014/main" xmlns="" id="{724E676A-BDD8-4060-A39F-02F57BE18C62}"/>
              </a:ext>
            </a:extLst>
          </p:cNvPr>
          <p:cNvSpPr/>
          <p:nvPr/>
        </p:nvSpPr>
        <p:spPr>
          <a:xfrm rot="19525768" flipH="1">
            <a:off x="3436770" y="3372927"/>
            <a:ext cx="256931" cy="139511"/>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28" name="Abgerundetes Rechteck 41">
            <a:extLst>
              <a:ext uri="{FF2B5EF4-FFF2-40B4-BE49-F238E27FC236}">
                <a16:creationId xmlns:a16="http://schemas.microsoft.com/office/drawing/2014/main" xmlns="" id="{63FD31E0-832D-41EE-AF22-96DCDC46DAAF}"/>
              </a:ext>
            </a:extLst>
          </p:cNvPr>
          <p:cNvSpPr/>
          <p:nvPr/>
        </p:nvSpPr>
        <p:spPr>
          <a:xfrm rot="19525768" flipH="1">
            <a:off x="3436770" y="3732967"/>
            <a:ext cx="256931" cy="139511"/>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29" name="Abgerundetes Rechteck 41">
            <a:extLst>
              <a:ext uri="{FF2B5EF4-FFF2-40B4-BE49-F238E27FC236}">
                <a16:creationId xmlns:a16="http://schemas.microsoft.com/office/drawing/2014/main" xmlns="" id="{4D7C8CE5-903E-4E84-93F1-9B0E302639D8}"/>
              </a:ext>
            </a:extLst>
          </p:cNvPr>
          <p:cNvSpPr/>
          <p:nvPr/>
        </p:nvSpPr>
        <p:spPr>
          <a:xfrm rot="19525768" flipH="1">
            <a:off x="3436770" y="4137650"/>
            <a:ext cx="256931" cy="139511"/>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30" name="Abgerundetes Rechteck 41">
            <a:extLst>
              <a:ext uri="{FF2B5EF4-FFF2-40B4-BE49-F238E27FC236}">
                <a16:creationId xmlns:a16="http://schemas.microsoft.com/office/drawing/2014/main" xmlns="" id="{D4FC6C17-0587-41B5-B45F-5B8AD9DBFED6}"/>
              </a:ext>
            </a:extLst>
          </p:cNvPr>
          <p:cNvSpPr/>
          <p:nvPr/>
        </p:nvSpPr>
        <p:spPr>
          <a:xfrm rot="19525768" flipH="1">
            <a:off x="8222555" y="2066779"/>
            <a:ext cx="256931" cy="139511"/>
          </a:xfrm>
          <a:custGeom>
            <a:avLst/>
            <a:gdLst>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23060 w 508835"/>
              <a:gd name="connsiteY4" fmla="*/ 273034 h 276293"/>
              <a:gd name="connsiteX5" fmla="*/ 450973 w 508835"/>
              <a:gd name="connsiteY5" fmla="*/ 276293 h 276293"/>
              <a:gd name="connsiteX6" fmla="*/ 458685 w 508835"/>
              <a:gd name="connsiteY6" fmla="*/ 276293 h 276293"/>
              <a:gd name="connsiteX7" fmla="*/ 508835 w 508835"/>
              <a:gd name="connsiteY7" fmla="*/ 226143 h 276293"/>
              <a:gd name="connsiteX8" fmla="*/ 508835 w 508835"/>
              <a:gd name="connsiteY8" fmla="*/ 50150 h 276293"/>
              <a:gd name="connsiteX9" fmla="*/ 458685 w 508835"/>
              <a:gd name="connsiteY9" fmla="*/ 0 h 276293"/>
              <a:gd name="connsiteX10" fmla="*/ 450973 w 508835"/>
              <a:gd name="connsiteY10" fmla="*/ 0 h 276293"/>
              <a:gd name="connsiteX11" fmla="*/ 400823 w 508835"/>
              <a:gd name="connsiteY11" fmla="*/ 50150 h 276293"/>
              <a:gd name="connsiteX12" fmla="*/ 400823 w 508835"/>
              <a:gd name="connsiteY12" fmla="*/ 148974 h 276293"/>
              <a:gd name="connsiteX13" fmla="*/ 70766 w 508835"/>
              <a:gd name="connsiteY13" fmla="*/ 23208 h 276293"/>
              <a:gd name="connsiteX14" fmla="*/ 32398 w 508835"/>
              <a:gd name="connsiteY14" fmla="*/ 24307 h 276293"/>
              <a:gd name="connsiteX0" fmla="*/ 32398 w 508835"/>
              <a:gd name="connsiteY0" fmla="*/ 24307 h 276293"/>
              <a:gd name="connsiteX1" fmla="*/ 6046 w 508835"/>
              <a:gd name="connsiteY1" fmla="*/ 52214 h 276293"/>
              <a:gd name="connsiteX2" fmla="*/ 3300 w 508835"/>
              <a:gd name="connsiteY2" fmla="*/ 59421 h 276293"/>
              <a:gd name="connsiteX3" fmla="*/ 32306 w 508835"/>
              <a:gd name="connsiteY3" fmla="*/ 124141 h 276293"/>
              <a:gd name="connsiteX4" fmla="*/ 450973 w 508835"/>
              <a:gd name="connsiteY4" fmla="*/ 276293 h 276293"/>
              <a:gd name="connsiteX5" fmla="*/ 458685 w 508835"/>
              <a:gd name="connsiteY5" fmla="*/ 276293 h 276293"/>
              <a:gd name="connsiteX6" fmla="*/ 508835 w 508835"/>
              <a:gd name="connsiteY6" fmla="*/ 226143 h 276293"/>
              <a:gd name="connsiteX7" fmla="*/ 508835 w 508835"/>
              <a:gd name="connsiteY7" fmla="*/ 50150 h 276293"/>
              <a:gd name="connsiteX8" fmla="*/ 458685 w 508835"/>
              <a:gd name="connsiteY8" fmla="*/ 0 h 276293"/>
              <a:gd name="connsiteX9" fmla="*/ 450973 w 508835"/>
              <a:gd name="connsiteY9" fmla="*/ 0 h 276293"/>
              <a:gd name="connsiteX10" fmla="*/ 400823 w 508835"/>
              <a:gd name="connsiteY10" fmla="*/ 50150 h 276293"/>
              <a:gd name="connsiteX11" fmla="*/ 400823 w 508835"/>
              <a:gd name="connsiteY11" fmla="*/ 148974 h 276293"/>
              <a:gd name="connsiteX12" fmla="*/ 70766 w 508835"/>
              <a:gd name="connsiteY12" fmla="*/ 23208 h 276293"/>
              <a:gd name="connsiteX13" fmla="*/ 32398 w 508835"/>
              <a:gd name="connsiteY13" fmla="*/ 24307 h 276293"/>
              <a:gd name="connsiteX0" fmla="*/ 32398 w 508835"/>
              <a:gd name="connsiteY0" fmla="*/ 24307 h 276293"/>
              <a:gd name="connsiteX1" fmla="*/ 3300 w 508835"/>
              <a:gd name="connsiteY1" fmla="*/ 59421 h 276293"/>
              <a:gd name="connsiteX2" fmla="*/ 32306 w 508835"/>
              <a:gd name="connsiteY2" fmla="*/ 124141 h 276293"/>
              <a:gd name="connsiteX3" fmla="*/ 450973 w 508835"/>
              <a:gd name="connsiteY3" fmla="*/ 276293 h 276293"/>
              <a:gd name="connsiteX4" fmla="*/ 458685 w 508835"/>
              <a:gd name="connsiteY4" fmla="*/ 276293 h 276293"/>
              <a:gd name="connsiteX5" fmla="*/ 508835 w 508835"/>
              <a:gd name="connsiteY5" fmla="*/ 226143 h 276293"/>
              <a:gd name="connsiteX6" fmla="*/ 508835 w 508835"/>
              <a:gd name="connsiteY6" fmla="*/ 50150 h 276293"/>
              <a:gd name="connsiteX7" fmla="*/ 458685 w 508835"/>
              <a:gd name="connsiteY7" fmla="*/ 0 h 276293"/>
              <a:gd name="connsiteX8" fmla="*/ 450973 w 508835"/>
              <a:gd name="connsiteY8" fmla="*/ 0 h 276293"/>
              <a:gd name="connsiteX9" fmla="*/ 400823 w 508835"/>
              <a:gd name="connsiteY9" fmla="*/ 50150 h 276293"/>
              <a:gd name="connsiteX10" fmla="*/ 400823 w 508835"/>
              <a:gd name="connsiteY10" fmla="*/ 148974 h 276293"/>
              <a:gd name="connsiteX11" fmla="*/ 70766 w 508835"/>
              <a:gd name="connsiteY11" fmla="*/ 23208 h 276293"/>
              <a:gd name="connsiteX12" fmla="*/ 32398 w 508835"/>
              <a:gd name="connsiteY12" fmla="*/ 24307 h 27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835" h="276293">
                <a:moveTo>
                  <a:pt x="32398" y="24307"/>
                </a:moveTo>
                <a:cubicBezTo>
                  <a:pt x="21154" y="30342"/>
                  <a:pt x="3315" y="42782"/>
                  <a:pt x="3300" y="59421"/>
                </a:cubicBezTo>
                <a:cubicBezTo>
                  <a:pt x="-6562" y="85303"/>
                  <a:pt x="6425" y="114279"/>
                  <a:pt x="32306" y="124141"/>
                </a:cubicBezTo>
                <a:lnTo>
                  <a:pt x="450973" y="276293"/>
                </a:lnTo>
                <a:lnTo>
                  <a:pt x="458685" y="276293"/>
                </a:lnTo>
                <a:cubicBezTo>
                  <a:pt x="486382" y="276293"/>
                  <a:pt x="508835" y="253840"/>
                  <a:pt x="508835" y="226143"/>
                </a:cubicBezTo>
                <a:lnTo>
                  <a:pt x="508835" y="50150"/>
                </a:lnTo>
                <a:cubicBezTo>
                  <a:pt x="508835" y="22453"/>
                  <a:pt x="486382" y="0"/>
                  <a:pt x="458685" y="0"/>
                </a:cubicBezTo>
                <a:lnTo>
                  <a:pt x="450973" y="0"/>
                </a:lnTo>
                <a:cubicBezTo>
                  <a:pt x="423276" y="0"/>
                  <a:pt x="400823" y="22453"/>
                  <a:pt x="400823" y="50150"/>
                </a:cubicBezTo>
                <a:lnTo>
                  <a:pt x="400823" y="148974"/>
                </a:lnTo>
                <a:lnTo>
                  <a:pt x="70766" y="23208"/>
                </a:lnTo>
                <a:cubicBezTo>
                  <a:pt x="57825" y="18277"/>
                  <a:pt x="44110" y="19058"/>
                  <a:pt x="32398" y="24307"/>
                </a:cubicBezTo>
                <a:close/>
              </a:path>
            </a:pathLst>
          </a:cu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600" dirty="0">
                <a:solidFill>
                  <a:schemeClr val="tx1"/>
                </a:solidFill>
              </a:rPr>
              <a:t>    </a:t>
            </a:r>
          </a:p>
        </p:txBody>
      </p:sp>
      <p:sp>
        <p:nvSpPr>
          <p:cNvPr id="31" name="Freihandform 25">
            <a:extLst>
              <a:ext uri="{FF2B5EF4-FFF2-40B4-BE49-F238E27FC236}">
                <a16:creationId xmlns:a16="http://schemas.microsoft.com/office/drawing/2014/main" xmlns="" id="{900EE5A6-38B8-4CAE-A21C-CF93FEB445E7}"/>
              </a:ext>
            </a:extLst>
          </p:cNvPr>
          <p:cNvSpPr/>
          <p:nvPr/>
        </p:nvSpPr>
        <p:spPr>
          <a:xfrm>
            <a:off x="8261669" y="2483092"/>
            <a:ext cx="178702" cy="297836"/>
          </a:xfrm>
          <a:custGeom>
            <a:avLst/>
            <a:gdLst>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07975 w 581025"/>
              <a:gd name="connsiteY7" fmla="*/ 8350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17074 w 581025"/>
              <a:gd name="connsiteY8" fmla="*/ 825440 h 968375"/>
              <a:gd name="connsiteX9" fmla="*/ 581025 w 581025"/>
              <a:gd name="connsiteY9" fmla="*/ 260350 h 968375"/>
              <a:gd name="connsiteX10" fmla="*/ 266700 w 581025"/>
              <a:gd name="connsiteY10" fmla="*/ 336550 h 968375"/>
              <a:gd name="connsiteX11" fmla="*/ 482600 w 581025"/>
              <a:gd name="connsiteY11" fmla="*/ 0 h 9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1025" h="968375">
                <a:moveTo>
                  <a:pt x="482600" y="0"/>
                </a:moveTo>
                <a:lnTo>
                  <a:pt x="323850" y="0"/>
                </a:lnTo>
                <a:lnTo>
                  <a:pt x="0" y="517525"/>
                </a:lnTo>
                <a:lnTo>
                  <a:pt x="311150" y="438150"/>
                </a:lnTo>
                <a:lnTo>
                  <a:pt x="108900" y="759877"/>
                </a:lnTo>
                <a:lnTo>
                  <a:pt x="73025" y="650875"/>
                </a:lnTo>
                <a:lnTo>
                  <a:pt x="34925" y="968375"/>
                </a:lnTo>
                <a:lnTo>
                  <a:pt x="323850" y="822325"/>
                </a:lnTo>
                <a:lnTo>
                  <a:pt x="217074" y="825440"/>
                </a:lnTo>
                <a:lnTo>
                  <a:pt x="581025" y="260350"/>
                </a:lnTo>
                <a:lnTo>
                  <a:pt x="266700" y="336550"/>
                </a:lnTo>
                <a:lnTo>
                  <a:pt x="48260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32" name="Freihandform 25">
            <a:extLst>
              <a:ext uri="{FF2B5EF4-FFF2-40B4-BE49-F238E27FC236}">
                <a16:creationId xmlns:a16="http://schemas.microsoft.com/office/drawing/2014/main" xmlns="" id="{50CBD1C1-0285-49E4-9B5F-0409BE2DC62F}"/>
              </a:ext>
            </a:extLst>
          </p:cNvPr>
          <p:cNvSpPr/>
          <p:nvPr/>
        </p:nvSpPr>
        <p:spPr>
          <a:xfrm>
            <a:off x="8261669" y="2843132"/>
            <a:ext cx="178702" cy="297836"/>
          </a:xfrm>
          <a:custGeom>
            <a:avLst/>
            <a:gdLst>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07975 w 581025"/>
              <a:gd name="connsiteY7" fmla="*/ 8350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17074 w 581025"/>
              <a:gd name="connsiteY8" fmla="*/ 825440 h 968375"/>
              <a:gd name="connsiteX9" fmla="*/ 581025 w 581025"/>
              <a:gd name="connsiteY9" fmla="*/ 260350 h 968375"/>
              <a:gd name="connsiteX10" fmla="*/ 266700 w 581025"/>
              <a:gd name="connsiteY10" fmla="*/ 336550 h 968375"/>
              <a:gd name="connsiteX11" fmla="*/ 482600 w 581025"/>
              <a:gd name="connsiteY11" fmla="*/ 0 h 9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1025" h="968375">
                <a:moveTo>
                  <a:pt x="482600" y="0"/>
                </a:moveTo>
                <a:lnTo>
                  <a:pt x="323850" y="0"/>
                </a:lnTo>
                <a:lnTo>
                  <a:pt x="0" y="517525"/>
                </a:lnTo>
                <a:lnTo>
                  <a:pt x="311150" y="438150"/>
                </a:lnTo>
                <a:lnTo>
                  <a:pt x="108900" y="759877"/>
                </a:lnTo>
                <a:lnTo>
                  <a:pt x="73025" y="650875"/>
                </a:lnTo>
                <a:lnTo>
                  <a:pt x="34925" y="968375"/>
                </a:lnTo>
                <a:lnTo>
                  <a:pt x="323850" y="822325"/>
                </a:lnTo>
                <a:lnTo>
                  <a:pt x="217074" y="825440"/>
                </a:lnTo>
                <a:lnTo>
                  <a:pt x="581025" y="260350"/>
                </a:lnTo>
                <a:lnTo>
                  <a:pt x="266700" y="336550"/>
                </a:lnTo>
                <a:lnTo>
                  <a:pt x="48260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33" name="Freihandform 25">
            <a:extLst>
              <a:ext uri="{FF2B5EF4-FFF2-40B4-BE49-F238E27FC236}">
                <a16:creationId xmlns:a16="http://schemas.microsoft.com/office/drawing/2014/main" xmlns="" id="{0C393560-2CCE-4393-8B41-6761AA1844E4}"/>
              </a:ext>
            </a:extLst>
          </p:cNvPr>
          <p:cNvSpPr/>
          <p:nvPr/>
        </p:nvSpPr>
        <p:spPr>
          <a:xfrm>
            <a:off x="8261669" y="3275180"/>
            <a:ext cx="178702" cy="297836"/>
          </a:xfrm>
          <a:custGeom>
            <a:avLst/>
            <a:gdLst>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07975 w 581025"/>
              <a:gd name="connsiteY7" fmla="*/ 8350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17074 w 581025"/>
              <a:gd name="connsiteY8" fmla="*/ 825440 h 968375"/>
              <a:gd name="connsiteX9" fmla="*/ 581025 w 581025"/>
              <a:gd name="connsiteY9" fmla="*/ 260350 h 968375"/>
              <a:gd name="connsiteX10" fmla="*/ 266700 w 581025"/>
              <a:gd name="connsiteY10" fmla="*/ 336550 h 968375"/>
              <a:gd name="connsiteX11" fmla="*/ 482600 w 581025"/>
              <a:gd name="connsiteY11" fmla="*/ 0 h 9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1025" h="968375">
                <a:moveTo>
                  <a:pt x="482600" y="0"/>
                </a:moveTo>
                <a:lnTo>
                  <a:pt x="323850" y="0"/>
                </a:lnTo>
                <a:lnTo>
                  <a:pt x="0" y="517525"/>
                </a:lnTo>
                <a:lnTo>
                  <a:pt x="311150" y="438150"/>
                </a:lnTo>
                <a:lnTo>
                  <a:pt x="108900" y="759877"/>
                </a:lnTo>
                <a:lnTo>
                  <a:pt x="73025" y="650875"/>
                </a:lnTo>
                <a:lnTo>
                  <a:pt x="34925" y="968375"/>
                </a:lnTo>
                <a:lnTo>
                  <a:pt x="323850" y="822325"/>
                </a:lnTo>
                <a:lnTo>
                  <a:pt x="217074" y="825440"/>
                </a:lnTo>
                <a:lnTo>
                  <a:pt x="581025" y="260350"/>
                </a:lnTo>
                <a:lnTo>
                  <a:pt x="266700" y="336550"/>
                </a:lnTo>
                <a:lnTo>
                  <a:pt x="48260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34" name="Freihandform 25">
            <a:extLst>
              <a:ext uri="{FF2B5EF4-FFF2-40B4-BE49-F238E27FC236}">
                <a16:creationId xmlns:a16="http://schemas.microsoft.com/office/drawing/2014/main" xmlns="" id="{7D3F34F9-F52B-442F-BD5E-B668DC8B6CA3}"/>
              </a:ext>
            </a:extLst>
          </p:cNvPr>
          <p:cNvSpPr/>
          <p:nvPr/>
        </p:nvSpPr>
        <p:spPr>
          <a:xfrm>
            <a:off x="8261669" y="3635220"/>
            <a:ext cx="178702" cy="297836"/>
          </a:xfrm>
          <a:custGeom>
            <a:avLst/>
            <a:gdLst>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07975 w 581025"/>
              <a:gd name="connsiteY7" fmla="*/ 8350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17074 w 581025"/>
              <a:gd name="connsiteY8" fmla="*/ 825440 h 968375"/>
              <a:gd name="connsiteX9" fmla="*/ 581025 w 581025"/>
              <a:gd name="connsiteY9" fmla="*/ 260350 h 968375"/>
              <a:gd name="connsiteX10" fmla="*/ 266700 w 581025"/>
              <a:gd name="connsiteY10" fmla="*/ 336550 h 968375"/>
              <a:gd name="connsiteX11" fmla="*/ 482600 w 581025"/>
              <a:gd name="connsiteY11" fmla="*/ 0 h 9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1025" h="968375">
                <a:moveTo>
                  <a:pt x="482600" y="0"/>
                </a:moveTo>
                <a:lnTo>
                  <a:pt x="323850" y="0"/>
                </a:lnTo>
                <a:lnTo>
                  <a:pt x="0" y="517525"/>
                </a:lnTo>
                <a:lnTo>
                  <a:pt x="311150" y="438150"/>
                </a:lnTo>
                <a:lnTo>
                  <a:pt x="108900" y="759877"/>
                </a:lnTo>
                <a:lnTo>
                  <a:pt x="73025" y="650875"/>
                </a:lnTo>
                <a:lnTo>
                  <a:pt x="34925" y="968375"/>
                </a:lnTo>
                <a:lnTo>
                  <a:pt x="323850" y="822325"/>
                </a:lnTo>
                <a:lnTo>
                  <a:pt x="217074" y="825440"/>
                </a:lnTo>
                <a:lnTo>
                  <a:pt x="581025" y="260350"/>
                </a:lnTo>
                <a:lnTo>
                  <a:pt x="266700" y="336550"/>
                </a:lnTo>
                <a:lnTo>
                  <a:pt x="48260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35" name="Freihandform 25">
            <a:extLst>
              <a:ext uri="{FF2B5EF4-FFF2-40B4-BE49-F238E27FC236}">
                <a16:creationId xmlns:a16="http://schemas.microsoft.com/office/drawing/2014/main" xmlns="" id="{727A9D06-7C7E-4BF8-8B5E-E7A54460B911}"/>
              </a:ext>
            </a:extLst>
          </p:cNvPr>
          <p:cNvSpPr/>
          <p:nvPr/>
        </p:nvSpPr>
        <p:spPr>
          <a:xfrm>
            <a:off x="8261669" y="4039903"/>
            <a:ext cx="178702" cy="297836"/>
          </a:xfrm>
          <a:custGeom>
            <a:avLst/>
            <a:gdLst>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07975 w 581025"/>
              <a:gd name="connsiteY7" fmla="*/ 8350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17074 w 581025"/>
              <a:gd name="connsiteY8" fmla="*/ 825440 h 968375"/>
              <a:gd name="connsiteX9" fmla="*/ 581025 w 581025"/>
              <a:gd name="connsiteY9" fmla="*/ 260350 h 968375"/>
              <a:gd name="connsiteX10" fmla="*/ 266700 w 581025"/>
              <a:gd name="connsiteY10" fmla="*/ 336550 h 968375"/>
              <a:gd name="connsiteX11" fmla="*/ 482600 w 581025"/>
              <a:gd name="connsiteY11" fmla="*/ 0 h 9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1025" h="968375">
                <a:moveTo>
                  <a:pt x="482600" y="0"/>
                </a:moveTo>
                <a:lnTo>
                  <a:pt x="323850" y="0"/>
                </a:lnTo>
                <a:lnTo>
                  <a:pt x="0" y="517525"/>
                </a:lnTo>
                <a:lnTo>
                  <a:pt x="311150" y="438150"/>
                </a:lnTo>
                <a:lnTo>
                  <a:pt x="108900" y="759877"/>
                </a:lnTo>
                <a:lnTo>
                  <a:pt x="73025" y="650875"/>
                </a:lnTo>
                <a:lnTo>
                  <a:pt x="34925" y="968375"/>
                </a:lnTo>
                <a:lnTo>
                  <a:pt x="323850" y="822325"/>
                </a:lnTo>
                <a:lnTo>
                  <a:pt x="217074" y="825440"/>
                </a:lnTo>
                <a:lnTo>
                  <a:pt x="581025" y="260350"/>
                </a:lnTo>
                <a:lnTo>
                  <a:pt x="266700" y="336550"/>
                </a:lnTo>
                <a:lnTo>
                  <a:pt x="48260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
        <p:nvSpPr>
          <p:cNvPr id="36" name="Freihandform 25">
            <a:extLst>
              <a:ext uri="{FF2B5EF4-FFF2-40B4-BE49-F238E27FC236}">
                <a16:creationId xmlns:a16="http://schemas.microsoft.com/office/drawing/2014/main" xmlns="" id="{4A5572F4-8052-48AD-89EB-C88AAEF62DE5}"/>
              </a:ext>
            </a:extLst>
          </p:cNvPr>
          <p:cNvSpPr/>
          <p:nvPr/>
        </p:nvSpPr>
        <p:spPr>
          <a:xfrm>
            <a:off x="3475884" y="2045024"/>
            <a:ext cx="178702" cy="297836"/>
          </a:xfrm>
          <a:custGeom>
            <a:avLst/>
            <a:gdLst>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07975 w 581025"/>
              <a:gd name="connsiteY7" fmla="*/ 8350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42875 w 581025"/>
              <a:gd name="connsiteY4" fmla="*/ 695325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47650 w 581025"/>
              <a:gd name="connsiteY8" fmla="*/ 777875 h 968375"/>
              <a:gd name="connsiteX9" fmla="*/ 581025 w 581025"/>
              <a:gd name="connsiteY9" fmla="*/ 260350 h 968375"/>
              <a:gd name="connsiteX10" fmla="*/ 266700 w 581025"/>
              <a:gd name="connsiteY10" fmla="*/ 336550 h 968375"/>
              <a:gd name="connsiteX11" fmla="*/ 482600 w 581025"/>
              <a:gd name="connsiteY11" fmla="*/ 0 h 968375"/>
              <a:gd name="connsiteX0" fmla="*/ 482600 w 581025"/>
              <a:gd name="connsiteY0" fmla="*/ 0 h 968375"/>
              <a:gd name="connsiteX1" fmla="*/ 323850 w 581025"/>
              <a:gd name="connsiteY1" fmla="*/ 0 h 968375"/>
              <a:gd name="connsiteX2" fmla="*/ 0 w 581025"/>
              <a:gd name="connsiteY2" fmla="*/ 517525 h 968375"/>
              <a:gd name="connsiteX3" fmla="*/ 311150 w 581025"/>
              <a:gd name="connsiteY3" fmla="*/ 438150 h 968375"/>
              <a:gd name="connsiteX4" fmla="*/ 108900 w 581025"/>
              <a:gd name="connsiteY4" fmla="*/ 759877 h 968375"/>
              <a:gd name="connsiteX5" fmla="*/ 73025 w 581025"/>
              <a:gd name="connsiteY5" fmla="*/ 650875 h 968375"/>
              <a:gd name="connsiteX6" fmla="*/ 34925 w 581025"/>
              <a:gd name="connsiteY6" fmla="*/ 968375 h 968375"/>
              <a:gd name="connsiteX7" fmla="*/ 323850 w 581025"/>
              <a:gd name="connsiteY7" fmla="*/ 822325 h 968375"/>
              <a:gd name="connsiteX8" fmla="*/ 217074 w 581025"/>
              <a:gd name="connsiteY8" fmla="*/ 825440 h 968375"/>
              <a:gd name="connsiteX9" fmla="*/ 581025 w 581025"/>
              <a:gd name="connsiteY9" fmla="*/ 260350 h 968375"/>
              <a:gd name="connsiteX10" fmla="*/ 266700 w 581025"/>
              <a:gd name="connsiteY10" fmla="*/ 336550 h 968375"/>
              <a:gd name="connsiteX11" fmla="*/ 482600 w 581025"/>
              <a:gd name="connsiteY11" fmla="*/ 0 h 9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1025" h="968375">
                <a:moveTo>
                  <a:pt x="482600" y="0"/>
                </a:moveTo>
                <a:lnTo>
                  <a:pt x="323850" y="0"/>
                </a:lnTo>
                <a:lnTo>
                  <a:pt x="0" y="517525"/>
                </a:lnTo>
                <a:lnTo>
                  <a:pt x="311150" y="438150"/>
                </a:lnTo>
                <a:lnTo>
                  <a:pt x="108900" y="759877"/>
                </a:lnTo>
                <a:lnTo>
                  <a:pt x="73025" y="650875"/>
                </a:lnTo>
                <a:lnTo>
                  <a:pt x="34925" y="968375"/>
                </a:lnTo>
                <a:lnTo>
                  <a:pt x="323850" y="822325"/>
                </a:lnTo>
                <a:lnTo>
                  <a:pt x="217074" y="825440"/>
                </a:lnTo>
                <a:lnTo>
                  <a:pt x="581025" y="260350"/>
                </a:lnTo>
                <a:lnTo>
                  <a:pt x="266700" y="336550"/>
                </a:lnTo>
                <a:lnTo>
                  <a:pt x="48260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err="1">
              <a:solidFill>
                <a:schemeClr val="tx1"/>
              </a:solidFill>
            </a:endParaRPr>
          </a:p>
        </p:txBody>
      </p:sp>
    </p:spTree>
    <p:extLst>
      <p:ext uri="{BB962C8B-B14F-4D97-AF65-F5344CB8AC3E}">
        <p14:creationId xmlns:p14="http://schemas.microsoft.com/office/powerpoint/2010/main" val="25288150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13" name="think-cell Folie" r:id="rId6" imgW="270" imgH="270" progId="TCLayout.ActiveDocument.1">
                  <p:embed/>
                </p:oleObj>
              </mc:Choice>
              <mc:Fallback>
                <p:oleObj name="think-cell Folie" r:id="rId6" imgW="270" imgH="270" progId="TCLayout.ActiveDocument.1">
                  <p:embed/>
                  <p:pic>
                    <p:nvPicPr>
                      <p:cNvPr id="5" name="Objekt 4"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FEED3B46-EEC3-4A96-A9E4-54EE80927101}"/>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3" name="Inhaltsplatzhalter 2"/>
          <p:cNvSpPr txBox="1">
            <a:spLocks/>
          </p:cNvSpPr>
          <p:nvPr/>
        </p:nvSpPr>
        <p:spPr>
          <a:xfrm>
            <a:off x="3252788" y="2061022"/>
            <a:ext cx="5327648"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endParaRPr lang="de-DE" sz="1400" dirty="0"/>
          </a:p>
        </p:txBody>
      </p:sp>
      <p:sp>
        <p:nvSpPr>
          <p:cNvPr id="2" name="Titel 1"/>
          <p:cNvSpPr>
            <a:spLocks noGrp="1"/>
          </p:cNvSpPr>
          <p:nvPr>
            <p:ph type="title"/>
          </p:nvPr>
        </p:nvSpPr>
        <p:spPr/>
        <p:txBody>
          <a:bodyPr/>
          <a:lstStyle/>
          <a:p>
            <a:r>
              <a:rPr lang="de-DE" dirty="0"/>
              <a:t>Bislang wurde rund ein Drittel der kontingentierten Tickets verkauft, die Pressemeldungen sind eher kritisch</a:t>
            </a:r>
          </a:p>
        </p:txBody>
      </p:sp>
      <p:sp>
        <p:nvSpPr>
          <p:cNvPr id="3" name="Inhaltsplatzhalter 2"/>
          <p:cNvSpPr>
            <a:spLocks noGrp="1"/>
          </p:cNvSpPr>
          <p:nvPr>
            <p:ph idx="1"/>
          </p:nvPr>
        </p:nvSpPr>
        <p:spPr/>
        <p:txBody>
          <a:bodyPr/>
          <a:lstStyle/>
          <a:p>
            <a:r>
              <a:rPr lang="de-DE" dirty="0"/>
              <a:t>Beispiel: „Lead City“ Bonn</a:t>
            </a:r>
          </a:p>
        </p:txBody>
      </p:sp>
      <p:sp>
        <p:nvSpPr>
          <p:cNvPr id="4" name="Foliennummernplatzhalter 3"/>
          <p:cNvSpPr>
            <a:spLocks noGrp="1"/>
          </p:cNvSpPr>
          <p:nvPr>
            <p:ph type="sldNum" sz="quarter" idx="11"/>
          </p:nvPr>
        </p:nvSpPr>
        <p:spPr>
          <a:xfrm>
            <a:off x="519428" y="6295779"/>
            <a:ext cx="227626" cy="246221"/>
          </a:xfrm>
        </p:spPr>
        <p:txBody>
          <a:bodyPr/>
          <a:lstStyle/>
          <a:p>
            <a:fld id="{CD21EFEB-933F-4F46-A5AD-B6372944D9E5}" type="slidenum">
              <a:rPr lang="de-DE" smtClean="0"/>
              <a:pPr/>
              <a:t>51</a:t>
            </a:fld>
            <a:endParaRPr lang="de-DE"/>
          </a:p>
        </p:txBody>
      </p:sp>
      <p:sp>
        <p:nvSpPr>
          <p:cNvPr id="10" name="Inhaltsplatzhalter 2">
            <a:extLst>
              <a:ext uri="{FF2B5EF4-FFF2-40B4-BE49-F238E27FC236}">
                <a16:creationId xmlns:a16="http://schemas.microsoft.com/office/drawing/2014/main" xmlns="" id="{373571FE-7C96-4CB8-93E7-774E6EDDBDF7}"/>
              </a:ext>
            </a:extLst>
          </p:cNvPr>
          <p:cNvSpPr txBox="1">
            <a:spLocks/>
          </p:cNvSpPr>
          <p:nvPr/>
        </p:nvSpPr>
        <p:spPr>
          <a:xfrm>
            <a:off x="519428" y="2061022"/>
            <a:ext cx="3961398"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Bisheriger Absatz:</a:t>
            </a:r>
          </a:p>
          <a:p>
            <a:pPr lvl="3"/>
            <a:r>
              <a:rPr lang="de-DE" sz="1400" dirty="0"/>
              <a:t>6.000 Tickets aus dem Gesamtkontingent von 17.000 Tickets wurden seit Anfang 2019 verkauft</a:t>
            </a:r>
          </a:p>
          <a:p>
            <a:pPr lvl="2"/>
            <a:r>
              <a:rPr lang="de-DE" sz="1400" dirty="0"/>
              <a:t>Presse:</a:t>
            </a:r>
          </a:p>
          <a:p>
            <a:pPr lvl="3"/>
            <a:r>
              <a:rPr lang="de-DE" sz="1400" dirty="0"/>
              <a:t>Schlagzeilen aufgrund niedriger Verkaufszahlen</a:t>
            </a:r>
          </a:p>
          <a:p>
            <a:pPr lvl="3"/>
            <a:r>
              <a:rPr lang="de-DE" sz="1400" dirty="0"/>
              <a:t>Negatives Echo aufgrund Ausgestaltung des Tickets im Gegensatz zum regulären Abo</a:t>
            </a:r>
          </a:p>
          <a:p>
            <a:pPr marL="0" lvl="2" indent="0">
              <a:buNone/>
            </a:pPr>
            <a:endParaRPr lang="de-DE" sz="1400" dirty="0"/>
          </a:p>
        </p:txBody>
      </p:sp>
      <p:sp>
        <p:nvSpPr>
          <p:cNvPr id="11" name="Rechteck 10">
            <a:extLst>
              <a:ext uri="{FF2B5EF4-FFF2-40B4-BE49-F238E27FC236}">
                <a16:creationId xmlns:a16="http://schemas.microsoft.com/office/drawing/2014/main" xmlns="" id="{05301728-9B9C-4654-BEB4-49E511AE5929}"/>
              </a:ext>
            </a:extLst>
          </p:cNvPr>
          <p:cNvSpPr/>
          <p:nvPr/>
        </p:nvSpPr>
        <p:spPr>
          <a:xfrm>
            <a:off x="519428"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Aktuelle Entwicklung</a:t>
            </a:r>
          </a:p>
        </p:txBody>
      </p:sp>
      <p:cxnSp>
        <p:nvCxnSpPr>
          <p:cNvPr id="12" name="Gerade Verbindung 6">
            <a:extLst>
              <a:ext uri="{FF2B5EF4-FFF2-40B4-BE49-F238E27FC236}">
                <a16:creationId xmlns:a16="http://schemas.microsoft.com/office/drawing/2014/main" xmlns="" id="{323FCA58-F5F7-4B0F-80E5-68DCF33B4726}"/>
              </a:ext>
            </a:extLst>
          </p:cNvPr>
          <p:cNvCxnSpPr>
            <a:cxnSpLocks/>
          </p:cNvCxnSpPr>
          <p:nvPr/>
        </p:nvCxnSpPr>
        <p:spPr>
          <a:xfrm>
            <a:off x="543240" y="2061023"/>
            <a:ext cx="393758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xmlns="" id="{9D2040C0-1865-4F56-AB37-0CFDD4239C3E}"/>
              </a:ext>
            </a:extLst>
          </p:cNvPr>
          <p:cNvGrpSpPr/>
          <p:nvPr/>
        </p:nvGrpSpPr>
        <p:grpSpPr>
          <a:xfrm>
            <a:off x="4780212" y="3590992"/>
            <a:ext cx="3962985" cy="610871"/>
            <a:chOff x="467494" y="4796977"/>
            <a:chExt cx="5184626" cy="799180"/>
          </a:xfrm>
        </p:grpSpPr>
        <p:pic>
          <p:nvPicPr>
            <p:cNvPr id="13" name="Grafik 12">
              <a:extLst>
                <a:ext uri="{FF2B5EF4-FFF2-40B4-BE49-F238E27FC236}">
                  <a16:creationId xmlns:a16="http://schemas.microsoft.com/office/drawing/2014/main" xmlns="" id="{6071E174-21C4-4002-BC71-A4B1EC1F2658}"/>
                </a:ext>
              </a:extLst>
            </p:cNvPr>
            <p:cNvPicPr>
              <a:picLocks noChangeAspect="1"/>
            </p:cNvPicPr>
            <p:nvPr/>
          </p:nvPicPr>
          <p:blipFill>
            <a:blip r:embed="rId8"/>
            <a:stretch>
              <a:fillRect/>
            </a:stretch>
          </p:blipFill>
          <p:spPr>
            <a:xfrm>
              <a:off x="467494" y="4796977"/>
              <a:ext cx="5184626" cy="349757"/>
            </a:xfrm>
            <a:prstGeom prst="rect">
              <a:avLst/>
            </a:prstGeom>
            <a:effectLst>
              <a:outerShdw blurRad="50800" dist="38100" dir="2700000" algn="tl" rotWithShape="0">
                <a:prstClr val="black">
                  <a:alpha val="40000"/>
                </a:prstClr>
              </a:outerShdw>
            </a:effectLst>
          </p:spPr>
        </p:pic>
        <p:sp>
          <p:nvSpPr>
            <p:cNvPr id="17" name="Textfeld 16">
              <a:extLst>
                <a:ext uri="{FF2B5EF4-FFF2-40B4-BE49-F238E27FC236}">
                  <a16:creationId xmlns:a16="http://schemas.microsoft.com/office/drawing/2014/main" xmlns="" id="{8FF4976A-2CE5-4807-A96D-A00836462E47}"/>
                </a:ext>
              </a:extLst>
            </p:cNvPr>
            <p:cNvSpPr txBox="1"/>
            <p:nvPr/>
          </p:nvSpPr>
          <p:spPr>
            <a:xfrm>
              <a:off x="467494" y="5154844"/>
              <a:ext cx="4212302" cy="441313"/>
            </a:xfrm>
            <a:prstGeom prst="rect">
              <a:avLst/>
            </a:prstGeom>
            <a:noFill/>
          </p:spPr>
          <p:txBody>
            <a:bodyPr wrap="square" rtlCol="0">
              <a:spAutoFit/>
            </a:bodyPr>
            <a:lstStyle/>
            <a:p>
              <a:r>
                <a:rPr lang="de-DE" sz="1100" dirty="0"/>
                <a:t>rp-online.de (09.09.2019)</a:t>
              </a:r>
            </a:p>
          </p:txBody>
        </p:sp>
      </p:grpSp>
      <p:grpSp>
        <p:nvGrpSpPr>
          <p:cNvPr id="15" name="Gruppieren 14">
            <a:extLst>
              <a:ext uri="{FF2B5EF4-FFF2-40B4-BE49-F238E27FC236}">
                <a16:creationId xmlns:a16="http://schemas.microsoft.com/office/drawing/2014/main" xmlns="" id="{448E15D8-8FE5-4157-8D06-09FBEB41D54B}"/>
              </a:ext>
            </a:extLst>
          </p:cNvPr>
          <p:cNvGrpSpPr/>
          <p:nvPr/>
        </p:nvGrpSpPr>
        <p:grpSpPr>
          <a:xfrm>
            <a:off x="4785475" y="4562943"/>
            <a:ext cx="3962989" cy="738265"/>
            <a:chOff x="914210" y="5377676"/>
            <a:chExt cx="4631432" cy="862789"/>
          </a:xfrm>
        </p:grpSpPr>
        <p:pic>
          <p:nvPicPr>
            <p:cNvPr id="14" name="Grafik 13">
              <a:extLst>
                <a:ext uri="{FF2B5EF4-FFF2-40B4-BE49-F238E27FC236}">
                  <a16:creationId xmlns:a16="http://schemas.microsoft.com/office/drawing/2014/main" xmlns="" id="{0EC75083-3484-42B5-B6E7-DCBB937CADCD}"/>
                </a:ext>
              </a:extLst>
            </p:cNvPr>
            <p:cNvPicPr>
              <a:picLocks noChangeAspect="1"/>
            </p:cNvPicPr>
            <p:nvPr/>
          </p:nvPicPr>
          <p:blipFill>
            <a:blip r:embed="rId9"/>
            <a:stretch>
              <a:fillRect/>
            </a:stretch>
          </p:blipFill>
          <p:spPr>
            <a:xfrm>
              <a:off x="914210" y="5377676"/>
              <a:ext cx="4631432" cy="457049"/>
            </a:xfrm>
            <a:prstGeom prst="rect">
              <a:avLst/>
            </a:prstGeom>
            <a:effectLst>
              <a:outerShdw blurRad="50800" dist="38100" dir="2700000" algn="tl" rotWithShape="0">
                <a:prstClr val="black">
                  <a:alpha val="40000"/>
                </a:prstClr>
              </a:outerShdw>
            </a:effectLst>
          </p:spPr>
        </p:pic>
        <p:sp>
          <p:nvSpPr>
            <p:cNvPr id="19" name="Textfeld 18">
              <a:extLst>
                <a:ext uri="{FF2B5EF4-FFF2-40B4-BE49-F238E27FC236}">
                  <a16:creationId xmlns:a16="http://schemas.microsoft.com/office/drawing/2014/main" xmlns="" id="{204ABF0E-4D33-40C1-8016-E3CE1484C645}"/>
                </a:ext>
              </a:extLst>
            </p:cNvPr>
            <p:cNvSpPr txBox="1"/>
            <p:nvPr/>
          </p:nvSpPr>
          <p:spPr>
            <a:xfrm>
              <a:off x="932118" y="5846239"/>
              <a:ext cx="4212302" cy="394226"/>
            </a:xfrm>
            <a:prstGeom prst="rect">
              <a:avLst/>
            </a:prstGeom>
            <a:noFill/>
          </p:spPr>
          <p:txBody>
            <a:bodyPr wrap="square" rtlCol="0">
              <a:spAutoFit/>
            </a:bodyPr>
            <a:lstStyle/>
            <a:p>
              <a:r>
                <a:rPr lang="de-DE" sz="1100" dirty="0"/>
                <a:t>Express.de (11.09.2019)</a:t>
              </a:r>
            </a:p>
          </p:txBody>
        </p:sp>
      </p:grpSp>
      <p:grpSp>
        <p:nvGrpSpPr>
          <p:cNvPr id="21" name="Gruppieren 20">
            <a:extLst>
              <a:ext uri="{FF2B5EF4-FFF2-40B4-BE49-F238E27FC236}">
                <a16:creationId xmlns:a16="http://schemas.microsoft.com/office/drawing/2014/main" xmlns="" id="{8FA83BA4-FCC8-43AA-AAF2-07895A6EB148}"/>
              </a:ext>
            </a:extLst>
          </p:cNvPr>
          <p:cNvGrpSpPr/>
          <p:nvPr/>
        </p:nvGrpSpPr>
        <p:grpSpPr>
          <a:xfrm>
            <a:off x="4785473" y="2217689"/>
            <a:ext cx="3962987" cy="1218042"/>
            <a:chOff x="5449919" y="3927071"/>
            <a:chExt cx="3536925" cy="1087090"/>
          </a:xfrm>
        </p:grpSpPr>
        <p:pic>
          <p:nvPicPr>
            <p:cNvPr id="9" name="Grafik 8">
              <a:extLst>
                <a:ext uri="{FF2B5EF4-FFF2-40B4-BE49-F238E27FC236}">
                  <a16:creationId xmlns:a16="http://schemas.microsoft.com/office/drawing/2014/main" xmlns="" id="{A554D955-9DA2-4FA7-81F1-D28E4EFF8B0B}"/>
                </a:ext>
              </a:extLst>
            </p:cNvPr>
            <p:cNvPicPr>
              <a:picLocks noChangeAspect="1"/>
            </p:cNvPicPr>
            <p:nvPr/>
          </p:nvPicPr>
          <p:blipFill>
            <a:blip r:embed="rId10"/>
            <a:stretch>
              <a:fillRect/>
            </a:stretch>
          </p:blipFill>
          <p:spPr>
            <a:xfrm>
              <a:off x="5449920" y="3927071"/>
              <a:ext cx="3527673" cy="743525"/>
            </a:xfrm>
            <a:prstGeom prst="rect">
              <a:avLst/>
            </a:prstGeom>
            <a:effectLst>
              <a:outerShdw blurRad="50800" dist="38100" dir="2700000" algn="tl" rotWithShape="0">
                <a:prstClr val="black">
                  <a:alpha val="40000"/>
                </a:prstClr>
              </a:outerShdw>
            </a:effectLst>
          </p:spPr>
        </p:pic>
        <p:sp>
          <p:nvSpPr>
            <p:cNvPr id="20" name="Textfeld 19">
              <a:extLst>
                <a:ext uri="{FF2B5EF4-FFF2-40B4-BE49-F238E27FC236}">
                  <a16:creationId xmlns:a16="http://schemas.microsoft.com/office/drawing/2014/main" xmlns="" id="{39C01794-043A-47DC-9C52-9E2DA6861CB7}"/>
                </a:ext>
              </a:extLst>
            </p:cNvPr>
            <p:cNvSpPr txBox="1"/>
            <p:nvPr/>
          </p:nvSpPr>
          <p:spPr>
            <a:xfrm>
              <a:off x="5449919" y="4660936"/>
              <a:ext cx="3536925" cy="353225"/>
            </a:xfrm>
            <a:prstGeom prst="rect">
              <a:avLst/>
            </a:prstGeom>
            <a:noFill/>
          </p:spPr>
          <p:txBody>
            <a:bodyPr wrap="square" rtlCol="0">
              <a:spAutoFit/>
            </a:bodyPr>
            <a:lstStyle/>
            <a:p>
              <a:r>
                <a:rPr lang="de-DE" sz="1100" dirty="0"/>
                <a:t>deutschlandfunknova.de (12.09.2019)</a:t>
              </a:r>
            </a:p>
          </p:txBody>
        </p:sp>
      </p:grpSp>
      <p:sp>
        <p:nvSpPr>
          <p:cNvPr id="25" name="Rechteck 24">
            <a:extLst>
              <a:ext uri="{FF2B5EF4-FFF2-40B4-BE49-F238E27FC236}">
                <a16:creationId xmlns:a16="http://schemas.microsoft.com/office/drawing/2014/main" xmlns="" id="{5B15ED0D-5DAB-4FDA-9AF7-6136AA37980F}"/>
              </a:ext>
            </a:extLst>
          </p:cNvPr>
          <p:cNvSpPr/>
          <p:nvPr/>
        </p:nvSpPr>
        <p:spPr>
          <a:xfrm>
            <a:off x="5916613" y="1784088"/>
            <a:ext cx="2687636" cy="2769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Pressemeldungen</a:t>
            </a:r>
          </a:p>
        </p:txBody>
      </p:sp>
      <p:cxnSp>
        <p:nvCxnSpPr>
          <p:cNvPr id="26" name="Gerade Verbindung 19">
            <a:extLst>
              <a:ext uri="{FF2B5EF4-FFF2-40B4-BE49-F238E27FC236}">
                <a16:creationId xmlns:a16="http://schemas.microsoft.com/office/drawing/2014/main" xmlns="" id="{E82BF029-CC44-44B2-B29A-27A4B9FDBE00}"/>
              </a:ext>
            </a:extLst>
          </p:cNvPr>
          <p:cNvCxnSpPr>
            <a:cxnSpLocks/>
          </p:cNvCxnSpPr>
          <p:nvPr/>
        </p:nvCxnSpPr>
        <p:spPr>
          <a:xfrm>
            <a:off x="4788024" y="2061023"/>
            <a:ext cx="381622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35863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7737" name="think-cell Folie" r:id="rId6" imgW="270" imgH="270" progId="TCLayout.ActiveDocument.1">
                  <p:embed/>
                </p:oleObj>
              </mc:Choice>
              <mc:Fallback>
                <p:oleObj name="think-cell Folie" r:id="rId6" imgW="270" imgH="270" progId="TCLayout.ActiveDocument.1">
                  <p:embed/>
                  <p:pic>
                    <p:nvPicPr>
                      <p:cNvPr id="5" name="Objekt 4"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FEED3B46-EEC3-4A96-A9E4-54EE80927101}"/>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3" name="Inhaltsplatzhalter 2"/>
          <p:cNvSpPr txBox="1">
            <a:spLocks/>
          </p:cNvSpPr>
          <p:nvPr/>
        </p:nvSpPr>
        <p:spPr>
          <a:xfrm>
            <a:off x="519428" y="2061022"/>
            <a:ext cx="5327648"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Modellstadt im Rahmen Luftreinhalteprogramm</a:t>
            </a:r>
          </a:p>
          <a:p>
            <a:pPr lvl="2"/>
            <a:r>
              <a:rPr lang="de-DE" sz="1400" dirty="0"/>
              <a:t>Förderung durch das BMVI</a:t>
            </a:r>
          </a:p>
          <a:p>
            <a:pPr lvl="2"/>
            <a:r>
              <a:rPr lang="de-DE" sz="1400" dirty="0"/>
              <a:t>Laufzeit von 2 Jahren bis Ende 2020 </a:t>
            </a:r>
          </a:p>
          <a:p>
            <a:pPr lvl="2"/>
            <a:r>
              <a:rPr lang="de-DE" sz="1400" dirty="0"/>
              <a:t>Tarifmaßnahmen:</a:t>
            </a:r>
          </a:p>
          <a:p>
            <a:pPr lvl="3"/>
            <a:r>
              <a:rPr lang="de-DE" sz="1400" dirty="0"/>
              <a:t>Jahresticket für 365 €</a:t>
            </a:r>
          </a:p>
          <a:p>
            <a:pPr lvl="4"/>
            <a:r>
              <a:rPr lang="de-DE" sz="1400" dirty="0"/>
              <a:t>Im Abo für 33 € monatlich</a:t>
            </a:r>
          </a:p>
          <a:p>
            <a:pPr lvl="4"/>
            <a:r>
              <a:rPr lang="de-DE" sz="1400" dirty="0"/>
              <a:t>Als 9-Uhr-Jahresabo für 30 €</a:t>
            </a:r>
          </a:p>
          <a:p>
            <a:pPr lvl="3"/>
            <a:r>
              <a:rPr lang="de-DE" sz="1400" dirty="0"/>
              <a:t>Preissenkung Tagestickets</a:t>
            </a:r>
          </a:p>
          <a:p>
            <a:pPr lvl="4"/>
            <a:r>
              <a:rPr lang="de-DE" sz="1400" dirty="0"/>
              <a:t>Wabe Reutlingen (220) um 20 % (3,50 € statt 4,40 € für Erwachsene) bzw. 31 % (2,50 € statt </a:t>
            </a:r>
            <a:br>
              <a:rPr lang="de-DE" sz="1400" dirty="0"/>
            </a:br>
            <a:r>
              <a:rPr lang="de-DE" sz="1400" dirty="0"/>
              <a:t>3,60 € Kinder)</a:t>
            </a:r>
          </a:p>
          <a:p>
            <a:pPr lvl="3"/>
            <a:r>
              <a:rPr lang="de-DE" sz="1400" dirty="0"/>
              <a:t>Anpassung Schüler-Monatskarte </a:t>
            </a:r>
          </a:p>
          <a:p>
            <a:pPr lvl="4"/>
            <a:r>
              <a:rPr lang="de-DE" sz="1400" dirty="0"/>
              <a:t>Preissenkung um 32 % (30,00 € statt 44,10) sowie Verbundweite Gültigkeit ab 13:15 Uhr sowie an Wochenenden, Feiertagen und Ferientagen.</a:t>
            </a:r>
          </a:p>
        </p:txBody>
      </p:sp>
      <p:sp>
        <p:nvSpPr>
          <p:cNvPr id="2" name="Titel 1"/>
          <p:cNvSpPr>
            <a:spLocks noGrp="1"/>
          </p:cNvSpPr>
          <p:nvPr>
            <p:ph type="title"/>
          </p:nvPr>
        </p:nvSpPr>
        <p:spPr/>
        <p:txBody>
          <a:bodyPr/>
          <a:lstStyle/>
          <a:p>
            <a:r>
              <a:rPr lang="de-DE" dirty="0"/>
              <a:t>In Reutlingen wird das 365-Euro-Ticket für Neu- und Bestandskunden bis Ende 2020 angeboten</a:t>
            </a:r>
          </a:p>
        </p:txBody>
      </p:sp>
      <p:sp>
        <p:nvSpPr>
          <p:cNvPr id="3" name="Inhaltsplatzhalter 2"/>
          <p:cNvSpPr>
            <a:spLocks noGrp="1"/>
          </p:cNvSpPr>
          <p:nvPr>
            <p:ph idx="1"/>
          </p:nvPr>
        </p:nvSpPr>
        <p:spPr/>
        <p:txBody>
          <a:bodyPr/>
          <a:lstStyle/>
          <a:p>
            <a:r>
              <a:rPr lang="de-DE" dirty="0"/>
              <a:t>Beispiel: „Umwelt-Ticket-Paket“ Reutlingen</a:t>
            </a:r>
          </a:p>
        </p:txBody>
      </p:sp>
      <p:sp>
        <p:nvSpPr>
          <p:cNvPr id="4" name="Foliennummernplatzhalter 3"/>
          <p:cNvSpPr>
            <a:spLocks noGrp="1"/>
          </p:cNvSpPr>
          <p:nvPr>
            <p:ph type="sldNum" sz="quarter" idx="11"/>
          </p:nvPr>
        </p:nvSpPr>
        <p:spPr>
          <a:xfrm>
            <a:off x="519428" y="6295779"/>
            <a:ext cx="227626" cy="246221"/>
          </a:xfrm>
        </p:spPr>
        <p:txBody>
          <a:bodyPr/>
          <a:lstStyle/>
          <a:p>
            <a:fld id="{CD21EFEB-933F-4F46-A5AD-B6372944D9E5}" type="slidenum">
              <a:rPr lang="de-DE" smtClean="0"/>
              <a:pPr/>
              <a:t>52</a:t>
            </a:fld>
            <a:endParaRPr lang="de-DE"/>
          </a:p>
        </p:txBody>
      </p:sp>
      <p:sp>
        <p:nvSpPr>
          <p:cNvPr id="18" name="Rechteck 17"/>
          <p:cNvSpPr/>
          <p:nvPr/>
        </p:nvSpPr>
        <p:spPr>
          <a:xfrm>
            <a:off x="519428"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Eckpunkte</a:t>
            </a:r>
          </a:p>
        </p:txBody>
      </p:sp>
      <p:cxnSp>
        <p:nvCxnSpPr>
          <p:cNvPr id="7" name="Gerade Verbindung 6"/>
          <p:cNvCxnSpPr>
            <a:cxnSpLocks/>
          </p:cNvCxnSpPr>
          <p:nvPr/>
        </p:nvCxnSpPr>
        <p:spPr>
          <a:xfrm>
            <a:off x="543240"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fik 11">
            <a:extLst>
              <a:ext uri="{FF2B5EF4-FFF2-40B4-BE49-F238E27FC236}">
                <a16:creationId xmlns:a16="http://schemas.microsoft.com/office/drawing/2014/main" xmlns="" id="{37BCEE20-7469-4139-9821-DC44DC900FBB}"/>
              </a:ext>
            </a:extLst>
          </p:cNvPr>
          <p:cNvPicPr>
            <a:picLocks noChangeAspect="1"/>
          </p:cNvPicPr>
          <p:nvPr/>
        </p:nvPicPr>
        <p:blipFill>
          <a:blip r:embed="rId8"/>
          <a:stretch>
            <a:fillRect/>
          </a:stretch>
        </p:blipFill>
        <p:spPr>
          <a:xfrm>
            <a:off x="6011861" y="2163162"/>
            <a:ext cx="2592387" cy="2980401"/>
          </a:xfrm>
          <a:prstGeom prst="rect">
            <a:avLst/>
          </a:prstGeom>
        </p:spPr>
      </p:pic>
      <p:pic>
        <p:nvPicPr>
          <p:cNvPr id="15" name="Grafik 14">
            <a:extLst>
              <a:ext uri="{FF2B5EF4-FFF2-40B4-BE49-F238E27FC236}">
                <a16:creationId xmlns:a16="http://schemas.microsoft.com/office/drawing/2014/main" xmlns="" id="{6EEAFAAE-AA5E-419C-8FDA-E20FF2977952}"/>
              </a:ext>
            </a:extLst>
          </p:cNvPr>
          <p:cNvPicPr>
            <a:picLocks noChangeAspect="1"/>
          </p:cNvPicPr>
          <p:nvPr/>
        </p:nvPicPr>
        <p:blipFill>
          <a:blip r:embed="rId9"/>
          <a:stretch>
            <a:fillRect/>
          </a:stretch>
        </p:blipFill>
        <p:spPr>
          <a:xfrm>
            <a:off x="8341955" y="1759461"/>
            <a:ext cx="262294" cy="273835"/>
          </a:xfrm>
          <a:prstGeom prst="rect">
            <a:avLst/>
          </a:prstGeom>
        </p:spPr>
      </p:pic>
      <p:sp>
        <p:nvSpPr>
          <p:cNvPr id="19" name="Rechteck 18">
            <a:extLst>
              <a:ext uri="{FF2B5EF4-FFF2-40B4-BE49-F238E27FC236}">
                <a16:creationId xmlns:a16="http://schemas.microsoft.com/office/drawing/2014/main" xmlns="" id="{75A10984-6CCD-4C9E-BFAA-CB6C645A5E44}"/>
              </a:ext>
            </a:extLst>
          </p:cNvPr>
          <p:cNvSpPr/>
          <p:nvPr/>
        </p:nvSpPr>
        <p:spPr>
          <a:xfrm>
            <a:off x="5916613" y="1784088"/>
            <a:ext cx="2687636" cy="2769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Gültigkeitsbereich</a:t>
            </a:r>
          </a:p>
        </p:txBody>
      </p:sp>
      <p:cxnSp>
        <p:nvCxnSpPr>
          <p:cNvPr id="20" name="Gerade Verbindung 19">
            <a:extLst>
              <a:ext uri="{FF2B5EF4-FFF2-40B4-BE49-F238E27FC236}">
                <a16:creationId xmlns:a16="http://schemas.microsoft.com/office/drawing/2014/main" xmlns="" id="{97FA8C72-9D8E-489C-A3FA-E3E830C69E7C}"/>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65296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8761" name="think-cell Folie" r:id="rId6" imgW="270" imgH="270" progId="TCLayout.ActiveDocument.1">
                  <p:embed/>
                </p:oleObj>
              </mc:Choice>
              <mc:Fallback>
                <p:oleObj name="think-cell Folie" r:id="rId6" imgW="270" imgH="270" progId="TCLayout.ActiveDocument.1">
                  <p:embed/>
                  <p:pic>
                    <p:nvPicPr>
                      <p:cNvPr id="5" name="Objekt 4"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FEED3B46-EEC3-4A96-A9E4-54EE80927101}"/>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3" name="Inhaltsplatzhalter 2"/>
          <p:cNvSpPr txBox="1">
            <a:spLocks/>
          </p:cNvSpPr>
          <p:nvPr/>
        </p:nvSpPr>
        <p:spPr>
          <a:xfrm>
            <a:off x="3252788" y="2061022"/>
            <a:ext cx="5327648"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buNone/>
            </a:pPr>
            <a:endParaRPr lang="de-DE" sz="1400" dirty="0"/>
          </a:p>
        </p:txBody>
      </p:sp>
      <p:sp>
        <p:nvSpPr>
          <p:cNvPr id="2" name="Titel 1"/>
          <p:cNvSpPr>
            <a:spLocks noGrp="1"/>
          </p:cNvSpPr>
          <p:nvPr>
            <p:ph type="title"/>
          </p:nvPr>
        </p:nvSpPr>
        <p:spPr/>
        <p:txBody>
          <a:bodyPr/>
          <a:lstStyle/>
          <a:p>
            <a:r>
              <a:rPr lang="de-DE" dirty="0"/>
              <a:t>Bis Mai 2019 haben rund 1.800 Kunden das neue Jahresticket für 365 € erworben</a:t>
            </a:r>
          </a:p>
        </p:txBody>
      </p:sp>
      <p:sp>
        <p:nvSpPr>
          <p:cNvPr id="3" name="Inhaltsplatzhalter 2"/>
          <p:cNvSpPr>
            <a:spLocks noGrp="1"/>
          </p:cNvSpPr>
          <p:nvPr>
            <p:ph idx="1"/>
          </p:nvPr>
        </p:nvSpPr>
        <p:spPr/>
        <p:txBody>
          <a:bodyPr/>
          <a:lstStyle/>
          <a:p>
            <a:r>
              <a:rPr lang="de-DE" dirty="0"/>
              <a:t>Beispiel: „Umwelt-Ticket-Paket“ Reutlingen</a:t>
            </a:r>
          </a:p>
        </p:txBody>
      </p:sp>
      <p:sp>
        <p:nvSpPr>
          <p:cNvPr id="4" name="Foliennummernplatzhalter 3"/>
          <p:cNvSpPr>
            <a:spLocks noGrp="1"/>
          </p:cNvSpPr>
          <p:nvPr>
            <p:ph type="sldNum" sz="quarter" idx="11"/>
          </p:nvPr>
        </p:nvSpPr>
        <p:spPr>
          <a:xfrm>
            <a:off x="519428" y="6295779"/>
            <a:ext cx="227626" cy="246221"/>
          </a:xfrm>
        </p:spPr>
        <p:txBody>
          <a:bodyPr/>
          <a:lstStyle/>
          <a:p>
            <a:fld id="{CD21EFEB-933F-4F46-A5AD-B6372944D9E5}" type="slidenum">
              <a:rPr lang="de-DE" smtClean="0"/>
              <a:pPr/>
              <a:t>53</a:t>
            </a:fld>
            <a:endParaRPr lang="de-DE"/>
          </a:p>
        </p:txBody>
      </p:sp>
      <p:sp>
        <p:nvSpPr>
          <p:cNvPr id="10" name="Inhaltsplatzhalter 2">
            <a:extLst>
              <a:ext uri="{FF2B5EF4-FFF2-40B4-BE49-F238E27FC236}">
                <a16:creationId xmlns:a16="http://schemas.microsoft.com/office/drawing/2014/main" xmlns="" id="{373571FE-7C96-4CB8-93E7-774E6EDDBDF7}"/>
              </a:ext>
            </a:extLst>
          </p:cNvPr>
          <p:cNvSpPr txBox="1">
            <a:spLocks/>
          </p:cNvSpPr>
          <p:nvPr/>
        </p:nvSpPr>
        <p:spPr>
          <a:xfrm>
            <a:off x="519428" y="2061022"/>
            <a:ext cx="5327648"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Bisheriger Absatz:</a:t>
            </a:r>
          </a:p>
          <a:p>
            <a:pPr lvl="3"/>
            <a:r>
              <a:rPr lang="de-DE" sz="1400" dirty="0"/>
              <a:t>1.800 Kunden im Zeitraum von Januar – Mai 2019, davon 1.000 Neukunden</a:t>
            </a:r>
          </a:p>
          <a:p>
            <a:pPr lvl="3"/>
            <a:r>
              <a:rPr lang="de-DE" sz="1400" dirty="0"/>
              <a:t>800 Bestandskunden sind aus dem übertragbaren Abo gewandert</a:t>
            </a:r>
          </a:p>
          <a:p>
            <a:pPr lvl="3"/>
            <a:r>
              <a:rPr lang="de-DE" sz="1400" dirty="0"/>
              <a:t>Im gleichen Zeitraum 2018 waren es 1.080 Kunden für das persönliche Abo</a:t>
            </a:r>
          </a:p>
          <a:p>
            <a:pPr lvl="2"/>
            <a:r>
              <a:rPr lang="de-DE" sz="1400" dirty="0"/>
              <a:t>Presse:</a:t>
            </a:r>
          </a:p>
          <a:p>
            <a:pPr lvl="3"/>
            <a:r>
              <a:rPr lang="de-DE" sz="1400" dirty="0"/>
              <a:t>Bislang wenig Resonanz zur Einführung des Tickets</a:t>
            </a:r>
          </a:p>
          <a:p>
            <a:pPr lvl="3"/>
            <a:endParaRPr lang="de-DE" sz="1400" baseline="30000" dirty="0"/>
          </a:p>
          <a:p>
            <a:pPr marL="0" lvl="2" indent="0">
              <a:buNone/>
            </a:pPr>
            <a:endParaRPr lang="de-DE" sz="1400" dirty="0"/>
          </a:p>
        </p:txBody>
      </p:sp>
      <p:sp>
        <p:nvSpPr>
          <p:cNvPr id="11" name="Rechteck 10">
            <a:extLst>
              <a:ext uri="{FF2B5EF4-FFF2-40B4-BE49-F238E27FC236}">
                <a16:creationId xmlns:a16="http://schemas.microsoft.com/office/drawing/2014/main" xmlns="" id="{05301728-9B9C-4654-BEB4-49E511AE5929}"/>
              </a:ext>
            </a:extLst>
          </p:cNvPr>
          <p:cNvSpPr/>
          <p:nvPr/>
        </p:nvSpPr>
        <p:spPr>
          <a:xfrm>
            <a:off x="519428"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Auswirkungen</a:t>
            </a:r>
          </a:p>
        </p:txBody>
      </p:sp>
      <p:cxnSp>
        <p:nvCxnSpPr>
          <p:cNvPr id="12" name="Gerade Verbindung 6">
            <a:extLst>
              <a:ext uri="{FF2B5EF4-FFF2-40B4-BE49-F238E27FC236}">
                <a16:creationId xmlns:a16="http://schemas.microsoft.com/office/drawing/2014/main" xmlns="" id="{323FCA58-F5F7-4B0F-80E5-68DCF33B4726}"/>
              </a:ext>
            </a:extLst>
          </p:cNvPr>
          <p:cNvCxnSpPr/>
          <p:nvPr/>
        </p:nvCxnSpPr>
        <p:spPr>
          <a:xfrm>
            <a:off x="543240"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Grafik 6">
            <a:extLst>
              <a:ext uri="{FF2B5EF4-FFF2-40B4-BE49-F238E27FC236}">
                <a16:creationId xmlns:a16="http://schemas.microsoft.com/office/drawing/2014/main" xmlns="" id="{3108EC85-EA70-4714-8C3B-71C06C910CE4}"/>
              </a:ext>
            </a:extLst>
          </p:cNvPr>
          <p:cNvPicPr>
            <a:picLocks noChangeAspect="1"/>
          </p:cNvPicPr>
          <p:nvPr/>
        </p:nvPicPr>
        <p:blipFill>
          <a:blip r:embed="rId8"/>
          <a:stretch>
            <a:fillRect/>
          </a:stretch>
        </p:blipFill>
        <p:spPr>
          <a:xfrm>
            <a:off x="6014920" y="2168089"/>
            <a:ext cx="2589330" cy="679078"/>
          </a:xfrm>
          <a:prstGeom prst="rect">
            <a:avLst/>
          </a:prstGeom>
        </p:spPr>
      </p:pic>
    </p:spTree>
    <p:extLst>
      <p:ext uri="{BB962C8B-B14F-4D97-AF65-F5344CB8AC3E}">
        <p14:creationId xmlns:p14="http://schemas.microsoft.com/office/powerpoint/2010/main" val="14437170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85BA2B44-19EE-4A53-BBA0-89AC551DEA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9785" name="think-cell Folie" r:id="rId5" imgW="530" imgH="531" progId="TCLayout.ActiveDocument.1">
                  <p:embed/>
                </p:oleObj>
              </mc:Choice>
              <mc:Fallback>
                <p:oleObj name="think-cell Folie" r:id="rId5" imgW="530" imgH="531" progId="TCLayout.ActiveDocument.1">
                  <p:embed/>
                  <p:pic>
                    <p:nvPicPr>
                      <p:cNvPr id="7" name="Objekt 6" hidden="1">
                        <a:extLst>
                          <a:ext uri="{FF2B5EF4-FFF2-40B4-BE49-F238E27FC236}">
                            <a16:creationId xmlns:a16="http://schemas.microsoft.com/office/drawing/2014/main" xmlns="" id="{85BA2B44-19EE-4A53-BBA0-89AC551DEA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03431532-2F6B-45F9-B581-68B2A86A3CDA}"/>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A3C1CA66-F19F-46C1-974F-881F9A02F35A}"/>
              </a:ext>
            </a:extLst>
          </p:cNvPr>
          <p:cNvSpPr>
            <a:spLocks noGrp="1"/>
          </p:cNvSpPr>
          <p:nvPr>
            <p:ph type="title"/>
          </p:nvPr>
        </p:nvSpPr>
        <p:spPr>
          <a:xfrm>
            <a:off x="446996" y="281196"/>
            <a:ext cx="8157254" cy="648072"/>
          </a:xfrm>
        </p:spPr>
        <p:txBody>
          <a:bodyPr/>
          <a:lstStyle/>
          <a:p>
            <a:r>
              <a:rPr lang="de-DE" dirty="0"/>
              <a:t>Die Einführung des Schülertickets war in den meisten Gebieten mit einer deutlichen Preisabsenkung verbunden</a:t>
            </a:r>
          </a:p>
        </p:txBody>
      </p:sp>
      <p:sp>
        <p:nvSpPr>
          <p:cNvPr id="3" name="Inhaltsplatzhalter 2">
            <a:extLst>
              <a:ext uri="{FF2B5EF4-FFF2-40B4-BE49-F238E27FC236}">
                <a16:creationId xmlns:a16="http://schemas.microsoft.com/office/drawing/2014/main" xmlns="" id="{A94E6824-3B02-41B4-B760-254B75FFEC08}"/>
              </a:ext>
            </a:extLst>
          </p:cNvPr>
          <p:cNvSpPr>
            <a:spLocks noGrp="1"/>
          </p:cNvSpPr>
          <p:nvPr>
            <p:ph idx="1"/>
          </p:nvPr>
        </p:nvSpPr>
        <p:spPr/>
        <p:txBody>
          <a:bodyPr/>
          <a:lstStyle/>
          <a:p>
            <a:r>
              <a:rPr lang="de-DE" dirty="0"/>
              <a:t>Beispiel: Schülerticket Hessen</a:t>
            </a:r>
          </a:p>
        </p:txBody>
      </p:sp>
      <p:sp>
        <p:nvSpPr>
          <p:cNvPr id="4" name="Foliennummernplatzhalter 3">
            <a:extLst>
              <a:ext uri="{FF2B5EF4-FFF2-40B4-BE49-F238E27FC236}">
                <a16:creationId xmlns:a16="http://schemas.microsoft.com/office/drawing/2014/main" xmlns="" id="{DEF512CB-597D-4925-8A81-34A18C1CEC64}"/>
              </a:ext>
            </a:extLst>
          </p:cNvPr>
          <p:cNvSpPr>
            <a:spLocks noGrp="1"/>
          </p:cNvSpPr>
          <p:nvPr>
            <p:ph type="sldNum" sz="quarter" idx="11"/>
          </p:nvPr>
        </p:nvSpPr>
        <p:spPr/>
        <p:txBody>
          <a:bodyPr/>
          <a:lstStyle/>
          <a:p>
            <a:fld id="{CD21EFEB-933F-4F46-A5AD-B6372944D9E5}" type="slidenum">
              <a:rPr lang="de-DE" smtClean="0"/>
              <a:pPr/>
              <a:t>54</a:t>
            </a:fld>
            <a:endParaRPr lang="de-DE" dirty="0"/>
          </a:p>
        </p:txBody>
      </p:sp>
      <p:pic>
        <p:nvPicPr>
          <p:cNvPr id="5" name="Grafik 4">
            <a:extLst>
              <a:ext uri="{FF2B5EF4-FFF2-40B4-BE49-F238E27FC236}">
                <a16:creationId xmlns:a16="http://schemas.microsoft.com/office/drawing/2014/main" xmlns="" id="{04A0C0F7-D7B1-42DA-97FE-4F04D4094AE1}"/>
              </a:ext>
            </a:extLst>
          </p:cNvPr>
          <p:cNvPicPr>
            <a:picLocks noChangeAspect="1"/>
          </p:cNvPicPr>
          <p:nvPr/>
        </p:nvPicPr>
        <p:blipFill>
          <a:blip r:embed="rId7"/>
          <a:stretch>
            <a:fillRect/>
          </a:stretch>
        </p:blipFill>
        <p:spPr>
          <a:xfrm>
            <a:off x="1063603" y="1700808"/>
            <a:ext cx="7016793" cy="4190786"/>
          </a:xfrm>
          <a:prstGeom prst="rect">
            <a:avLst/>
          </a:prstGeom>
          <a:ln>
            <a:solidFill>
              <a:schemeClr val="accent1"/>
            </a:solidFill>
          </a:ln>
        </p:spPr>
      </p:pic>
    </p:spTree>
    <p:extLst>
      <p:ext uri="{BB962C8B-B14F-4D97-AF65-F5344CB8AC3E}">
        <p14:creationId xmlns:p14="http://schemas.microsoft.com/office/powerpoint/2010/main" val="27309615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A56066CF-9001-4DFC-91B6-7EBA7B9223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831" name="think-cell Folie" r:id="rId6" imgW="338" imgH="344" progId="TCLayout.ActiveDocument.1">
                  <p:embed/>
                </p:oleObj>
              </mc:Choice>
              <mc:Fallback>
                <p:oleObj name="think-cell Folie" r:id="rId6" imgW="338" imgH="344" progId="TCLayout.ActiveDocument.1">
                  <p:embed/>
                  <p:pic>
                    <p:nvPicPr>
                      <p:cNvPr id="5" name="Objekt 4" hidden="1">
                        <a:extLst>
                          <a:ext uri="{FF2B5EF4-FFF2-40B4-BE49-F238E27FC236}">
                            <a16:creationId xmlns:a16="http://schemas.microsoft.com/office/drawing/2014/main" xmlns="" id="{A56066CF-9001-4DFC-91B6-7EBA7B9223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0E5D2C53-477F-4DC3-A56A-6AA862B0F6D7}"/>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18" name="Inhaltsplatzhalter 2">
            <a:extLst>
              <a:ext uri="{FF2B5EF4-FFF2-40B4-BE49-F238E27FC236}">
                <a16:creationId xmlns:a16="http://schemas.microsoft.com/office/drawing/2014/main" xmlns="" id="{8D583642-24EA-43D2-805A-6F579FE49F1A}"/>
              </a:ext>
            </a:extLst>
          </p:cNvPr>
          <p:cNvSpPr txBox="1">
            <a:spLocks/>
          </p:cNvSpPr>
          <p:nvPr/>
        </p:nvSpPr>
        <p:spPr>
          <a:xfrm>
            <a:off x="444500" y="2061022"/>
            <a:ext cx="5422900"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Einführung zum 1.8.2017</a:t>
            </a:r>
          </a:p>
          <a:p>
            <a:pPr lvl="2"/>
            <a:r>
              <a:rPr lang="de-DE" sz="1400" dirty="0"/>
              <a:t>Geltungsbereich: entsprechend Hessenticket: Busse, Straßenbahnen, </a:t>
            </a:r>
            <a:br>
              <a:rPr lang="de-DE" sz="1400" dirty="0"/>
            </a:br>
            <a:r>
              <a:rPr lang="de-DE" sz="1400" dirty="0"/>
              <a:t>U-Bahn, S-Bahn und Regionalbahn in den Verbundgebieten des RMV, NVV und VRN (nur hessischer Teil)</a:t>
            </a:r>
          </a:p>
          <a:p>
            <a:pPr lvl="2"/>
            <a:r>
              <a:rPr lang="de-DE" sz="1400" dirty="0"/>
              <a:t>Zugangsberechtigung: SchülerInnen / Auszubildende / Freiwilligendienst Leistende mit Wohnsitz und/oder Ausbildungsstätte in Hessen</a:t>
            </a:r>
          </a:p>
          <a:p>
            <a:pPr lvl="2"/>
            <a:r>
              <a:rPr lang="de-DE" sz="1400" dirty="0"/>
              <a:t>Bezahlung: Gesamtbetrag 365 € im Jahr bei sofortiger Zahlung oder monatlich 31 € (insg. dann 372 €); Erstattung abhängig von der Distanz zur Schule möglich</a:t>
            </a:r>
          </a:p>
          <a:p>
            <a:pPr lvl="2"/>
            <a:r>
              <a:rPr lang="de-DE" sz="1400" dirty="0"/>
              <a:t>Gegenfinanziert durch 20 Mio. € für den Zeitraum einer </a:t>
            </a:r>
            <a:br>
              <a:rPr lang="de-DE" sz="1400" dirty="0"/>
            </a:br>
            <a:r>
              <a:rPr lang="de-DE" sz="1400" dirty="0"/>
              <a:t>3-jährigen Probezeit</a:t>
            </a:r>
          </a:p>
          <a:p>
            <a:pPr lvl="2"/>
            <a:endParaRPr lang="de-DE" sz="1400" dirty="0"/>
          </a:p>
          <a:p>
            <a:pPr lvl="2"/>
            <a:endParaRPr lang="de-DE" sz="1400" dirty="0"/>
          </a:p>
        </p:txBody>
      </p:sp>
      <p:sp>
        <p:nvSpPr>
          <p:cNvPr id="2" name="Titel 1"/>
          <p:cNvSpPr>
            <a:spLocks noGrp="1"/>
          </p:cNvSpPr>
          <p:nvPr>
            <p:ph type="title"/>
          </p:nvPr>
        </p:nvSpPr>
        <p:spPr>
          <a:xfrm>
            <a:off x="446996" y="281196"/>
            <a:ext cx="8301468" cy="648072"/>
          </a:xfrm>
        </p:spPr>
        <p:txBody>
          <a:bodyPr/>
          <a:lstStyle/>
          <a:p>
            <a:r>
              <a:rPr lang="de-DE" dirty="0"/>
              <a:t>Seit rund 2 Jahren wird das Schülerticket Hessen für 365 € </a:t>
            </a:r>
            <a:br>
              <a:rPr lang="de-DE" dirty="0"/>
            </a:br>
            <a:r>
              <a:rPr lang="de-DE" dirty="0"/>
              <a:t>p. a. angeboten und gilt im gesamten Bundesland Hessen</a:t>
            </a:r>
          </a:p>
        </p:txBody>
      </p:sp>
      <p:sp>
        <p:nvSpPr>
          <p:cNvPr id="3" name="Inhaltsplatzhalter 2"/>
          <p:cNvSpPr>
            <a:spLocks noGrp="1"/>
          </p:cNvSpPr>
          <p:nvPr>
            <p:ph idx="1"/>
          </p:nvPr>
        </p:nvSpPr>
        <p:spPr>
          <a:xfrm>
            <a:off x="451758" y="1083558"/>
            <a:ext cx="4120242" cy="276934"/>
          </a:xfrm>
        </p:spPr>
        <p:txBody>
          <a:bodyPr/>
          <a:lstStyle/>
          <a:p>
            <a:r>
              <a:rPr lang="de-DE" dirty="0"/>
              <a:t>Beispiel: Schülerticket Hessen</a:t>
            </a:r>
          </a:p>
        </p:txBody>
      </p:sp>
      <p:sp>
        <p:nvSpPr>
          <p:cNvPr id="4" name="Foliennummernplatzhalter 3"/>
          <p:cNvSpPr>
            <a:spLocks noGrp="1"/>
          </p:cNvSpPr>
          <p:nvPr>
            <p:ph type="sldNum" sz="quarter" idx="11"/>
          </p:nvPr>
        </p:nvSpPr>
        <p:spPr/>
        <p:txBody>
          <a:bodyPr/>
          <a:lstStyle/>
          <a:p>
            <a:fld id="{CD21EFEB-933F-4F46-A5AD-B6372944D9E5}" type="slidenum">
              <a:rPr lang="de-DE" smtClean="0"/>
              <a:pPr/>
              <a:t>55</a:t>
            </a:fld>
            <a:endParaRPr lang="de-DE"/>
          </a:p>
        </p:txBody>
      </p:sp>
      <p:graphicFrame>
        <p:nvGraphicFramePr>
          <p:cNvPr id="11" name="Objekt 10">
            <a:extLst>
              <a:ext uri="{FF2B5EF4-FFF2-40B4-BE49-F238E27FC236}">
                <a16:creationId xmlns:a16="http://schemas.microsoft.com/office/drawing/2014/main" xmlns="" id="{3EF12330-7668-4BB4-8363-232CBB42901C}"/>
              </a:ext>
            </a:extLst>
          </p:cNvPr>
          <p:cNvGraphicFramePr>
            <a:graphicFrameLocks noChangeAspect="1"/>
          </p:cNvGraphicFramePr>
          <p:nvPr/>
        </p:nvGraphicFramePr>
        <p:xfrm>
          <a:off x="6052105" y="2115910"/>
          <a:ext cx="2517618" cy="3606659"/>
        </p:xfrm>
        <a:graphic>
          <a:graphicData uri="http://schemas.openxmlformats.org/presentationml/2006/ole">
            <mc:AlternateContent xmlns:mc="http://schemas.openxmlformats.org/markup-compatibility/2006">
              <mc:Choice xmlns:v="urn:schemas-microsoft-com:vml" Requires="v">
                <p:oleObj spid="_x0000_s630832" name="Acrobat Document" r:id="rId8" imgW="9048742" imgH="12963476" progId="AcroExch.Document.DC">
                  <p:embed/>
                </p:oleObj>
              </mc:Choice>
              <mc:Fallback>
                <p:oleObj name="Acrobat Document" r:id="rId8" imgW="9048742" imgH="12963476" progId="AcroExch.Document.DC">
                  <p:embed/>
                  <p:pic>
                    <p:nvPicPr>
                      <p:cNvPr id="11" name="Objekt 10">
                        <a:extLst>
                          <a:ext uri="{FF2B5EF4-FFF2-40B4-BE49-F238E27FC236}">
                            <a16:creationId xmlns:a16="http://schemas.microsoft.com/office/drawing/2014/main" xmlns="" id="{3EF12330-7668-4BB4-8363-232CBB42901C}"/>
                          </a:ext>
                        </a:extLst>
                      </p:cNvPr>
                      <p:cNvPicPr/>
                      <p:nvPr/>
                    </p:nvPicPr>
                    <p:blipFill>
                      <a:blip r:embed="rId9"/>
                      <a:stretch>
                        <a:fillRect/>
                      </a:stretch>
                    </p:blipFill>
                    <p:spPr>
                      <a:xfrm>
                        <a:off x="6052105" y="2115910"/>
                        <a:ext cx="2517618" cy="3606659"/>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xmlns="" id="{A5EA40C0-0600-467B-8927-93DAB83BAD95}"/>
              </a:ext>
            </a:extLst>
          </p:cNvPr>
          <p:cNvSpPr/>
          <p:nvPr/>
        </p:nvSpPr>
        <p:spPr>
          <a:xfrm>
            <a:off x="444500" y="1784088"/>
            <a:ext cx="2687636" cy="2769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400" b="1" dirty="0">
                <a:solidFill>
                  <a:schemeClr val="tx1"/>
                </a:solidFill>
              </a:rPr>
              <a:t>Eckpunkte</a:t>
            </a:r>
          </a:p>
        </p:txBody>
      </p:sp>
      <p:sp>
        <p:nvSpPr>
          <p:cNvPr id="14" name="Rechteck 13">
            <a:extLst>
              <a:ext uri="{FF2B5EF4-FFF2-40B4-BE49-F238E27FC236}">
                <a16:creationId xmlns:a16="http://schemas.microsoft.com/office/drawing/2014/main" xmlns="" id="{7FB32916-6C28-430F-B607-DF1D2445708C}"/>
              </a:ext>
            </a:extLst>
          </p:cNvPr>
          <p:cNvSpPr/>
          <p:nvPr/>
        </p:nvSpPr>
        <p:spPr>
          <a:xfrm>
            <a:off x="5916613" y="1784088"/>
            <a:ext cx="2687636" cy="2769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Gültigkeitsbereich</a:t>
            </a:r>
          </a:p>
        </p:txBody>
      </p:sp>
      <p:cxnSp>
        <p:nvCxnSpPr>
          <p:cNvPr id="15" name="Gerade Verbindung 6">
            <a:extLst>
              <a:ext uri="{FF2B5EF4-FFF2-40B4-BE49-F238E27FC236}">
                <a16:creationId xmlns:a16="http://schemas.microsoft.com/office/drawing/2014/main" xmlns="" id="{93805D32-E630-42BD-A55F-383DC5421F62}"/>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Gerade Verbindung 19">
            <a:extLst>
              <a:ext uri="{FF2B5EF4-FFF2-40B4-BE49-F238E27FC236}">
                <a16:creationId xmlns:a16="http://schemas.microsoft.com/office/drawing/2014/main" xmlns="" id="{7B6F46DA-DFC0-4309-B932-5F3D1AFB215A}"/>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fik 16">
            <a:extLst>
              <a:ext uri="{FF2B5EF4-FFF2-40B4-BE49-F238E27FC236}">
                <a16:creationId xmlns:a16="http://schemas.microsoft.com/office/drawing/2014/main" xmlns="" id="{807CC82C-21CC-4438-8CE3-1E66EEEC38A0}"/>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251371" y="1667732"/>
            <a:ext cx="281069" cy="355833"/>
          </a:xfrm>
          <a:prstGeom prst="rect">
            <a:avLst/>
          </a:prstGeom>
        </p:spPr>
      </p:pic>
    </p:spTree>
    <p:extLst>
      <p:ext uri="{BB962C8B-B14F-4D97-AF65-F5344CB8AC3E}">
        <p14:creationId xmlns:p14="http://schemas.microsoft.com/office/powerpoint/2010/main" val="7501013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833"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Grundsätzlich können Konzepte für Vergünstigungen oder kostenlosen ÖPNV sehr unterschiedlich ausgestaltet sein</a:t>
            </a:r>
          </a:p>
        </p:txBody>
      </p:sp>
      <p:sp>
        <p:nvSpPr>
          <p:cNvPr id="3" name="Inhaltsplatzhalter 2"/>
          <p:cNvSpPr>
            <a:spLocks noGrp="1"/>
          </p:cNvSpPr>
          <p:nvPr>
            <p:ph idx="1"/>
          </p:nvPr>
        </p:nvSpPr>
        <p:spPr/>
        <p:txBody>
          <a:bodyPr/>
          <a:lstStyle/>
          <a:p>
            <a:r>
              <a:rPr lang="de-DE" dirty="0"/>
              <a:t>Gestaltungsoptionen</a:t>
            </a:r>
          </a:p>
        </p:txBody>
      </p:sp>
      <p:sp>
        <p:nvSpPr>
          <p:cNvPr id="4" name="Foliennummernplatzhalter 3"/>
          <p:cNvSpPr>
            <a:spLocks noGrp="1"/>
          </p:cNvSpPr>
          <p:nvPr>
            <p:ph type="sldNum" sz="quarter" idx="11"/>
          </p:nvPr>
        </p:nvSpPr>
        <p:spPr/>
        <p:txBody>
          <a:bodyPr/>
          <a:lstStyle/>
          <a:p>
            <a:fld id="{CD21EFEB-933F-4F46-A5AD-B6372944D9E5}" type="slidenum">
              <a:rPr lang="de-DE" smtClean="0"/>
              <a:pPr/>
              <a:t>56</a:t>
            </a:fld>
            <a:endParaRPr lang="de-DE"/>
          </a:p>
        </p:txBody>
      </p:sp>
      <p:grpSp>
        <p:nvGrpSpPr>
          <p:cNvPr id="6" name="Gruppieren 5">
            <a:extLst>
              <a:ext uri="{FF2B5EF4-FFF2-40B4-BE49-F238E27FC236}">
                <a16:creationId xmlns:a16="http://schemas.microsoft.com/office/drawing/2014/main" xmlns="" id="{9294B69A-B6D2-4410-A92D-3E6C7F05AEEB}"/>
              </a:ext>
            </a:extLst>
          </p:cNvPr>
          <p:cNvGrpSpPr/>
          <p:nvPr/>
        </p:nvGrpSpPr>
        <p:grpSpPr>
          <a:xfrm>
            <a:off x="611560" y="1628775"/>
            <a:ext cx="7992690"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8FF2B712-1678-4F61-AAAE-6E2C886AA5D7}"/>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C1F1F8C2-BD9F-4160-9EA6-23BC6F3D69EC}"/>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97F69F31-8BDB-4BF0-A287-C16479CFEC54}"/>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81DCBAD6-7D38-428B-9F25-B31F2FAB151F}"/>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057CFE6D-6226-4A49-8C0D-38E16CB74633}"/>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7CB5B6C0-ED92-48CA-B589-E9EEBE817A72}"/>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CDD68D23-0DEA-4BB1-9AD2-9644D5A2FD8C}"/>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97A87C14-6A3D-45BF-92DF-B3F5D2827DF6}"/>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3C6AFA03-3487-4C67-9476-05EBB4E104C7}"/>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BF32F836-94C3-4B2E-9BD5-29762F7962BC}"/>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A41895A4-95DB-4425-ABFA-1A8F453027B2}"/>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B0D9775B-CA97-4AA4-BF75-EE5B0FD0B378}"/>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51B3E8DF-86FC-4C20-B192-2EE50F3ACDC6}"/>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26CB4BB7-D0ED-4C67-83D9-A6BB6B0CBA08}"/>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E1C0C5B2-CFE6-4BE8-83A4-0FB067DFB227}"/>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726C17C0-CFBA-4883-8CC6-A51D5C2FEC74}"/>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AB6EB085-2160-44B2-BB17-5E87B3E3E7B8}"/>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FFE0EADD-86B5-482B-87A1-A15578FD736A}"/>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788EE319-C222-473D-A474-3240468ACD15}"/>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C77A961C-250B-40A8-BDA5-76A6A16248DB}"/>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348A8DA3-7C83-456B-9844-0FF45EB1DA7A}"/>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26043844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857"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In Essen werden Abos für das Stadtgebiet für den festen Zeitraum von November 2019 bis Ende 2020 angeboten</a:t>
            </a:r>
          </a:p>
        </p:txBody>
      </p:sp>
      <p:sp>
        <p:nvSpPr>
          <p:cNvPr id="3" name="Inhaltsplatzhalter 2"/>
          <p:cNvSpPr>
            <a:spLocks noGrp="1"/>
          </p:cNvSpPr>
          <p:nvPr>
            <p:ph idx="1"/>
          </p:nvPr>
        </p:nvSpPr>
        <p:spPr/>
        <p:txBody>
          <a:bodyPr/>
          <a:lstStyle/>
          <a:p>
            <a:r>
              <a:rPr lang="de-DE" dirty="0"/>
              <a:t>Beispiel: „Modellstadt Essen“-Abos</a:t>
            </a:r>
          </a:p>
        </p:txBody>
      </p:sp>
      <p:sp>
        <p:nvSpPr>
          <p:cNvPr id="4" name="Foliennummernplatzhalter 3"/>
          <p:cNvSpPr>
            <a:spLocks noGrp="1"/>
          </p:cNvSpPr>
          <p:nvPr>
            <p:ph type="sldNum" sz="quarter" idx="11"/>
          </p:nvPr>
        </p:nvSpPr>
        <p:spPr/>
        <p:txBody>
          <a:bodyPr/>
          <a:lstStyle/>
          <a:p>
            <a:fld id="{CD21EFEB-933F-4F46-A5AD-B6372944D9E5}" type="slidenum">
              <a:rPr lang="de-DE" smtClean="0"/>
              <a:pPr/>
              <a:t>57</a:t>
            </a:fld>
            <a:endParaRPr lang="de-DE"/>
          </a:p>
        </p:txBody>
      </p:sp>
      <p:grpSp>
        <p:nvGrpSpPr>
          <p:cNvPr id="6" name="Gruppieren 5">
            <a:extLst>
              <a:ext uri="{FF2B5EF4-FFF2-40B4-BE49-F238E27FC236}">
                <a16:creationId xmlns:a16="http://schemas.microsoft.com/office/drawing/2014/main" xmlns="" id="{9294B69A-B6D2-4410-A92D-3E6C7F05AEEB}"/>
              </a:ext>
            </a:extLst>
          </p:cNvPr>
          <p:cNvGrpSpPr/>
          <p:nvPr/>
        </p:nvGrpSpPr>
        <p:grpSpPr>
          <a:xfrm>
            <a:off x="611560" y="1628775"/>
            <a:ext cx="7992690"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Jahr +</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weitere</a:t>
              </a:r>
            </a:p>
          </p:txBody>
        </p:sp>
      </p:grpSp>
      <p:grpSp>
        <p:nvGrpSpPr>
          <p:cNvPr id="52" name="Gruppieren 51">
            <a:extLst>
              <a:ext uri="{FF2B5EF4-FFF2-40B4-BE49-F238E27FC236}">
                <a16:creationId xmlns:a16="http://schemas.microsoft.com/office/drawing/2014/main" xmlns="" id="{8FF2B712-1678-4F61-AAAE-6E2C886AA5D7}"/>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C1F1F8C2-BD9F-4160-9EA6-23BC6F3D69EC}"/>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97F69F31-8BDB-4BF0-A287-C16479CFEC54}"/>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81DCBAD6-7D38-428B-9F25-B31F2FAB151F}"/>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057CFE6D-6226-4A49-8C0D-38E16CB74633}"/>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7CB5B6C0-ED92-48CA-B589-E9EEBE817A72}"/>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CDD68D23-0DEA-4BB1-9AD2-9644D5A2FD8C}"/>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97A87C14-6A3D-45BF-92DF-B3F5D2827DF6}"/>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3C6AFA03-3487-4C67-9476-05EBB4E104C7}"/>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BF32F836-94C3-4B2E-9BD5-29762F7962BC}"/>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A41895A4-95DB-4425-ABFA-1A8F453027B2}"/>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B0D9775B-CA97-4AA4-BF75-EE5B0FD0B378}"/>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51B3E8DF-86FC-4C20-B192-2EE50F3ACDC6}"/>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26CB4BB7-D0ED-4C67-83D9-A6BB6B0CBA08}"/>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E1C0C5B2-CFE6-4BE8-83A4-0FB067DFB227}"/>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726C17C0-CFBA-4883-8CC6-A51D5C2FEC74}"/>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AB6EB085-2160-44B2-BB17-5E87B3E3E7B8}"/>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FFE0EADD-86B5-482B-87A1-A15578FD736A}"/>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788EE319-C222-473D-A474-3240468ACD15}"/>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C77A961C-250B-40A8-BDA5-76A6A16248DB}"/>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348A8DA3-7C83-456B-9844-0FF45EB1DA7A}"/>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27713956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881"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Das Jahresticket für 365 € wird in Bonn für Neukunden bei Abschluss für den Zeitraum von einem Jahr angeboten</a:t>
            </a:r>
          </a:p>
        </p:txBody>
      </p:sp>
      <p:sp>
        <p:nvSpPr>
          <p:cNvPr id="3" name="Inhaltsplatzhalter 2"/>
          <p:cNvSpPr>
            <a:spLocks noGrp="1"/>
          </p:cNvSpPr>
          <p:nvPr>
            <p:ph idx="1"/>
          </p:nvPr>
        </p:nvSpPr>
        <p:spPr/>
        <p:txBody>
          <a:bodyPr/>
          <a:lstStyle/>
          <a:p>
            <a:r>
              <a:rPr lang="de-DE" dirty="0"/>
              <a:t>Beispiel: „Lead City“ Bonn</a:t>
            </a:r>
          </a:p>
        </p:txBody>
      </p:sp>
      <p:sp>
        <p:nvSpPr>
          <p:cNvPr id="4" name="Foliennummernplatzhalter 3"/>
          <p:cNvSpPr>
            <a:spLocks noGrp="1"/>
          </p:cNvSpPr>
          <p:nvPr>
            <p:ph type="sldNum" sz="quarter" idx="11"/>
          </p:nvPr>
        </p:nvSpPr>
        <p:spPr/>
        <p:txBody>
          <a:bodyPr/>
          <a:lstStyle/>
          <a:p>
            <a:fld id="{CD21EFEB-933F-4F46-A5AD-B6372944D9E5}" type="slidenum">
              <a:rPr lang="de-DE" smtClean="0"/>
              <a:pPr/>
              <a:t>58</a:t>
            </a:fld>
            <a:endParaRPr lang="de-DE"/>
          </a:p>
        </p:txBody>
      </p:sp>
      <p:grpSp>
        <p:nvGrpSpPr>
          <p:cNvPr id="6" name="Gruppieren 5">
            <a:extLst>
              <a:ext uri="{FF2B5EF4-FFF2-40B4-BE49-F238E27FC236}">
                <a16:creationId xmlns:a16="http://schemas.microsoft.com/office/drawing/2014/main" xmlns="" id="{FD196AD8-132B-4919-A100-D42FD65A04C8}"/>
              </a:ext>
            </a:extLst>
          </p:cNvPr>
          <p:cNvGrpSpPr/>
          <p:nvPr/>
        </p:nvGrpSpPr>
        <p:grpSpPr>
          <a:xfrm>
            <a:off x="611188" y="1628775"/>
            <a:ext cx="7993062"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37B00678-70E9-484B-A168-67A1021CA0E8}"/>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B44974C5-5F7F-4989-B713-5FE7AC227F0A}"/>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A3100BA1-FA30-4BE1-8819-58FADB95AC62}"/>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0B9F52CA-E0D7-4473-BBD1-966BD3056F1C}"/>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C917C496-9D9D-4C3B-A33D-728BF9D2CA0B}"/>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8459C942-9F34-4B6F-9995-C590DE1B35F0}"/>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61075E06-B685-421E-9F56-1CE7D7FB977F}"/>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231987B9-D34D-4830-8FE9-0969C9451C80}"/>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D5F11DAA-C50C-4D60-A268-0178D219CC9E}"/>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CC0AC1AD-8413-4918-8854-85EA7FA6AE4E}"/>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1A4503AC-460D-4204-A8A9-C187A2F4A828}"/>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2B81B4B4-7A89-4337-9D72-94526ED28DE7}"/>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708C8585-A149-4061-BE06-218BEE265ACC}"/>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2B5C4D3E-EE5F-4984-B1D3-3C879BB159C3}"/>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8FEF1B5C-5D26-4354-8D89-86D6C3557D5E}"/>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865D4436-7CF6-4D35-BC92-99FDD14532ED}"/>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443F9DD4-DF3D-415E-8B30-7C86AB30726A}"/>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E12CB445-DFD1-4480-AE29-254A748C0161}"/>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0AFCBCDD-964A-425A-8356-BB6DB0950C34}"/>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EBD924BA-B2E0-4088-8F0E-08E8E06970E8}"/>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06899907-572A-4268-BABD-34ECA2F15F9C}"/>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19723588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5"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Das </a:t>
            </a:r>
            <a:r>
              <a:rPr lang="de-DE" dirty="0" err="1"/>
              <a:t>GreenCity</a:t>
            </a:r>
            <a:r>
              <a:rPr lang="de-DE" dirty="0"/>
              <a:t>-Ticket in Mannheim ist ein um rund 30 % vergünstigtes Jahresabo</a:t>
            </a:r>
          </a:p>
        </p:txBody>
      </p:sp>
      <p:sp>
        <p:nvSpPr>
          <p:cNvPr id="3" name="Inhaltsplatzhalter 2"/>
          <p:cNvSpPr>
            <a:spLocks noGrp="1"/>
          </p:cNvSpPr>
          <p:nvPr>
            <p:ph idx="1"/>
          </p:nvPr>
        </p:nvSpPr>
        <p:spPr/>
        <p:txBody>
          <a:bodyPr/>
          <a:lstStyle/>
          <a:p>
            <a:r>
              <a:rPr lang="de-DE" dirty="0"/>
              <a:t>Beispiel: „</a:t>
            </a:r>
            <a:r>
              <a:rPr lang="de-DE" dirty="0" err="1"/>
              <a:t>GreenCity</a:t>
            </a:r>
            <a:r>
              <a:rPr lang="de-DE" dirty="0"/>
              <a:t>-Ticket“ Mannheim</a:t>
            </a:r>
          </a:p>
        </p:txBody>
      </p:sp>
      <p:sp>
        <p:nvSpPr>
          <p:cNvPr id="4" name="Foliennummernplatzhalter 3"/>
          <p:cNvSpPr>
            <a:spLocks noGrp="1"/>
          </p:cNvSpPr>
          <p:nvPr>
            <p:ph type="sldNum" sz="quarter" idx="11"/>
          </p:nvPr>
        </p:nvSpPr>
        <p:spPr/>
        <p:txBody>
          <a:bodyPr/>
          <a:lstStyle/>
          <a:p>
            <a:fld id="{CD21EFEB-933F-4F46-A5AD-B6372944D9E5}" type="slidenum">
              <a:rPr lang="de-DE" smtClean="0"/>
              <a:pPr/>
              <a:t>59</a:t>
            </a:fld>
            <a:endParaRPr lang="de-DE"/>
          </a:p>
        </p:txBody>
      </p:sp>
      <p:grpSp>
        <p:nvGrpSpPr>
          <p:cNvPr id="6" name="Gruppieren 5">
            <a:extLst>
              <a:ext uri="{FF2B5EF4-FFF2-40B4-BE49-F238E27FC236}">
                <a16:creationId xmlns:a16="http://schemas.microsoft.com/office/drawing/2014/main" xmlns="" id="{9294B69A-B6D2-4410-A92D-3E6C7F05AEEB}"/>
              </a:ext>
            </a:extLst>
          </p:cNvPr>
          <p:cNvGrpSpPr/>
          <p:nvPr/>
        </p:nvGrpSpPr>
        <p:grpSpPr>
          <a:xfrm>
            <a:off x="611560" y="1628775"/>
            <a:ext cx="7992690"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8FF2B712-1678-4F61-AAAE-6E2C886AA5D7}"/>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C1F1F8C2-BD9F-4160-9EA6-23BC6F3D69EC}"/>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97F69F31-8BDB-4BF0-A287-C16479CFEC54}"/>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81DCBAD6-7D38-428B-9F25-B31F2FAB151F}"/>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057CFE6D-6226-4A49-8C0D-38E16CB74633}"/>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7CB5B6C0-ED92-48CA-B589-E9EEBE817A72}"/>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CDD68D23-0DEA-4BB1-9AD2-9644D5A2FD8C}"/>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97A87C14-6A3D-45BF-92DF-B3F5D2827DF6}"/>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3C6AFA03-3487-4C67-9476-05EBB4E104C7}"/>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BF32F836-94C3-4B2E-9BD5-29762F7962BC}"/>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A41895A4-95DB-4425-ABFA-1A8F453027B2}"/>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B0D9775B-CA97-4AA4-BF75-EE5B0FD0B378}"/>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51B3E8DF-86FC-4C20-B192-2EE50F3ACDC6}"/>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26CB4BB7-D0ED-4C67-83D9-A6BB6B0CBA08}"/>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E1C0C5B2-CFE6-4BE8-83A4-0FB067DFB227}"/>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726C17C0-CFBA-4883-8CC6-A51D5C2FEC74}"/>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AB6EB085-2160-44B2-BB17-5E87B3E3E7B8}"/>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FFE0EADD-86B5-482B-87A1-A15578FD736A}"/>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788EE319-C222-473D-A474-3240468ACD15}"/>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C77A961C-250B-40A8-BDA5-76A6A16248DB}"/>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348A8DA3-7C83-456B-9844-0FF45EB1DA7A}"/>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930366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897669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51" name="think-cell Folie" r:id="rId39" imgW="270" imgH="270" progId="TCLayout.ActiveDocument.1">
                  <p:embed/>
                </p:oleObj>
              </mc:Choice>
              <mc:Fallback>
                <p:oleObj name="think-cell Folie" r:id="rId39" imgW="270" imgH="270" progId="TCLayout.ActiveDocument.1">
                  <p:embed/>
                  <p:pic>
                    <p:nvPicPr>
                      <p:cNvPr id="6" name="Objekt 5" hidden="1"/>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1400" dirty="0">
              <a:solidFill>
                <a:schemeClr val="tx1"/>
              </a:solidFill>
              <a:latin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xmlns="" id="{FD18AB81-62FB-4C8D-8B5E-A4ED27A98461}"/>
              </a:ext>
            </a:extLst>
          </p:cNvPr>
          <p:cNvSpPr>
            <a:spLocks noGrp="1"/>
          </p:cNvSpPr>
          <p:nvPr>
            <p:ph type="title"/>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Die Preisabsenkung Mitte 2012 führte zu einer deutlichen Erhöhung der Absatzzahlen der Jahreskarte</a:t>
            </a:r>
            <a:endParaRPr lang="de-DE" dirty="0"/>
          </a:p>
        </p:txBody>
      </p:sp>
      <p:sp>
        <p:nvSpPr>
          <p:cNvPr id="3" name="Inhaltsplatzhalter 2">
            <a:extLst>
              <a:ext uri="{FF2B5EF4-FFF2-40B4-BE49-F238E27FC236}">
                <a16:creationId xmlns:a16="http://schemas.microsoft.com/office/drawing/2014/main" xmlns="" id="{A9C37537-2B9C-45AD-B573-E53FF097A288}"/>
              </a:ext>
            </a:extLst>
          </p:cNvPr>
          <p:cNvSpPr>
            <a:spLocks noGrp="1"/>
          </p:cNvSpPr>
          <p:nvPr>
            <p:ph idx="1"/>
          </p:nvPr>
        </p:nvSpPr>
        <p:spPr/>
        <p:txBody>
          <a:bodyPr/>
          <a:lstStyle/>
          <a:p>
            <a:r>
              <a:rPr lang="de-DE" dirty="0"/>
              <a:t>Effekte der Tarifreform</a:t>
            </a:r>
          </a:p>
        </p:txBody>
      </p:sp>
      <p:sp>
        <p:nvSpPr>
          <p:cNvPr id="4" name="Foliennummernplatzhalter 3">
            <a:extLst>
              <a:ext uri="{FF2B5EF4-FFF2-40B4-BE49-F238E27FC236}">
                <a16:creationId xmlns:a16="http://schemas.microsoft.com/office/drawing/2014/main" xmlns="" id="{B7EF17C9-3399-4461-A2FC-C726A1BD7D85}"/>
              </a:ext>
            </a:extLst>
          </p:cNvPr>
          <p:cNvSpPr>
            <a:spLocks noGrp="1"/>
          </p:cNvSpPr>
          <p:nvPr>
            <p:ph type="sldNum" sz="quarter" idx="11"/>
          </p:nvPr>
        </p:nvSpPr>
        <p:spPr/>
        <p:txBody>
          <a:bodyPr/>
          <a:lstStyle/>
          <a:p>
            <a:fld id="{CD21EFEB-933F-4F46-A5AD-B6372944D9E5}" type="slidenum">
              <a:rPr lang="de-DE" smtClean="0"/>
              <a:pPr/>
              <a:t>6</a:t>
            </a:fld>
            <a:endParaRPr lang="de-DE" dirty="0"/>
          </a:p>
        </p:txBody>
      </p:sp>
      <p:sp>
        <p:nvSpPr>
          <p:cNvPr id="8" name="Inhaltsplatzhalter 2">
            <a:extLst>
              <a:ext uri="{FF2B5EF4-FFF2-40B4-BE49-F238E27FC236}">
                <a16:creationId xmlns:a16="http://schemas.microsoft.com/office/drawing/2014/main" xmlns="" id="{5C5EE35F-CEB5-4A68-8AB1-EB901D2226B6}"/>
              </a:ext>
            </a:extLst>
          </p:cNvPr>
          <p:cNvSpPr txBox="1">
            <a:spLocks/>
          </p:cNvSpPr>
          <p:nvPr/>
        </p:nvSpPr>
        <p:spPr>
          <a:xfrm>
            <a:off x="5916612" y="2061022"/>
            <a:ext cx="2676075" cy="3744466"/>
          </a:xfrm>
          <a:prstGeom prst="rect">
            <a:avLst/>
          </a:prstGeom>
          <a:solidFill>
            <a:schemeClr val="bg1"/>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latin typeface="Arial" panose="020B0604020202020204" pitchFamily="34" charset="0"/>
                <a:cs typeface="Arial" panose="020B0604020202020204" pitchFamily="34" charset="0"/>
                <a:sym typeface="Arial" panose="020B0604020202020204" pitchFamily="34" charset="0"/>
              </a:rPr>
              <a:t>Über 820.000 Jahreskarten im Umlauf</a:t>
            </a:r>
          </a:p>
          <a:p>
            <a:pPr lvl="2"/>
            <a:r>
              <a:rPr lang="de-DE" sz="1400" dirty="0">
                <a:latin typeface="Arial" panose="020B0604020202020204" pitchFamily="34" charset="0"/>
                <a:cs typeface="Arial" panose="020B0604020202020204" pitchFamily="34" charset="0"/>
                <a:sym typeface="Arial" panose="020B0604020202020204" pitchFamily="34" charset="0"/>
              </a:rPr>
              <a:t>Preisabsenkung führte zu mehr als einer Verdoppelung der Absatzzahlen</a:t>
            </a:r>
          </a:p>
          <a:p>
            <a:pPr lvl="2"/>
            <a:r>
              <a:rPr lang="de-DE" sz="1400" dirty="0">
                <a:latin typeface="Arial" panose="020B0604020202020204" pitchFamily="34" charset="0"/>
                <a:cs typeface="Arial" panose="020B0604020202020204" pitchFamily="34" charset="0"/>
                <a:sym typeface="Arial" panose="020B0604020202020204" pitchFamily="34" charset="0"/>
              </a:rPr>
              <a:t>Restliches Sortiment wurde deutlich verteuert.</a:t>
            </a:r>
          </a:p>
          <a:p>
            <a:pPr lvl="2"/>
            <a:r>
              <a:rPr lang="de-DE" sz="1400" dirty="0">
                <a:latin typeface="Arial" panose="020B0604020202020204" pitchFamily="34" charset="0"/>
                <a:cs typeface="Arial" panose="020B0604020202020204" pitchFamily="34" charset="0"/>
                <a:sym typeface="Arial" panose="020B0604020202020204" pitchFamily="34" charset="0"/>
              </a:rPr>
              <a:t>Der Absatz der anderen Produkte ist im Gegenzug massiv eingebrochen</a:t>
            </a:r>
          </a:p>
        </p:txBody>
      </p:sp>
      <p:sp>
        <p:nvSpPr>
          <p:cNvPr id="9" name="Rechteck 8">
            <a:extLst>
              <a:ext uri="{FF2B5EF4-FFF2-40B4-BE49-F238E27FC236}">
                <a16:creationId xmlns:a16="http://schemas.microsoft.com/office/drawing/2014/main" xmlns="" id="{5DEC85F3-3AD0-41A3-927F-ADF5B3361CD7}"/>
              </a:ext>
            </a:extLst>
          </p:cNvPr>
          <p:cNvSpPr/>
          <p:nvPr/>
        </p:nvSpPr>
        <p:spPr>
          <a:xfrm>
            <a:off x="444500" y="1737979"/>
            <a:ext cx="4847580" cy="360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de-DE" sz="1400" b="1" dirty="0">
                <a:solidFill>
                  <a:schemeClr val="tx1"/>
                </a:solidFill>
              </a:rPr>
              <a:t>Entwicklung der Jahreskartenverkäufe</a:t>
            </a:r>
          </a:p>
          <a:p>
            <a:pPr algn="l">
              <a:spcBef>
                <a:spcPts val="600"/>
              </a:spcBef>
            </a:pPr>
            <a:r>
              <a:rPr lang="de-DE" sz="1400" dirty="0">
                <a:solidFill>
                  <a:schemeClr val="tx1"/>
                </a:solidFill>
              </a:rPr>
              <a:t>in Anzahl</a:t>
            </a:r>
          </a:p>
        </p:txBody>
      </p:sp>
      <p:sp>
        <p:nvSpPr>
          <p:cNvPr id="10" name="Rechteck 9">
            <a:extLst>
              <a:ext uri="{FF2B5EF4-FFF2-40B4-BE49-F238E27FC236}">
                <a16:creationId xmlns:a16="http://schemas.microsoft.com/office/drawing/2014/main" xmlns="" id="{85C25577-4ED1-43B1-BD5C-5A524B11B83D}"/>
              </a:ext>
            </a:extLst>
          </p:cNvPr>
          <p:cNvSpPr/>
          <p:nvPr/>
        </p:nvSpPr>
        <p:spPr>
          <a:xfrm>
            <a:off x="5916613" y="1700809"/>
            <a:ext cx="2687636"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Erläuterung</a:t>
            </a:r>
          </a:p>
        </p:txBody>
      </p:sp>
      <p:cxnSp>
        <p:nvCxnSpPr>
          <p:cNvPr id="11" name="Gerade Verbindung 6">
            <a:extLst>
              <a:ext uri="{FF2B5EF4-FFF2-40B4-BE49-F238E27FC236}">
                <a16:creationId xmlns:a16="http://schemas.microsoft.com/office/drawing/2014/main" xmlns="" id="{E2014845-73AB-43C0-9ABC-28BDC03AA516}"/>
              </a:ext>
            </a:extLst>
          </p:cNvPr>
          <p:cNvCxnSpPr/>
          <p:nvPr/>
        </p:nvCxnSpPr>
        <p:spPr>
          <a:xfrm>
            <a:off x="539751" y="2061023"/>
            <a:ext cx="532764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9">
            <a:extLst>
              <a:ext uri="{FF2B5EF4-FFF2-40B4-BE49-F238E27FC236}">
                <a16:creationId xmlns:a16="http://schemas.microsoft.com/office/drawing/2014/main" xmlns="" id="{1E0FBAFA-97B2-4146-9B65-3525ED330557}"/>
              </a:ext>
            </a:extLst>
          </p:cNvPr>
          <p:cNvCxnSpPr/>
          <p:nvPr/>
        </p:nvCxnSpPr>
        <p:spPr>
          <a:xfrm>
            <a:off x="6011864" y="2061023"/>
            <a:ext cx="259238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58" name="Chart 3">
            <a:extLst>
              <a:ext uri="{FF2B5EF4-FFF2-40B4-BE49-F238E27FC236}">
                <a16:creationId xmlns:a16="http://schemas.microsoft.com/office/drawing/2014/main" xmlns="" id="{F3C34759-2976-411F-BC4E-2CD03A22BB0F}"/>
              </a:ext>
            </a:extLst>
          </p:cNvPr>
          <p:cNvGraphicFramePr/>
          <p:nvPr>
            <p:custDataLst>
              <p:tags r:id="rId4"/>
            </p:custDataLst>
            <p:extLst>
              <p:ext uri="{D42A27DB-BD31-4B8C-83A1-F6EECF244321}">
                <p14:modId xmlns:p14="http://schemas.microsoft.com/office/powerpoint/2010/main" val="1445106495"/>
              </p:ext>
            </p:extLst>
          </p:nvPr>
        </p:nvGraphicFramePr>
        <p:xfrm>
          <a:off x="425450" y="2363788"/>
          <a:ext cx="5197475" cy="2717800"/>
        </p:xfrm>
        <a:graphic>
          <a:graphicData uri="http://schemas.openxmlformats.org/drawingml/2006/chart">
            <c:chart xmlns:c="http://schemas.openxmlformats.org/drawingml/2006/chart" xmlns:r="http://schemas.openxmlformats.org/officeDocument/2006/relationships" r:id="rId41"/>
          </a:graphicData>
        </a:graphic>
      </p:graphicFrame>
      <p:cxnSp>
        <p:nvCxnSpPr>
          <p:cNvPr id="28" name="Gerader Verbinder 27">
            <a:extLst>
              <a:ext uri="{FF2B5EF4-FFF2-40B4-BE49-F238E27FC236}">
                <a16:creationId xmlns:a16="http://schemas.microsoft.com/office/drawing/2014/main" xmlns="" id="{FCC8FDC2-C6DC-470D-A8D3-1DF1504FC52C}"/>
              </a:ext>
            </a:extLst>
          </p:cNvPr>
          <p:cNvCxnSpPr/>
          <p:nvPr>
            <p:custDataLst>
              <p:tags r:id="rId5"/>
            </p:custDataLst>
          </p:nvPr>
        </p:nvCxnSpPr>
        <p:spPr bwMode="gray">
          <a:xfrm>
            <a:off x="1457325" y="3748088"/>
            <a:ext cx="2205038" cy="0"/>
          </a:xfrm>
          <a:prstGeom prst="line">
            <a:avLst/>
          </a:prstGeom>
          <a:ln w="1270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xmlns="" id="{93100C79-5304-47D1-BB05-2714C2944DB6}"/>
              </a:ext>
            </a:extLst>
          </p:cNvPr>
          <p:cNvCxnSpPr/>
          <p:nvPr>
            <p:custDataLst>
              <p:tags r:id="rId6"/>
            </p:custDataLst>
          </p:nvPr>
        </p:nvCxnSpPr>
        <p:spPr bwMode="gray">
          <a:xfrm>
            <a:off x="3662363" y="3748088"/>
            <a:ext cx="0" cy="152400"/>
          </a:xfrm>
          <a:prstGeom prst="line">
            <a:avLst/>
          </a:prstGeom>
          <a:ln w="12700" algn="ctr">
            <a:solidFill>
              <a:schemeClr val="accent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xmlns="" id="{A0D18B73-E8BA-4770-A89A-78F8E365677F}"/>
              </a:ext>
            </a:extLst>
          </p:cNvPr>
          <p:cNvCxnSpPr/>
          <p:nvPr>
            <p:custDataLst>
              <p:tags r:id="rId7"/>
            </p:custDataLst>
          </p:nvPr>
        </p:nvCxnSpPr>
        <p:spPr bwMode="gray">
          <a:xfrm flipV="1">
            <a:off x="1457325" y="3748089"/>
            <a:ext cx="0" cy="334963"/>
          </a:xfrm>
          <a:prstGeom prst="line">
            <a:avLst/>
          </a:prstGeom>
          <a:ln w="1270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91A0C6E8-D9A1-4EAF-AEEB-C196E8CAEC21}"/>
              </a:ext>
            </a:extLst>
          </p:cNvPr>
          <p:cNvCxnSpPr/>
          <p:nvPr>
            <p:custDataLst>
              <p:tags r:id="rId8"/>
            </p:custDataLst>
          </p:nvPr>
        </p:nvCxnSpPr>
        <p:spPr bwMode="gray">
          <a:xfrm>
            <a:off x="3706812" y="2514600"/>
            <a:ext cx="1709738" cy="0"/>
          </a:xfrm>
          <a:prstGeom prst="line">
            <a:avLst/>
          </a:prstGeom>
          <a:ln w="1270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xmlns="" id="{78AD1337-314B-49C2-84BB-E0BFC2220473}"/>
              </a:ext>
            </a:extLst>
          </p:cNvPr>
          <p:cNvCxnSpPr/>
          <p:nvPr>
            <p:custDataLst>
              <p:tags r:id="rId9"/>
            </p:custDataLst>
          </p:nvPr>
        </p:nvCxnSpPr>
        <p:spPr bwMode="gray">
          <a:xfrm flipV="1">
            <a:off x="3706813" y="2514599"/>
            <a:ext cx="0" cy="1385888"/>
          </a:xfrm>
          <a:prstGeom prst="line">
            <a:avLst/>
          </a:prstGeom>
          <a:ln w="1270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xmlns="" id="{357A005D-06E0-446A-B65E-DCE3C8D13BCB}"/>
              </a:ext>
            </a:extLst>
          </p:cNvPr>
          <p:cNvCxnSpPr/>
          <p:nvPr>
            <p:custDataLst>
              <p:tags r:id="rId10"/>
            </p:custDataLst>
          </p:nvPr>
        </p:nvCxnSpPr>
        <p:spPr bwMode="gray">
          <a:xfrm>
            <a:off x="5416550" y="2514600"/>
            <a:ext cx="0" cy="152400"/>
          </a:xfrm>
          <a:prstGeom prst="line">
            <a:avLst/>
          </a:prstGeom>
          <a:ln w="12700" algn="ctr">
            <a:solidFill>
              <a:schemeClr val="accent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77" name="Textplatzhalter 2">
            <a:extLst>
              <a:ext uri="{FF2B5EF4-FFF2-40B4-BE49-F238E27FC236}">
                <a16:creationId xmlns:a16="http://schemas.microsoft.com/office/drawing/2014/main" xmlns="" id="{4FF1EC7C-C485-499F-9741-FC9D191F58DA}"/>
              </a:ext>
            </a:extLst>
          </p:cNvPr>
          <p:cNvSpPr>
            <a:spLocks noGrp="1"/>
          </p:cNvSpPr>
          <p:nvPr>
            <p:custDataLst>
              <p:tags r:id="rId11"/>
            </p:custDataLst>
          </p:nvPr>
        </p:nvSpPr>
        <p:spPr bwMode="auto">
          <a:xfrm>
            <a:off x="1846264"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7F810BF8-2F18-4BEA-A85F-8DADAA7F6FD1}" type="datetime'''''''''''''''''''2''''0''''''''''''''''0''''''''4'''''''">
              <a:rPr lang="de-DE" altLang="en-US" sz="1400" smtClean="0">
                <a:sym typeface="+mn-lt"/>
              </a:rPr>
              <a:pPr lvl="1" algn="r">
                <a:spcBef>
                  <a:spcPct val="0"/>
                </a:spcBef>
                <a:spcAft>
                  <a:spcPct val="0"/>
                </a:spcAft>
              </a:pPr>
              <a:t>2004</a:t>
            </a:fld>
            <a:endParaRPr lang="de-DE" sz="1400" dirty="0">
              <a:sym typeface="+mn-lt"/>
            </a:endParaRPr>
          </a:p>
        </p:txBody>
      </p:sp>
      <p:sp>
        <p:nvSpPr>
          <p:cNvPr id="76" name="Textplatzhalter 2">
            <a:extLst>
              <a:ext uri="{FF2B5EF4-FFF2-40B4-BE49-F238E27FC236}">
                <a16:creationId xmlns:a16="http://schemas.microsoft.com/office/drawing/2014/main" xmlns="" id="{44E6A6C3-1449-479C-8ECD-730452C6B0AC}"/>
              </a:ext>
            </a:extLst>
          </p:cNvPr>
          <p:cNvSpPr>
            <a:spLocks noGrp="1"/>
          </p:cNvSpPr>
          <p:nvPr>
            <p:custDataLst>
              <p:tags r:id="rId12"/>
            </p:custDataLst>
          </p:nvPr>
        </p:nvSpPr>
        <p:spPr bwMode="auto">
          <a:xfrm>
            <a:off x="1598614"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CA02CED2-B2CC-47EC-B824-8B40F0C025A1}" type="datetime'''''''''20''''''''''''0''''''''''''''''3'''''''''''''''''''''">
              <a:rPr lang="de-DE" altLang="en-US" sz="1400" smtClean="0">
                <a:sym typeface="+mn-lt"/>
              </a:rPr>
              <a:pPr lvl="1" algn="r">
                <a:spcBef>
                  <a:spcPct val="0"/>
                </a:spcBef>
                <a:spcAft>
                  <a:spcPct val="0"/>
                </a:spcAft>
              </a:pPr>
              <a:t>2003</a:t>
            </a:fld>
            <a:endParaRPr lang="de-DE" sz="1400" dirty="0">
              <a:sym typeface="+mn-lt"/>
            </a:endParaRPr>
          </a:p>
        </p:txBody>
      </p:sp>
      <p:sp>
        <p:nvSpPr>
          <p:cNvPr id="84" name="Textplatzhalter 2">
            <a:extLst>
              <a:ext uri="{FF2B5EF4-FFF2-40B4-BE49-F238E27FC236}">
                <a16:creationId xmlns:a16="http://schemas.microsoft.com/office/drawing/2014/main" xmlns="" id="{DFDED853-BEB5-4E87-8D03-81F512B8E934}"/>
              </a:ext>
            </a:extLst>
          </p:cNvPr>
          <p:cNvSpPr>
            <a:spLocks noGrp="1"/>
          </p:cNvSpPr>
          <p:nvPr>
            <p:custDataLst>
              <p:tags r:id="rId13"/>
            </p:custDataLst>
          </p:nvPr>
        </p:nvSpPr>
        <p:spPr bwMode="auto">
          <a:xfrm>
            <a:off x="3578226" y="5011737"/>
            <a:ext cx="212725"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ABF1E6D-95E2-451A-B54A-10F850D71224}" type="datetime'''''''2''''''''''''''0''''''''''1''''1'''''''''">
              <a:rPr lang="de-DE" altLang="en-US" sz="1400" smtClean="0">
                <a:sym typeface="+mn-lt"/>
              </a:rPr>
              <a:pPr lvl="1" algn="r">
                <a:spcBef>
                  <a:spcPct val="0"/>
                </a:spcBef>
                <a:spcAft>
                  <a:spcPct val="0"/>
                </a:spcAft>
              </a:pPr>
              <a:t>2011</a:t>
            </a:fld>
            <a:endParaRPr lang="de-DE" sz="1400" dirty="0">
              <a:sym typeface="+mn-lt"/>
            </a:endParaRPr>
          </a:p>
        </p:txBody>
      </p:sp>
      <p:sp>
        <p:nvSpPr>
          <p:cNvPr id="75" name="Textplatzhalter 2">
            <a:extLst>
              <a:ext uri="{FF2B5EF4-FFF2-40B4-BE49-F238E27FC236}">
                <a16:creationId xmlns:a16="http://schemas.microsoft.com/office/drawing/2014/main" xmlns="" id="{E1AFB167-4FA9-48DC-A89E-C3E901E6DA8D}"/>
              </a:ext>
            </a:extLst>
          </p:cNvPr>
          <p:cNvSpPr>
            <a:spLocks noGrp="1"/>
          </p:cNvSpPr>
          <p:nvPr>
            <p:custDataLst>
              <p:tags r:id="rId14"/>
            </p:custDataLst>
          </p:nvPr>
        </p:nvSpPr>
        <p:spPr bwMode="auto">
          <a:xfrm>
            <a:off x="1350964"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45339A8E-32B3-4593-94A9-33DC2F834599}" type="datetime'''''''''''''''''''''''2''0''0''''''2'''''''''''''''''''">
              <a:rPr lang="de-DE" altLang="en-US" sz="1400" smtClean="0">
                <a:sym typeface="+mn-lt"/>
              </a:rPr>
              <a:pPr lvl="1" algn="r">
                <a:spcBef>
                  <a:spcPct val="0"/>
                </a:spcBef>
                <a:spcAft>
                  <a:spcPct val="0"/>
                </a:spcAft>
              </a:pPr>
              <a:t>2002</a:t>
            </a:fld>
            <a:endParaRPr lang="de-DE" sz="1400" dirty="0">
              <a:sym typeface="+mn-lt"/>
            </a:endParaRPr>
          </a:p>
        </p:txBody>
      </p:sp>
      <p:sp>
        <p:nvSpPr>
          <p:cNvPr id="79" name="Textplatzhalter 2">
            <a:extLst>
              <a:ext uri="{FF2B5EF4-FFF2-40B4-BE49-F238E27FC236}">
                <a16:creationId xmlns:a16="http://schemas.microsoft.com/office/drawing/2014/main" xmlns="" id="{E896C4E2-FA3D-4ECB-A8A2-965DD8715452}"/>
              </a:ext>
            </a:extLst>
          </p:cNvPr>
          <p:cNvSpPr>
            <a:spLocks noGrp="1"/>
          </p:cNvSpPr>
          <p:nvPr>
            <p:custDataLst>
              <p:tags r:id="rId15"/>
            </p:custDataLst>
          </p:nvPr>
        </p:nvSpPr>
        <p:spPr bwMode="auto">
          <a:xfrm>
            <a:off x="2339976"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0399C3A8-E936-4C35-BB95-7BD55ABA772E}" type="datetime'2''''''''''0''''0''''''''''''''''''''''''''''''6'">
              <a:rPr lang="de-DE" altLang="en-US" sz="1400" smtClean="0">
                <a:sym typeface="+mn-lt"/>
              </a:rPr>
              <a:pPr lvl="1" algn="r">
                <a:spcBef>
                  <a:spcPct val="0"/>
                </a:spcBef>
                <a:spcAft>
                  <a:spcPct val="0"/>
                </a:spcAft>
              </a:pPr>
              <a:t>2006</a:t>
            </a:fld>
            <a:endParaRPr lang="de-DE" sz="1400" dirty="0">
              <a:sym typeface="+mn-lt"/>
            </a:endParaRPr>
          </a:p>
        </p:txBody>
      </p:sp>
      <p:sp>
        <p:nvSpPr>
          <p:cNvPr id="93" name="Textplatzhalter 2">
            <a:extLst>
              <a:ext uri="{FF2B5EF4-FFF2-40B4-BE49-F238E27FC236}">
                <a16:creationId xmlns:a16="http://schemas.microsoft.com/office/drawing/2014/main" xmlns="" id="{BADFB51B-5031-4E49-926A-817CE556F0C5}"/>
              </a:ext>
            </a:extLst>
          </p:cNvPr>
          <p:cNvSpPr>
            <a:spLocks noGrp="1"/>
          </p:cNvSpPr>
          <p:nvPr>
            <p:custDataLst>
              <p:tags r:id="rId16"/>
            </p:custDataLst>
          </p:nvPr>
        </p:nvSpPr>
        <p:spPr bwMode="auto">
          <a:xfrm>
            <a:off x="4567239"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21A9C80C-23D2-40FA-81DF-45A2A4E8EC20}" type="datetime'2''''''''''''''''''''''''''''''''0''1''5'''''''''''''''''''">
              <a:rPr lang="de-DE" altLang="en-US" sz="1400" smtClean="0">
                <a:sym typeface="+mn-lt"/>
              </a:rPr>
              <a:pPr lvl="1" algn="r">
                <a:spcBef>
                  <a:spcPct val="0"/>
                </a:spcBef>
                <a:spcAft>
                  <a:spcPct val="0"/>
                </a:spcAft>
              </a:pPr>
              <a:t>2015</a:t>
            </a:fld>
            <a:endParaRPr lang="de-DE" sz="1400" dirty="0">
              <a:sym typeface="+mn-lt"/>
            </a:endParaRPr>
          </a:p>
        </p:txBody>
      </p:sp>
      <p:sp>
        <p:nvSpPr>
          <p:cNvPr id="78" name="Textplatzhalter 2">
            <a:extLst>
              <a:ext uri="{FF2B5EF4-FFF2-40B4-BE49-F238E27FC236}">
                <a16:creationId xmlns:a16="http://schemas.microsoft.com/office/drawing/2014/main" xmlns="" id="{F3325108-1CE3-4D18-AF23-BB381848440B}"/>
              </a:ext>
            </a:extLst>
          </p:cNvPr>
          <p:cNvSpPr>
            <a:spLocks noGrp="1"/>
          </p:cNvSpPr>
          <p:nvPr>
            <p:custDataLst>
              <p:tags r:id="rId17"/>
            </p:custDataLst>
          </p:nvPr>
        </p:nvSpPr>
        <p:spPr bwMode="auto">
          <a:xfrm>
            <a:off x="2093914"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BE7AF182-DC7E-434A-9DE3-121D577C1505}" type="datetime'2''0''''''''0''5'''''''''''''''''''''''''''">
              <a:rPr lang="de-DE" altLang="en-US" sz="1400" smtClean="0">
                <a:sym typeface="+mn-lt"/>
              </a:rPr>
              <a:pPr lvl="1" algn="r">
                <a:spcBef>
                  <a:spcPct val="0"/>
                </a:spcBef>
                <a:spcAft>
                  <a:spcPct val="0"/>
                </a:spcAft>
              </a:pPr>
              <a:t>2005</a:t>
            </a:fld>
            <a:endParaRPr lang="de-DE" sz="1400" dirty="0">
              <a:sym typeface="+mn-lt"/>
            </a:endParaRPr>
          </a:p>
        </p:txBody>
      </p:sp>
      <p:sp>
        <p:nvSpPr>
          <p:cNvPr id="81" name="Textplatzhalter 2">
            <a:extLst>
              <a:ext uri="{FF2B5EF4-FFF2-40B4-BE49-F238E27FC236}">
                <a16:creationId xmlns:a16="http://schemas.microsoft.com/office/drawing/2014/main" xmlns="" id="{08B3D558-D6B8-4564-8CA0-7849E516723D}"/>
              </a:ext>
            </a:extLst>
          </p:cNvPr>
          <p:cNvSpPr>
            <a:spLocks noGrp="1"/>
          </p:cNvSpPr>
          <p:nvPr>
            <p:custDataLst>
              <p:tags r:id="rId18"/>
            </p:custDataLst>
          </p:nvPr>
        </p:nvSpPr>
        <p:spPr bwMode="auto">
          <a:xfrm>
            <a:off x="2835276"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6E2E911-F580-4138-B840-16C84452602E}" type="datetime'2''''''''''''0''''''''''''''''''''''''''''''''''0''8'''">
              <a:rPr lang="de-DE" altLang="en-US" sz="1400" smtClean="0">
                <a:sym typeface="+mn-lt"/>
              </a:rPr>
              <a:pPr lvl="1" algn="r">
                <a:spcBef>
                  <a:spcPct val="0"/>
                </a:spcBef>
                <a:spcAft>
                  <a:spcPct val="0"/>
                </a:spcAft>
              </a:pPr>
              <a:t>2008</a:t>
            </a:fld>
            <a:endParaRPr lang="de-DE" sz="1400" dirty="0">
              <a:sym typeface="+mn-lt"/>
            </a:endParaRPr>
          </a:p>
        </p:txBody>
      </p:sp>
      <p:sp>
        <p:nvSpPr>
          <p:cNvPr id="80" name="Textplatzhalter 2">
            <a:extLst>
              <a:ext uri="{FF2B5EF4-FFF2-40B4-BE49-F238E27FC236}">
                <a16:creationId xmlns:a16="http://schemas.microsoft.com/office/drawing/2014/main" xmlns="" id="{F37C56DA-389D-4D90-9924-F8821A1C9797}"/>
              </a:ext>
            </a:extLst>
          </p:cNvPr>
          <p:cNvSpPr>
            <a:spLocks noGrp="1"/>
          </p:cNvSpPr>
          <p:nvPr>
            <p:custDataLst>
              <p:tags r:id="rId19"/>
            </p:custDataLst>
          </p:nvPr>
        </p:nvSpPr>
        <p:spPr bwMode="auto">
          <a:xfrm>
            <a:off x="2587626"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EB06522B-F433-40E8-9DCE-4606F4FE7E94}" type="datetime'''''''''''2''''''''00''''''''''''''''''''''''''''7'">
              <a:rPr lang="de-DE" altLang="en-US" sz="1400" smtClean="0">
                <a:sym typeface="+mn-lt"/>
              </a:rPr>
              <a:pPr lvl="1" algn="r">
                <a:spcBef>
                  <a:spcPct val="0"/>
                </a:spcBef>
                <a:spcAft>
                  <a:spcPct val="0"/>
                </a:spcAft>
              </a:pPr>
              <a:t>2007</a:t>
            </a:fld>
            <a:endParaRPr lang="de-DE" sz="1400" dirty="0">
              <a:sym typeface="+mn-lt"/>
            </a:endParaRPr>
          </a:p>
        </p:txBody>
      </p:sp>
      <p:sp>
        <p:nvSpPr>
          <p:cNvPr id="82" name="Textplatzhalter 2">
            <a:extLst>
              <a:ext uri="{FF2B5EF4-FFF2-40B4-BE49-F238E27FC236}">
                <a16:creationId xmlns:a16="http://schemas.microsoft.com/office/drawing/2014/main" xmlns="" id="{D15EF48D-B411-4069-A96B-B8D8E1688570}"/>
              </a:ext>
            </a:extLst>
          </p:cNvPr>
          <p:cNvSpPr>
            <a:spLocks noGrp="1"/>
          </p:cNvSpPr>
          <p:nvPr>
            <p:custDataLst>
              <p:tags r:id="rId20"/>
            </p:custDataLst>
          </p:nvPr>
        </p:nvSpPr>
        <p:spPr bwMode="auto">
          <a:xfrm>
            <a:off x="3082926"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44CDCFC-DE44-4DD8-ABD3-87BF6F6F1114}" type="datetime'''''20''''''''0''''''9'''''''''''''''''''">
              <a:rPr lang="de-DE" altLang="en-US" sz="1400" smtClean="0">
                <a:sym typeface="+mn-lt"/>
              </a:rPr>
              <a:pPr lvl="1" algn="r">
                <a:spcBef>
                  <a:spcPct val="0"/>
                </a:spcBef>
                <a:spcAft>
                  <a:spcPct val="0"/>
                </a:spcAft>
              </a:pPr>
              <a:t>2009</a:t>
            </a:fld>
            <a:endParaRPr lang="de-DE" sz="1400" dirty="0">
              <a:sym typeface="+mn-lt"/>
            </a:endParaRPr>
          </a:p>
        </p:txBody>
      </p:sp>
      <p:sp>
        <p:nvSpPr>
          <p:cNvPr id="83" name="Textplatzhalter 2">
            <a:extLst>
              <a:ext uri="{FF2B5EF4-FFF2-40B4-BE49-F238E27FC236}">
                <a16:creationId xmlns:a16="http://schemas.microsoft.com/office/drawing/2014/main" xmlns="" id="{2FB618CB-8E80-4652-9BA8-2AC13683AF52}"/>
              </a:ext>
            </a:extLst>
          </p:cNvPr>
          <p:cNvSpPr>
            <a:spLocks noGrp="1"/>
          </p:cNvSpPr>
          <p:nvPr>
            <p:custDataLst>
              <p:tags r:id="rId21"/>
            </p:custDataLst>
          </p:nvPr>
        </p:nvSpPr>
        <p:spPr bwMode="auto">
          <a:xfrm>
            <a:off x="3330576"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BC752087-E875-4E0A-B71E-26AB0B441A02}" type="datetime'''''''2''01''''''''''''''''''''''0'">
              <a:rPr lang="de-DE" altLang="en-US" sz="1400" smtClean="0">
                <a:sym typeface="+mn-lt"/>
              </a:rPr>
              <a:pPr lvl="1" algn="r">
                <a:spcBef>
                  <a:spcPct val="0"/>
                </a:spcBef>
                <a:spcAft>
                  <a:spcPct val="0"/>
                </a:spcAft>
              </a:pPr>
              <a:t>2010</a:t>
            </a:fld>
            <a:endParaRPr lang="de-DE" sz="1400" dirty="0">
              <a:sym typeface="+mn-lt"/>
            </a:endParaRPr>
          </a:p>
        </p:txBody>
      </p:sp>
      <p:sp>
        <p:nvSpPr>
          <p:cNvPr id="85" name="Textplatzhalter 2">
            <a:extLst>
              <a:ext uri="{FF2B5EF4-FFF2-40B4-BE49-F238E27FC236}">
                <a16:creationId xmlns:a16="http://schemas.microsoft.com/office/drawing/2014/main" xmlns="" id="{D05868EC-4412-411B-A2F3-05FD0D3549F9}"/>
              </a:ext>
            </a:extLst>
          </p:cNvPr>
          <p:cNvSpPr>
            <a:spLocks noGrp="1"/>
          </p:cNvSpPr>
          <p:nvPr>
            <p:custDataLst>
              <p:tags r:id="rId22"/>
            </p:custDataLst>
          </p:nvPr>
        </p:nvSpPr>
        <p:spPr bwMode="auto">
          <a:xfrm>
            <a:off x="3825876"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91B5186-97EF-421A-B59D-FF3D036D18A1}" type="datetime'''''20''''''''''''''''''''''1''2'''''''''''''''''''''''''''">
              <a:rPr lang="de-DE" altLang="en-US" sz="1400" smtClean="0">
                <a:sym typeface="+mn-lt"/>
              </a:rPr>
              <a:pPr lvl="1" algn="r">
                <a:spcBef>
                  <a:spcPct val="0"/>
                </a:spcBef>
                <a:spcAft>
                  <a:spcPct val="0"/>
                </a:spcAft>
              </a:pPr>
              <a:t>2012</a:t>
            </a:fld>
            <a:endParaRPr lang="de-DE" sz="1400" dirty="0">
              <a:sym typeface="+mn-lt"/>
            </a:endParaRPr>
          </a:p>
        </p:txBody>
      </p:sp>
      <p:sp>
        <p:nvSpPr>
          <p:cNvPr id="86" name="Textplatzhalter 2">
            <a:extLst>
              <a:ext uri="{FF2B5EF4-FFF2-40B4-BE49-F238E27FC236}">
                <a16:creationId xmlns:a16="http://schemas.microsoft.com/office/drawing/2014/main" xmlns="" id="{6F815CC7-8AFB-443B-8989-C777AAEB88E4}"/>
              </a:ext>
            </a:extLst>
          </p:cNvPr>
          <p:cNvSpPr>
            <a:spLocks noGrp="1"/>
          </p:cNvSpPr>
          <p:nvPr>
            <p:custDataLst>
              <p:tags r:id="rId23"/>
            </p:custDataLst>
          </p:nvPr>
        </p:nvSpPr>
        <p:spPr bwMode="auto">
          <a:xfrm>
            <a:off x="4073526"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55DF7A22-9A68-4CA9-AF3B-0A8446139918}" type="datetime'''''''''2''''0''''''''''''''''''''''''1''''''''''''''''3'''">
              <a:rPr lang="de-DE" altLang="en-US" sz="1400" smtClean="0">
                <a:sym typeface="+mn-lt"/>
              </a:rPr>
              <a:pPr lvl="1" algn="r">
                <a:spcBef>
                  <a:spcPct val="0"/>
                </a:spcBef>
                <a:spcAft>
                  <a:spcPct val="0"/>
                </a:spcAft>
              </a:pPr>
              <a:t>2013</a:t>
            </a:fld>
            <a:endParaRPr lang="de-DE" sz="1400" dirty="0">
              <a:sym typeface="+mn-lt"/>
            </a:endParaRPr>
          </a:p>
        </p:txBody>
      </p:sp>
      <p:sp>
        <p:nvSpPr>
          <p:cNvPr id="87" name="Textplatzhalter 2">
            <a:extLst>
              <a:ext uri="{FF2B5EF4-FFF2-40B4-BE49-F238E27FC236}">
                <a16:creationId xmlns:a16="http://schemas.microsoft.com/office/drawing/2014/main" xmlns="" id="{1F548A62-2902-44DD-AF4B-4C66113F3170}"/>
              </a:ext>
            </a:extLst>
          </p:cNvPr>
          <p:cNvSpPr>
            <a:spLocks noGrp="1"/>
          </p:cNvSpPr>
          <p:nvPr>
            <p:custDataLst>
              <p:tags r:id="rId24"/>
            </p:custDataLst>
          </p:nvPr>
        </p:nvSpPr>
        <p:spPr bwMode="auto">
          <a:xfrm>
            <a:off x="4319589"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EF308D1A-29DA-4A55-A9C0-64802D7EF9DF}" type="datetime'''''''2''''0''''''''''''''1''4'''''''''''''''''''''''''">
              <a:rPr lang="de-DE" altLang="en-US" sz="1400" smtClean="0">
                <a:sym typeface="+mn-lt"/>
              </a:rPr>
              <a:pPr lvl="1" algn="r">
                <a:spcBef>
                  <a:spcPct val="0"/>
                </a:spcBef>
                <a:spcAft>
                  <a:spcPct val="0"/>
                </a:spcAft>
              </a:pPr>
              <a:t>2014</a:t>
            </a:fld>
            <a:endParaRPr lang="de-DE" sz="1400" dirty="0">
              <a:sym typeface="+mn-lt"/>
            </a:endParaRPr>
          </a:p>
        </p:txBody>
      </p:sp>
      <p:sp>
        <p:nvSpPr>
          <p:cNvPr id="94" name="Textplatzhalter 2">
            <a:extLst>
              <a:ext uri="{FF2B5EF4-FFF2-40B4-BE49-F238E27FC236}">
                <a16:creationId xmlns:a16="http://schemas.microsoft.com/office/drawing/2014/main" xmlns="" id="{FAC63DF0-78C6-4032-9DC8-1ED975C8462C}"/>
              </a:ext>
            </a:extLst>
          </p:cNvPr>
          <p:cNvSpPr>
            <a:spLocks noGrp="1"/>
          </p:cNvSpPr>
          <p:nvPr>
            <p:custDataLst>
              <p:tags r:id="rId25"/>
            </p:custDataLst>
          </p:nvPr>
        </p:nvSpPr>
        <p:spPr bwMode="auto">
          <a:xfrm>
            <a:off x="4814889"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369D4F36-CCEE-45A2-822E-F4E233D759C6}" type="datetime'''''''''''''''''''''''''2''''0''1''6'''''''''''''''''''">
              <a:rPr lang="de-DE" altLang="en-US" sz="1400" smtClean="0">
                <a:sym typeface="+mn-lt"/>
              </a:rPr>
              <a:pPr lvl="1" algn="r">
                <a:spcBef>
                  <a:spcPct val="0"/>
                </a:spcBef>
                <a:spcAft>
                  <a:spcPct val="0"/>
                </a:spcAft>
              </a:pPr>
              <a:t>2016</a:t>
            </a:fld>
            <a:endParaRPr lang="de-DE" sz="1400" dirty="0">
              <a:sym typeface="+mn-lt"/>
            </a:endParaRPr>
          </a:p>
        </p:txBody>
      </p:sp>
      <p:sp>
        <p:nvSpPr>
          <p:cNvPr id="95" name="Textplatzhalter 2">
            <a:extLst>
              <a:ext uri="{FF2B5EF4-FFF2-40B4-BE49-F238E27FC236}">
                <a16:creationId xmlns:a16="http://schemas.microsoft.com/office/drawing/2014/main" xmlns="" id="{0A2041A3-40BB-44F7-8F27-29E2508D014C}"/>
              </a:ext>
            </a:extLst>
          </p:cNvPr>
          <p:cNvSpPr>
            <a:spLocks noGrp="1"/>
          </p:cNvSpPr>
          <p:nvPr>
            <p:custDataLst>
              <p:tags r:id="rId26"/>
            </p:custDataLst>
          </p:nvPr>
        </p:nvSpPr>
        <p:spPr bwMode="auto">
          <a:xfrm>
            <a:off x="5062539"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477E3839-D030-47D6-B035-72B5AA396C21}" type="datetime'''''''''2''0''''''''''''''''''''''''1''''''''''7'''''''''''">
              <a:rPr lang="de-DE" altLang="en-US" sz="1400" smtClean="0">
                <a:sym typeface="+mn-lt"/>
              </a:rPr>
              <a:pPr lvl="1" algn="r">
                <a:spcBef>
                  <a:spcPct val="0"/>
                </a:spcBef>
                <a:spcAft>
                  <a:spcPct val="0"/>
                </a:spcAft>
              </a:pPr>
              <a:t>2017</a:t>
            </a:fld>
            <a:endParaRPr lang="de-DE" sz="1400" dirty="0">
              <a:sym typeface="+mn-lt"/>
            </a:endParaRPr>
          </a:p>
        </p:txBody>
      </p:sp>
      <p:sp>
        <p:nvSpPr>
          <p:cNvPr id="96" name="Textplatzhalter 2">
            <a:extLst>
              <a:ext uri="{FF2B5EF4-FFF2-40B4-BE49-F238E27FC236}">
                <a16:creationId xmlns:a16="http://schemas.microsoft.com/office/drawing/2014/main" xmlns="" id="{AE2A7BD7-67F3-46F1-A554-3077AADA182B}"/>
              </a:ext>
            </a:extLst>
          </p:cNvPr>
          <p:cNvSpPr>
            <a:spLocks noGrp="1"/>
          </p:cNvSpPr>
          <p:nvPr>
            <p:custDataLst>
              <p:tags r:id="rId27"/>
            </p:custDataLst>
          </p:nvPr>
        </p:nvSpPr>
        <p:spPr bwMode="auto">
          <a:xfrm>
            <a:off x="5310189" y="5011737"/>
            <a:ext cx="212725" cy="393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r">
              <a:spcBef>
                <a:spcPct val="0"/>
              </a:spcBef>
              <a:spcAft>
                <a:spcPct val="0"/>
              </a:spcAft>
            </a:pPr>
            <a:fld id="{6325D839-76C8-4264-8C35-E04C72A03561}" type="datetime'''''''20''''''''''''''1''''''''''''''''''''''''''8'''''">
              <a:rPr lang="de-DE" altLang="en-US" sz="1400" smtClean="0">
                <a:sym typeface="+mn-lt"/>
              </a:rPr>
              <a:pPr lvl="1" algn="r">
                <a:spcBef>
                  <a:spcPct val="0"/>
                </a:spcBef>
                <a:spcAft>
                  <a:spcPct val="0"/>
                </a:spcAft>
              </a:pPr>
              <a:t>2018</a:t>
            </a:fld>
            <a:endParaRPr lang="de-DE" sz="1400" dirty="0">
              <a:sym typeface="+mn-lt"/>
            </a:endParaRPr>
          </a:p>
        </p:txBody>
      </p:sp>
      <p:sp>
        <p:nvSpPr>
          <p:cNvPr id="38" name="Textplatzhalter 2">
            <a:extLst>
              <a:ext uri="{FF2B5EF4-FFF2-40B4-BE49-F238E27FC236}">
                <a16:creationId xmlns:a16="http://schemas.microsoft.com/office/drawing/2014/main" xmlns="" id="{E82BEEBB-D655-4A6C-9EBB-F450DE5D304F}"/>
              </a:ext>
            </a:extLst>
          </p:cNvPr>
          <p:cNvSpPr>
            <a:spLocks noGrp="1"/>
          </p:cNvSpPr>
          <p:nvPr>
            <p:custDataLst>
              <p:tags r:id="rId28"/>
            </p:custDataLst>
          </p:nvPr>
        </p:nvSpPr>
        <p:spPr bwMode="auto">
          <a:xfrm>
            <a:off x="2200275" y="3611563"/>
            <a:ext cx="719138" cy="273050"/>
          </a:xfrm>
          <a:prstGeom prst="ellipse">
            <a:avLst/>
          </a:prstGeom>
          <a:solidFill>
            <a:schemeClr val="bg1"/>
          </a:solidFill>
          <a:ln w="9525">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lnSpc>
                <a:spcPct val="90000"/>
              </a:lnSpc>
              <a:spcBef>
                <a:spcPct val="0"/>
              </a:spcBef>
              <a:spcAft>
                <a:spcPct val="0"/>
              </a:spcAft>
            </a:pPr>
            <a:fld id="{91A49A95-E4DD-48DD-BAC1-0656254B8622}" type="datetime'''''+''''''2''''''''''2'' ''''%'">
              <a:rPr lang="de-DE" altLang="en-US" sz="1400" b="1" smtClean="0"/>
              <a:pPr lvl="1" algn="ctr">
                <a:lnSpc>
                  <a:spcPct val="90000"/>
                </a:lnSpc>
                <a:spcBef>
                  <a:spcPct val="0"/>
                </a:spcBef>
                <a:spcAft>
                  <a:spcPct val="0"/>
                </a:spcAft>
              </a:pPr>
              <a:t>+22 %</a:t>
            </a:fld>
            <a:endParaRPr lang="de-DE" sz="1400" b="1" dirty="0">
              <a:sym typeface="+mn-lt"/>
            </a:endParaRPr>
          </a:p>
        </p:txBody>
      </p:sp>
      <p:sp>
        <p:nvSpPr>
          <p:cNvPr id="29" name="Textplatzhalter 2">
            <a:extLst>
              <a:ext uri="{FF2B5EF4-FFF2-40B4-BE49-F238E27FC236}">
                <a16:creationId xmlns:a16="http://schemas.microsoft.com/office/drawing/2014/main" xmlns="" id="{EE3AAF56-2EB4-4231-A6D8-7D47C91901C7}"/>
              </a:ext>
            </a:extLst>
          </p:cNvPr>
          <p:cNvSpPr>
            <a:spLocks noGrp="1"/>
          </p:cNvSpPr>
          <p:nvPr>
            <p:custDataLst>
              <p:tags r:id="rId29"/>
            </p:custDataLst>
          </p:nvPr>
        </p:nvSpPr>
        <p:spPr bwMode="auto">
          <a:xfrm>
            <a:off x="4132263" y="2378075"/>
            <a:ext cx="858838" cy="273050"/>
          </a:xfrm>
          <a:prstGeom prst="ellipse">
            <a:avLst/>
          </a:prstGeom>
          <a:solidFill>
            <a:schemeClr val="bg1"/>
          </a:solidFill>
          <a:ln w="9525">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lgn="ctr">
              <a:lnSpc>
                <a:spcPct val="90000"/>
              </a:lnSpc>
              <a:spcBef>
                <a:spcPct val="0"/>
              </a:spcBef>
              <a:spcAft>
                <a:spcPct val="0"/>
              </a:spcAft>
            </a:pPr>
            <a:fld id="{F3DA62E8-D5B0-4AF0-B12A-04B9E1D0C87C}" type="datetime'''''''+''''''''1''''''''''''''2''''''''''2'' ''%'''''''''''''">
              <a:rPr lang="de-DE" altLang="en-US" sz="1400" b="1" smtClean="0"/>
              <a:pPr lvl="1" algn="ctr">
                <a:lnSpc>
                  <a:spcPct val="90000"/>
                </a:lnSpc>
                <a:spcBef>
                  <a:spcPct val="0"/>
                </a:spcBef>
                <a:spcAft>
                  <a:spcPct val="0"/>
                </a:spcAft>
              </a:pPr>
              <a:t>+122 %</a:t>
            </a:fld>
            <a:endParaRPr lang="de-DE" sz="1400" b="1" dirty="0">
              <a:sym typeface="+mn-lt"/>
            </a:endParaRPr>
          </a:p>
        </p:txBody>
      </p:sp>
      <p:cxnSp>
        <p:nvCxnSpPr>
          <p:cNvPr id="40" name="Gerader Verbinder 49">
            <a:extLst>
              <a:ext uri="{FF2B5EF4-FFF2-40B4-BE49-F238E27FC236}">
                <a16:creationId xmlns:a16="http://schemas.microsoft.com/office/drawing/2014/main" xmlns="" id="{27B19CDD-A174-42DF-AE27-1B9AE07D998F}"/>
              </a:ext>
            </a:extLst>
          </p:cNvPr>
          <p:cNvCxnSpPr>
            <a:cxnSpLocks/>
          </p:cNvCxnSpPr>
          <p:nvPr/>
        </p:nvCxnSpPr>
        <p:spPr>
          <a:xfrm>
            <a:off x="3920499" y="2492375"/>
            <a:ext cx="0" cy="2449513"/>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xmlns="" id="{D0E28AD6-CC4B-4965-8C9F-438E173A4B82}"/>
              </a:ext>
            </a:extLst>
          </p:cNvPr>
          <p:cNvSpPr txBox="1"/>
          <p:nvPr/>
        </p:nvSpPr>
        <p:spPr>
          <a:xfrm>
            <a:off x="467544" y="5847075"/>
            <a:ext cx="8164800" cy="246221"/>
          </a:xfrm>
          <a:prstGeom prst="rect">
            <a:avLst/>
          </a:prstGeom>
          <a:noFill/>
        </p:spPr>
        <p:txBody>
          <a:bodyPr wrap="square" rtlCol="0">
            <a:spAutoFit/>
          </a:bodyPr>
          <a:lstStyle/>
          <a:p>
            <a:pPr marL="0" lvl="1">
              <a:tabLst>
                <a:tab pos="180975" algn="l"/>
              </a:tabLst>
            </a:pPr>
            <a:r>
              <a:rPr lang="de-DE" sz="1000" dirty="0"/>
              <a:t>Quelle: Betriebsangaben Wiener Linien, Geschäftsberichte der Wiener Stadtwerke</a:t>
            </a:r>
          </a:p>
        </p:txBody>
      </p:sp>
      <p:sp>
        <p:nvSpPr>
          <p:cNvPr id="17" name="Rechteck 16">
            <a:extLst>
              <a:ext uri="{FF2B5EF4-FFF2-40B4-BE49-F238E27FC236}">
                <a16:creationId xmlns:a16="http://schemas.microsoft.com/office/drawing/2014/main" xmlns="" id="{C4023788-A9B4-4786-9972-6AF128E639CD}"/>
              </a:ext>
            </a:extLst>
          </p:cNvPr>
          <p:cNvSpPr/>
          <p:nvPr>
            <p:custDataLst>
              <p:tags r:id="rId30"/>
            </p:custDataLst>
          </p:nvPr>
        </p:nvSpPr>
        <p:spPr bwMode="auto">
          <a:xfrm>
            <a:off x="2060575" y="5534025"/>
            <a:ext cx="179388" cy="133350"/>
          </a:xfrm>
          <a:prstGeom prst="rect">
            <a:avLst/>
          </a:prstGeom>
          <a:solidFill>
            <a:srgbClr val="CFCE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3" name="Rechteck 12">
            <a:extLst>
              <a:ext uri="{FF2B5EF4-FFF2-40B4-BE49-F238E27FC236}">
                <a16:creationId xmlns:a16="http://schemas.microsoft.com/office/drawing/2014/main" xmlns="" id="{0298CACE-CDF2-4AD7-AB65-F999CD042843}"/>
              </a:ext>
            </a:extLst>
          </p:cNvPr>
          <p:cNvSpPr/>
          <p:nvPr>
            <p:custDataLst>
              <p:tags r:id="rId31"/>
            </p:custDataLst>
          </p:nvPr>
        </p:nvSpPr>
        <p:spPr bwMode="auto">
          <a:xfrm>
            <a:off x="547688" y="5534025"/>
            <a:ext cx="179388"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18" name="Rechteck 17">
            <a:extLst>
              <a:ext uri="{FF2B5EF4-FFF2-40B4-BE49-F238E27FC236}">
                <a16:creationId xmlns:a16="http://schemas.microsoft.com/office/drawing/2014/main" xmlns="" id="{DAFF4B77-14D4-4B71-B682-84E2DB0FFC32}"/>
              </a:ext>
            </a:extLst>
          </p:cNvPr>
          <p:cNvSpPr/>
          <p:nvPr>
            <p:custDataLst>
              <p:tags r:id="rId32"/>
            </p:custDataLst>
          </p:nvPr>
        </p:nvSpPr>
        <p:spPr bwMode="auto">
          <a:xfrm>
            <a:off x="4065588" y="5534025"/>
            <a:ext cx="179388" cy="1333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2" name="Textplatzhalter 2">
            <a:extLst>
              <a:ext uri="{FF2B5EF4-FFF2-40B4-BE49-F238E27FC236}">
                <a16:creationId xmlns:a16="http://schemas.microsoft.com/office/drawing/2014/main" xmlns="" id="{EC8BE2CE-B80F-4A13-802E-2CB5E378493B}"/>
              </a:ext>
            </a:extLst>
          </p:cNvPr>
          <p:cNvSpPr>
            <a:spLocks noGrp="1"/>
          </p:cNvSpPr>
          <p:nvPr>
            <p:custDataLst>
              <p:tags r:id="rId33"/>
            </p:custDataLst>
          </p:nvPr>
        </p:nvSpPr>
        <p:spPr bwMode="auto">
          <a:xfrm>
            <a:off x="777875" y="5529263"/>
            <a:ext cx="1181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E5A83943-D2AF-46FE-85B0-7D9E43F162A7}" type="datetime'J''a''''''hre''s''ka''r''t''e'' V''''''ol''lpr''''''''eis'''''">
              <a:rPr lang="de-DE" altLang="en-US" sz="1000" smtClean="0"/>
              <a:pPr lvl="1">
                <a:spcBef>
                  <a:spcPct val="0"/>
                </a:spcBef>
                <a:spcAft>
                  <a:spcPct val="0"/>
                </a:spcAft>
              </a:pPr>
              <a:t>Jahreskarte Vollpreis</a:t>
            </a:fld>
            <a:endParaRPr lang="de-DE" sz="1000" dirty="0">
              <a:sym typeface="+mn-lt"/>
            </a:endParaRPr>
          </a:p>
        </p:txBody>
      </p:sp>
      <p:sp>
        <p:nvSpPr>
          <p:cNvPr id="44" name="Textplatzhalter 2">
            <a:extLst>
              <a:ext uri="{FF2B5EF4-FFF2-40B4-BE49-F238E27FC236}">
                <a16:creationId xmlns:a16="http://schemas.microsoft.com/office/drawing/2014/main" xmlns="" id="{43C479C2-ED44-44A9-B0E3-5FE1AA2B8D3B}"/>
              </a:ext>
            </a:extLst>
          </p:cNvPr>
          <p:cNvSpPr>
            <a:spLocks noGrp="1"/>
          </p:cNvSpPr>
          <p:nvPr>
            <p:custDataLst>
              <p:tags r:id="rId34"/>
            </p:custDataLst>
          </p:nvPr>
        </p:nvSpPr>
        <p:spPr bwMode="auto">
          <a:xfrm>
            <a:off x="4295775" y="5529263"/>
            <a:ext cx="12001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BD6C106F-DADD-4C7C-A18E-E0983F92C413}" type="datetime'J''''a''hresk''a''''''''''r''te Sen''''i''''''or''en'">
              <a:rPr lang="de-DE" altLang="en-US" sz="1000" smtClean="0">
                <a:sym typeface="+mn-lt"/>
              </a:rPr>
              <a:pPr lvl="1">
                <a:spcBef>
                  <a:spcPct val="0"/>
                </a:spcBef>
                <a:spcAft>
                  <a:spcPct val="0"/>
                </a:spcAft>
              </a:pPr>
              <a:t>Jahreskarte Senioren</a:t>
            </a:fld>
            <a:endParaRPr lang="de-DE" sz="1000" dirty="0">
              <a:sym typeface="+mn-lt"/>
            </a:endParaRPr>
          </a:p>
        </p:txBody>
      </p:sp>
      <p:sp>
        <p:nvSpPr>
          <p:cNvPr id="43" name="Textplatzhalter 2">
            <a:extLst>
              <a:ext uri="{FF2B5EF4-FFF2-40B4-BE49-F238E27FC236}">
                <a16:creationId xmlns:a16="http://schemas.microsoft.com/office/drawing/2014/main" xmlns="" id="{C95288EC-0595-4BCA-A80D-7532993D497A}"/>
              </a:ext>
            </a:extLst>
          </p:cNvPr>
          <p:cNvSpPr>
            <a:spLocks noGrp="1"/>
          </p:cNvSpPr>
          <p:nvPr>
            <p:custDataLst>
              <p:tags r:id="rId35"/>
            </p:custDataLst>
          </p:nvPr>
        </p:nvSpPr>
        <p:spPr bwMode="auto">
          <a:xfrm>
            <a:off x="2290763" y="5529263"/>
            <a:ext cx="16732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a:spcBef>
                <a:spcPct val="0"/>
              </a:spcBef>
              <a:spcAft>
                <a:spcPct val="0"/>
              </a:spcAft>
            </a:pPr>
            <a:fld id="{01235EDA-075F-43A7-887D-CF58C7081EC9}" type="datetime'J''''''''ah''r''es''''k''a''rte V''''O''R-A''uße''nra''u''''m'">
              <a:rPr lang="de-DE" altLang="en-US" sz="1000" smtClean="0"/>
              <a:pPr lvl="1">
                <a:spcBef>
                  <a:spcPct val="0"/>
                </a:spcBef>
                <a:spcAft>
                  <a:spcPct val="0"/>
                </a:spcAft>
              </a:pPr>
              <a:t>Jahreskarte VOR-Außenraum</a:t>
            </a:fld>
            <a:endParaRPr lang="de-DE" sz="1000" dirty="0">
              <a:sym typeface="+mn-lt"/>
            </a:endParaRPr>
          </a:p>
        </p:txBody>
      </p:sp>
      <p:grpSp>
        <p:nvGrpSpPr>
          <p:cNvPr id="54" name="Gruppieren 53">
            <a:extLst>
              <a:ext uri="{FF2B5EF4-FFF2-40B4-BE49-F238E27FC236}">
                <a16:creationId xmlns:a16="http://schemas.microsoft.com/office/drawing/2014/main" xmlns="" id="{48156C98-0991-40D0-960D-6262F6DE5ECB}"/>
              </a:ext>
            </a:extLst>
          </p:cNvPr>
          <p:cNvGrpSpPr/>
          <p:nvPr/>
        </p:nvGrpSpPr>
        <p:grpSpPr>
          <a:xfrm>
            <a:off x="5470992" y="1628800"/>
            <a:ext cx="395288" cy="396000"/>
            <a:chOff x="2510622" y="3699834"/>
            <a:chExt cx="578254" cy="578254"/>
          </a:xfrm>
        </p:grpSpPr>
        <p:pic>
          <p:nvPicPr>
            <p:cNvPr id="55" name="Grafik 54">
              <a:extLst>
                <a:ext uri="{FF2B5EF4-FFF2-40B4-BE49-F238E27FC236}">
                  <a16:creationId xmlns:a16="http://schemas.microsoft.com/office/drawing/2014/main" xmlns="" id="{397D0722-38B6-45BA-AD16-672A783EECCE}"/>
                </a:ext>
              </a:extLst>
            </p:cNvPr>
            <p:cNvPicPr>
              <a:picLocks noChangeAspect="1"/>
            </p:cNvPicPr>
            <p:nvPr/>
          </p:nvPicPr>
          <p:blipFill>
            <a:blip r:embed="rId42">
              <a:duotone>
                <a:schemeClr val="accent5">
                  <a:shade val="45000"/>
                  <a:satMod val="135000"/>
                </a:schemeClr>
                <a:prstClr val="white"/>
              </a:duotone>
              <a:extLst>
                <a:ext uri="{BEBA8EAE-BF5A-486C-A8C5-ECC9F3942E4B}">
                  <a14:imgProps xmlns:a14="http://schemas.microsoft.com/office/drawing/2010/main">
                    <a14:imgLayer r:embed="rId43">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2545143" y="3727665"/>
              <a:ext cx="515089" cy="515089"/>
            </a:xfrm>
            <a:prstGeom prst="rect">
              <a:avLst/>
            </a:prstGeom>
          </p:spPr>
        </p:pic>
        <p:sp>
          <p:nvSpPr>
            <p:cNvPr id="56" name="Ellipse 55">
              <a:extLst>
                <a:ext uri="{FF2B5EF4-FFF2-40B4-BE49-F238E27FC236}">
                  <a16:creationId xmlns:a16="http://schemas.microsoft.com/office/drawing/2014/main" xmlns="" id="{5A9DA9E9-83D8-425D-8AA9-11DE582651E2}"/>
                </a:ext>
              </a:extLst>
            </p:cNvPr>
            <p:cNvSpPr/>
            <p:nvPr/>
          </p:nvSpPr>
          <p:spPr>
            <a:xfrm>
              <a:off x="2510622" y="3699834"/>
              <a:ext cx="578254" cy="578254"/>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sp>
        <p:nvSpPr>
          <p:cNvPr id="89" name="Textfeld 88">
            <a:extLst>
              <a:ext uri="{FF2B5EF4-FFF2-40B4-BE49-F238E27FC236}">
                <a16:creationId xmlns:a16="http://schemas.microsoft.com/office/drawing/2014/main" xmlns="" id="{209CA36A-39CC-4113-8047-A65C150D910D}"/>
              </a:ext>
            </a:extLst>
          </p:cNvPr>
          <p:cNvSpPr txBox="1"/>
          <p:nvPr/>
        </p:nvSpPr>
        <p:spPr>
          <a:xfrm>
            <a:off x="1331640" y="4756502"/>
            <a:ext cx="627095" cy="184666"/>
          </a:xfrm>
          <a:prstGeom prst="rect">
            <a:avLst/>
          </a:prstGeom>
          <a:noFill/>
        </p:spPr>
        <p:txBody>
          <a:bodyPr wrap="none" rtlCol="0">
            <a:spAutoFit/>
          </a:bodyPr>
          <a:lstStyle/>
          <a:p>
            <a:r>
              <a:rPr lang="de-DE" sz="600" dirty="0"/>
              <a:t>© </a:t>
            </a:r>
            <a:r>
              <a:rPr lang="de-DE" sz="600" dirty="0" err="1"/>
              <a:t>civity</a:t>
            </a:r>
            <a:r>
              <a:rPr lang="de-DE" sz="600" dirty="0"/>
              <a:t> 2019</a:t>
            </a:r>
          </a:p>
        </p:txBody>
      </p:sp>
      <p:cxnSp>
        <p:nvCxnSpPr>
          <p:cNvPr id="90" name="Gerader Verbinder 49">
            <a:extLst>
              <a:ext uri="{FF2B5EF4-FFF2-40B4-BE49-F238E27FC236}">
                <a16:creationId xmlns:a16="http://schemas.microsoft.com/office/drawing/2014/main" xmlns="" id="{D440681A-8756-478D-9AA9-39A2BFB1F661}"/>
              </a:ext>
            </a:extLst>
          </p:cNvPr>
          <p:cNvCxnSpPr>
            <a:cxnSpLocks/>
          </p:cNvCxnSpPr>
          <p:nvPr/>
        </p:nvCxnSpPr>
        <p:spPr>
          <a:xfrm flipH="1">
            <a:off x="547218" y="5784279"/>
            <a:ext cx="329082" cy="0"/>
          </a:xfrm>
          <a:prstGeom prst="line">
            <a:avLst/>
          </a:prstGeom>
          <a:ln w="254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91" name="Rechteck 90">
            <a:extLst>
              <a:ext uri="{FF2B5EF4-FFF2-40B4-BE49-F238E27FC236}">
                <a16:creationId xmlns:a16="http://schemas.microsoft.com/office/drawing/2014/main" xmlns="" id="{3EAE9F2B-93FD-49CC-8A23-2C3B3A19654D}"/>
              </a:ext>
            </a:extLst>
          </p:cNvPr>
          <p:cNvSpPr/>
          <p:nvPr/>
        </p:nvSpPr>
        <p:spPr>
          <a:xfrm>
            <a:off x="887781" y="5661248"/>
            <a:ext cx="4198119" cy="2460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000" dirty="0">
                <a:solidFill>
                  <a:schemeClr val="tx1"/>
                </a:solidFill>
              </a:rPr>
              <a:t>Einführung 365-€-Jahreskarte Juni 2012</a:t>
            </a:r>
          </a:p>
        </p:txBody>
      </p:sp>
      <p:cxnSp>
        <p:nvCxnSpPr>
          <p:cNvPr id="92" name="Gerade Verbindung 6">
            <a:extLst>
              <a:ext uri="{FF2B5EF4-FFF2-40B4-BE49-F238E27FC236}">
                <a16:creationId xmlns:a16="http://schemas.microsoft.com/office/drawing/2014/main" xmlns="" id="{FFFEA067-F426-402E-815E-9C27E4C10269}"/>
              </a:ext>
            </a:extLst>
          </p:cNvPr>
          <p:cNvCxnSpPr/>
          <p:nvPr>
            <p:custDataLst>
              <p:tags r:id="rId36"/>
            </p:custDataLst>
          </p:nvPr>
        </p:nvCxnSpPr>
        <p:spPr>
          <a:xfrm>
            <a:off x="539552" y="5474960"/>
            <a:ext cx="8062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xmlns="" id="{04707F84-C038-4FAF-9C52-337AC60673CE}"/>
              </a:ext>
            </a:extLst>
          </p:cNvPr>
          <p:cNvSpPr/>
          <p:nvPr/>
        </p:nvSpPr>
        <p:spPr>
          <a:xfrm>
            <a:off x="-3118663" y="1557750"/>
            <a:ext cx="2676075" cy="2308324"/>
          </a:xfrm>
          <a:prstGeom prst="rect">
            <a:avLst/>
          </a:prstGeom>
          <a:solidFill>
            <a:srgbClr val="92D050"/>
          </a:solidFill>
        </p:spPr>
        <p:txBody>
          <a:bodyPr wrap="square">
            <a:spAutoFit/>
          </a:bodyPr>
          <a:lstStyle/>
          <a:p>
            <a:r>
              <a:rPr lang="de-DE" b="1" dirty="0"/>
              <a:t>Teaser 2</a:t>
            </a:r>
          </a:p>
          <a:p>
            <a:r>
              <a:rPr lang="de-DE" dirty="0"/>
              <a:t>Das klassische Bild, allerdings wird gleich klar, warum das Bild täuscht und was wir daraus gelernt haben (bzw. vorher für Wien prognostiziert haben)</a:t>
            </a:r>
          </a:p>
        </p:txBody>
      </p:sp>
    </p:spTree>
    <p:extLst>
      <p:ext uri="{BB962C8B-B14F-4D97-AF65-F5344CB8AC3E}">
        <p14:creationId xmlns:p14="http://schemas.microsoft.com/office/powerpoint/2010/main" val="2837286643"/>
      </p:ext>
    </p:extLst>
  </p:cSld>
  <p:clrMapOvr>
    <a:masterClrMapping/>
  </p:clrMapOvr>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929"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In Reutlingen wird das 365-Euro-Ticket für Neu- und Bestandskunden bis Ende 2020 angeboten</a:t>
            </a:r>
          </a:p>
        </p:txBody>
      </p:sp>
      <p:sp>
        <p:nvSpPr>
          <p:cNvPr id="3" name="Inhaltsplatzhalter 2"/>
          <p:cNvSpPr>
            <a:spLocks noGrp="1"/>
          </p:cNvSpPr>
          <p:nvPr>
            <p:ph idx="1"/>
          </p:nvPr>
        </p:nvSpPr>
        <p:spPr/>
        <p:txBody>
          <a:bodyPr/>
          <a:lstStyle/>
          <a:p>
            <a:r>
              <a:rPr lang="de-DE" dirty="0"/>
              <a:t>Beispiel: „Umwelt-Ticket-Paket“ Reutlingen</a:t>
            </a:r>
          </a:p>
        </p:txBody>
      </p:sp>
      <p:sp>
        <p:nvSpPr>
          <p:cNvPr id="4" name="Foliennummernplatzhalter 3"/>
          <p:cNvSpPr>
            <a:spLocks noGrp="1"/>
          </p:cNvSpPr>
          <p:nvPr>
            <p:ph type="sldNum" sz="quarter" idx="11"/>
          </p:nvPr>
        </p:nvSpPr>
        <p:spPr/>
        <p:txBody>
          <a:bodyPr/>
          <a:lstStyle/>
          <a:p>
            <a:fld id="{CD21EFEB-933F-4F46-A5AD-B6372944D9E5}" type="slidenum">
              <a:rPr lang="de-DE" smtClean="0"/>
              <a:pPr/>
              <a:t>60</a:t>
            </a:fld>
            <a:endParaRPr lang="de-DE"/>
          </a:p>
        </p:txBody>
      </p:sp>
      <p:grpSp>
        <p:nvGrpSpPr>
          <p:cNvPr id="5" name="Gruppieren 4">
            <a:extLst>
              <a:ext uri="{FF2B5EF4-FFF2-40B4-BE49-F238E27FC236}">
                <a16:creationId xmlns:a16="http://schemas.microsoft.com/office/drawing/2014/main" xmlns="" id="{B70A0E1C-0EBB-4BC3-997A-D5D0A99788D1}"/>
              </a:ext>
            </a:extLst>
          </p:cNvPr>
          <p:cNvGrpSpPr/>
          <p:nvPr/>
        </p:nvGrpSpPr>
        <p:grpSpPr>
          <a:xfrm>
            <a:off x="611188" y="1631014"/>
            <a:ext cx="7993260" cy="4318936"/>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467C5ACB-D9E2-436D-BBA0-9D96F87FF982}"/>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2B11CC45-8090-4757-A140-9EE99EFC9583}"/>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7FF65AC2-DD6A-46E4-95E5-FA57705DA826}"/>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585A1C51-645E-47DD-8655-B0893EEE5E0B}"/>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DD46FFEC-BFE3-403C-8639-0172DF9C41E9}"/>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5ECACFBC-150B-4382-BBAC-DB8B4FA1B90C}"/>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2EB27B53-A788-4C9E-A0F4-C33C35F164F6}"/>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164D89E1-3132-45FF-B138-F377AB9F9BAF}"/>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A04A0686-39A7-4C56-9ECE-A7ED3FA69A68}"/>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511BD04B-990F-4C1C-B090-DC333709F21C}"/>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120F806D-0A84-4D82-9962-A98E0C651496}"/>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634C827F-D90A-4766-A6ED-13E8ABED7277}"/>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96C8CB33-0324-4C0E-B3BD-C6D243E07A5C}"/>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AE446908-D81E-4B31-A290-9F20CA7E2396}"/>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386573D0-F98A-4BC1-92C6-E61ADA211746}"/>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87FD2525-426A-440F-8F67-ABAAB59A9F8F}"/>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DD754F52-7197-450F-9615-054D024D66F6}"/>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43E54233-CB1C-451F-8477-29FE18CB1B1C}"/>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EFD0F45B-549A-42DD-BBEA-E96ADFAEC09D}"/>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2B263395-0D62-4696-8A73-21548B52D4C3}"/>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17F1A563-2EFC-46DC-A77A-7EBD2BC5011E}"/>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5228101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953"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Seit rund 2 Jahren wird das Schülerticket Hessen für 365 € </a:t>
            </a:r>
            <a:br>
              <a:rPr lang="de-DE" dirty="0"/>
            </a:br>
            <a:r>
              <a:rPr lang="de-DE" dirty="0"/>
              <a:t>p. a. angeboten und gilt im gesamten Bundesland Hessen</a:t>
            </a:r>
          </a:p>
        </p:txBody>
      </p:sp>
      <p:sp>
        <p:nvSpPr>
          <p:cNvPr id="3" name="Inhaltsplatzhalter 2"/>
          <p:cNvSpPr>
            <a:spLocks noGrp="1"/>
          </p:cNvSpPr>
          <p:nvPr>
            <p:ph idx="1"/>
          </p:nvPr>
        </p:nvSpPr>
        <p:spPr/>
        <p:txBody>
          <a:bodyPr/>
          <a:lstStyle/>
          <a:p>
            <a:r>
              <a:rPr lang="de-DE" dirty="0"/>
              <a:t>Beispiel: Schülerticket Hessen</a:t>
            </a:r>
          </a:p>
        </p:txBody>
      </p:sp>
      <p:sp>
        <p:nvSpPr>
          <p:cNvPr id="4" name="Foliennummernplatzhalter 3"/>
          <p:cNvSpPr>
            <a:spLocks noGrp="1"/>
          </p:cNvSpPr>
          <p:nvPr>
            <p:ph type="sldNum" sz="quarter" idx="11"/>
          </p:nvPr>
        </p:nvSpPr>
        <p:spPr/>
        <p:txBody>
          <a:bodyPr/>
          <a:lstStyle/>
          <a:p>
            <a:fld id="{CD21EFEB-933F-4F46-A5AD-B6372944D9E5}" type="slidenum">
              <a:rPr lang="de-DE" smtClean="0"/>
              <a:pPr/>
              <a:t>61</a:t>
            </a:fld>
            <a:endParaRPr lang="de-DE"/>
          </a:p>
        </p:txBody>
      </p:sp>
      <p:grpSp>
        <p:nvGrpSpPr>
          <p:cNvPr id="5" name="Gruppieren 4">
            <a:extLst>
              <a:ext uri="{FF2B5EF4-FFF2-40B4-BE49-F238E27FC236}">
                <a16:creationId xmlns:a16="http://schemas.microsoft.com/office/drawing/2014/main" xmlns="" id="{AFA406A7-86B9-48F0-B230-E3C150D11565}"/>
              </a:ext>
            </a:extLst>
          </p:cNvPr>
          <p:cNvGrpSpPr/>
          <p:nvPr/>
        </p:nvGrpSpPr>
        <p:grpSpPr>
          <a:xfrm>
            <a:off x="611188" y="1628775"/>
            <a:ext cx="7993062"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a:t>
              </a:r>
              <a:br>
                <a:rPr lang="de-DE" sz="1200" dirty="0">
                  <a:solidFill>
                    <a:schemeClr val="tx1"/>
                  </a:solidFill>
                </a:rPr>
              </a:br>
              <a:r>
                <a:rPr lang="de-DE" sz="1200" dirty="0">
                  <a:solidFill>
                    <a:schemeClr val="tx1"/>
                  </a:solidFill>
                </a:rPr>
                <a:t>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18A2EF34-ED0F-4DAD-9F85-EC4052A637D2}"/>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5C29CF3E-F2CC-4ADD-85AC-C0EE132B3147}"/>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3F8F5E47-B732-4548-B335-923DF226CA40}"/>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D5765E3D-3984-4F3A-9690-31D918D23918}"/>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2E61364C-D97C-43E6-A9A9-D4F3A2C6F8F9}"/>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CE02363D-F8BE-4D9B-94F1-D9DCF30C7312}"/>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7F655230-2328-4D68-A423-048D53C54AED}"/>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EB2C2A55-2839-4891-814B-F46293079218}"/>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1136BA98-5962-495D-B9A6-B629DCEEA558}"/>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AC9561FD-F3E8-42C6-879A-A31350C288E7}"/>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1D05DCB9-6A4E-4C7C-B8DB-5FB71DBCB4D3}"/>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8933F1C9-78E4-42D9-82E6-C9F354744919}"/>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6E1D8BB8-C4A9-405C-86C1-1A93F11E5417}"/>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BF1E7C50-8AD2-4D82-8C44-0C465A39C756}"/>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1E465824-D2D7-4E1A-8493-4F6B174DC757}"/>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7B042D07-C530-47A3-8776-52BFEA9F0C7B}"/>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890D4615-08ED-4FE7-B9EA-8DC37808EBD8}"/>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330F53A3-970A-4DF6-9BDC-315C4D3296D2}"/>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A73C0CB1-38BB-4221-B843-2075FC6639E6}"/>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828698B3-9A7D-409A-AF88-ED178F658EED}"/>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0A0ADF0A-0739-4A15-A0BC-841CE760882C}"/>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4868075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977"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Seit dem 01.08.2019 können Schüler in Berlin im Tarifgebiet AB kostenlos den ÖPNV nutzen</a:t>
            </a:r>
          </a:p>
        </p:txBody>
      </p:sp>
      <p:sp>
        <p:nvSpPr>
          <p:cNvPr id="3" name="Inhaltsplatzhalter 2"/>
          <p:cNvSpPr>
            <a:spLocks noGrp="1"/>
          </p:cNvSpPr>
          <p:nvPr>
            <p:ph idx="1"/>
          </p:nvPr>
        </p:nvSpPr>
        <p:spPr/>
        <p:txBody>
          <a:bodyPr/>
          <a:lstStyle/>
          <a:p>
            <a:r>
              <a:rPr lang="de-DE" dirty="0"/>
              <a:t>Beispiel: BVG-Schülerticket</a:t>
            </a:r>
          </a:p>
        </p:txBody>
      </p:sp>
      <p:sp>
        <p:nvSpPr>
          <p:cNvPr id="4" name="Foliennummernplatzhalter 3"/>
          <p:cNvSpPr>
            <a:spLocks noGrp="1"/>
          </p:cNvSpPr>
          <p:nvPr>
            <p:ph type="sldNum" sz="quarter" idx="11"/>
          </p:nvPr>
        </p:nvSpPr>
        <p:spPr/>
        <p:txBody>
          <a:bodyPr/>
          <a:lstStyle/>
          <a:p>
            <a:fld id="{CD21EFEB-933F-4F46-A5AD-B6372944D9E5}" type="slidenum">
              <a:rPr lang="de-DE" smtClean="0"/>
              <a:pPr/>
              <a:t>62</a:t>
            </a:fld>
            <a:endParaRPr lang="de-DE"/>
          </a:p>
        </p:txBody>
      </p:sp>
      <p:grpSp>
        <p:nvGrpSpPr>
          <p:cNvPr id="6" name="Gruppieren 5">
            <a:extLst>
              <a:ext uri="{FF2B5EF4-FFF2-40B4-BE49-F238E27FC236}">
                <a16:creationId xmlns:a16="http://schemas.microsoft.com/office/drawing/2014/main" xmlns="" id="{9294B69A-B6D2-4410-A92D-3E6C7F05AEEB}"/>
              </a:ext>
            </a:extLst>
          </p:cNvPr>
          <p:cNvGrpSpPr/>
          <p:nvPr/>
        </p:nvGrpSpPr>
        <p:grpSpPr>
          <a:xfrm>
            <a:off x="611560" y="1628775"/>
            <a:ext cx="7992690"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8FF2B712-1678-4F61-AAAE-6E2C886AA5D7}"/>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C1F1F8C2-BD9F-4160-9EA6-23BC6F3D69EC}"/>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97F69F31-8BDB-4BF0-A287-C16479CFEC54}"/>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81DCBAD6-7D38-428B-9F25-B31F2FAB151F}"/>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057CFE6D-6226-4A49-8C0D-38E16CB74633}"/>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7CB5B6C0-ED92-48CA-B589-E9EEBE817A72}"/>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CDD68D23-0DEA-4BB1-9AD2-9644D5A2FD8C}"/>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97A87C14-6A3D-45BF-92DF-B3F5D2827DF6}"/>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3C6AFA03-3487-4C67-9476-05EBB4E104C7}"/>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BF32F836-94C3-4B2E-9BD5-29762F7962BC}"/>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A41895A4-95DB-4425-ABFA-1A8F453027B2}"/>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B0D9775B-CA97-4AA4-BF75-EE5B0FD0B378}"/>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51B3E8DF-86FC-4C20-B192-2EE50F3ACDC6}"/>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26CB4BB7-D0ED-4C67-83D9-A6BB6B0CBA08}"/>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E1C0C5B2-CFE6-4BE8-83A4-0FB067DFB227}"/>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726C17C0-CFBA-4883-8CC6-A51D5C2FEC74}"/>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AB6EB085-2160-44B2-BB17-5E87B3E3E7B8}"/>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FFE0EADD-86B5-482B-87A1-A15578FD736A}"/>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788EE319-C222-473D-A474-3240468ACD15}"/>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C77A961C-250B-40A8-BDA5-76A6A16248DB}"/>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348A8DA3-7C83-456B-9844-0FF45EB1DA7A}"/>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
        <p:nvSpPr>
          <p:cNvPr id="5" name="Rechteck 4">
            <a:extLst>
              <a:ext uri="{FF2B5EF4-FFF2-40B4-BE49-F238E27FC236}">
                <a16:creationId xmlns:a16="http://schemas.microsoft.com/office/drawing/2014/main" xmlns="" id="{A481B0E1-2AC3-4BBA-9849-145CCA8457CA}"/>
              </a:ext>
            </a:extLst>
          </p:cNvPr>
          <p:cNvSpPr/>
          <p:nvPr/>
        </p:nvSpPr>
        <p:spPr>
          <a:xfrm>
            <a:off x="9468544" y="379507"/>
            <a:ext cx="2628800" cy="7207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600" dirty="0">
                <a:solidFill>
                  <a:schemeClr val="tx1"/>
                </a:solidFill>
              </a:rPr>
              <a:t>Titel geändert</a:t>
            </a:r>
          </a:p>
        </p:txBody>
      </p:sp>
    </p:spTree>
    <p:extLst>
      <p:ext uri="{BB962C8B-B14F-4D97-AF65-F5344CB8AC3E}">
        <p14:creationId xmlns:p14="http://schemas.microsoft.com/office/powerpoint/2010/main" val="27975111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9001"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Azubis können seit dem 01.08.2019 im VBB ein verbundweites Jahresabo für 365 € erwerben</a:t>
            </a:r>
          </a:p>
        </p:txBody>
      </p:sp>
      <p:sp>
        <p:nvSpPr>
          <p:cNvPr id="3" name="Inhaltsplatzhalter 2"/>
          <p:cNvSpPr>
            <a:spLocks noGrp="1"/>
          </p:cNvSpPr>
          <p:nvPr>
            <p:ph idx="1"/>
          </p:nvPr>
        </p:nvSpPr>
        <p:spPr/>
        <p:txBody>
          <a:bodyPr/>
          <a:lstStyle/>
          <a:p>
            <a:r>
              <a:rPr lang="de-DE" dirty="0"/>
              <a:t>Beispiel: VBB-Abo Azubi</a:t>
            </a:r>
          </a:p>
        </p:txBody>
      </p:sp>
      <p:sp>
        <p:nvSpPr>
          <p:cNvPr id="4" name="Foliennummernplatzhalter 3"/>
          <p:cNvSpPr>
            <a:spLocks noGrp="1"/>
          </p:cNvSpPr>
          <p:nvPr>
            <p:ph type="sldNum" sz="quarter" idx="11"/>
          </p:nvPr>
        </p:nvSpPr>
        <p:spPr/>
        <p:txBody>
          <a:bodyPr/>
          <a:lstStyle/>
          <a:p>
            <a:fld id="{CD21EFEB-933F-4F46-A5AD-B6372944D9E5}" type="slidenum">
              <a:rPr lang="de-DE" smtClean="0"/>
              <a:pPr/>
              <a:t>63</a:t>
            </a:fld>
            <a:endParaRPr lang="de-DE"/>
          </a:p>
        </p:txBody>
      </p:sp>
      <p:grpSp>
        <p:nvGrpSpPr>
          <p:cNvPr id="6" name="Gruppieren 5">
            <a:extLst>
              <a:ext uri="{FF2B5EF4-FFF2-40B4-BE49-F238E27FC236}">
                <a16:creationId xmlns:a16="http://schemas.microsoft.com/office/drawing/2014/main" xmlns="" id="{9294B69A-B6D2-4410-A92D-3E6C7F05AEEB}"/>
              </a:ext>
            </a:extLst>
          </p:cNvPr>
          <p:cNvGrpSpPr/>
          <p:nvPr/>
        </p:nvGrpSpPr>
        <p:grpSpPr>
          <a:xfrm>
            <a:off x="611560" y="1628775"/>
            <a:ext cx="7992690"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8FF2B712-1678-4F61-AAAE-6E2C886AA5D7}"/>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C1F1F8C2-BD9F-4160-9EA6-23BC6F3D69EC}"/>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97F69F31-8BDB-4BF0-A287-C16479CFEC54}"/>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81DCBAD6-7D38-428B-9F25-B31F2FAB151F}"/>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057CFE6D-6226-4A49-8C0D-38E16CB74633}"/>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7CB5B6C0-ED92-48CA-B589-E9EEBE817A72}"/>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CDD68D23-0DEA-4BB1-9AD2-9644D5A2FD8C}"/>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97A87C14-6A3D-45BF-92DF-B3F5D2827DF6}"/>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3C6AFA03-3487-4C67-9476-05EBB4E104C7}"/>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BF32F836-94C3-4B2E-9BD5-29762F7962BC}"/>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A41895A4-95DB-4425-ABFA-1A8F453027B2}"/>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B0D9775B-CA97-4AA4-BF75-EE5B0FD0B378}"/>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51B3E8DF-86FC-4C20-B192-2EE50F3ACDC6}"/>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26CB4BB7-D0ED-4C67-83D9-A6BB6B0CBA08}"/>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E1C0C5B2-CFE6-4BE8-83A4-0FB067DFB227}"/>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726C17C0-CFBA-4883-8CC6-A51D5C2FEC74}"/>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AB6EB085-2160-44B2-BB17-5E87B3E3E7B8}"/>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FFE0EADD-86B5-482B-87A1-A15578FD736A}"/>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788EE319-C222-473D-A474-3240468ACD15}"/>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C77A961C-250B-40A8-BDA5-76A6A16248DB}"/>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348A8DA3-7C83-456B-9844-0FF45EB1DA7A}"/>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42546086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0025"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Die verbundweite SparCard des GVH ist ein Angebot für Schüler der Sekundarstufe I und II und kostet 15 € im Monat</a:t>
            </a:r>
          </a:p>
        </p:txBody>
      </p:sp>
      <p:sp>
        <p:nvSpPr>
          <p:cNvPr id="3" name="Inhaltsplatzhalter 2"/>
          <p:cNvSpPr>
            <a:spLocks noGrp="1"/>
          </p:cNvSpPr>
          <p:nvPr>
            <p:ph idx="1"/>
          </p:nvPr>
        </p:nvSpPr>
        <p:spPr/>
        <p:txBody>
          <a:bodyPr/>
          <a:lstStyle/>
          <a:p>
            <a:r>
              <a:rPr lang="de-DE" dirty="0"/>
              <a:t>Beispiel: GVH SparCard Schüler (01.01.2018)</a:t>
            </a:r>
          </a:p>
        </p:txBody>
      </p:sp>
      <p:sp>
        <p:nvSpPr>
          <p:cNvPr id="4" name="Foliennummernplatzhalter 3"/>
          <p:cNvSpPr>
            <a:spLocks noGrp="1"/>
          </p:cNvSpPr>
          <p:nvPr>
            <p:ph type="sldNum" sz="quarter" idx="11"/>
          </p:nvPr>
        </p:nvSpPr>
        <p:spPr/>
        <p:txBody>
          <a:bodyPr/>
          <a:lstStyle/>
          <a:p>
            <a:fld id="{CD21EFEB-933F-4F46-A5AD-B6372944D9E5}" type="slidenum">
              <a:rPr lang="de-DE" smtClean="0"/>
              <a:pPr/>
              <a:t>64</a:t>
            </a:fld>
            <a:endParaRPr lang="de-DE"/>
          </a:p>
        </p:txBody>
      </p:sp>
      <p:grpSp>
        <p:nvGrpSpPr>
          <p:cNvPr id="6" name="Gruppieren 5">
            <a:extLst>
              <a:ext uri="{FF2B5EF4-FFF2-40B4-BE49-F238E27FC236}">
                <a16:creationId xmlns:a16="http://schemas.microsoft.com/office/drawing/2014/main" xmlns="" id="{9294B69A-B6D2-4410-A92D-3E6C7F05AEEB}"/>
              </a:ext>
            </a:extLst>
          </p:cNvPr>
          <p:cNvGrpSpPr/>
          <p:nvPr/>
        </p:nvGrpSpPr>
        <p:grpSpPr>
          <a:xfrm>
            <a:off x="611560" y="1628775"/>
            <a:ext cx="7992690"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15 €</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8FF2B712-1678-4F61-AAAE-6E2C886AA5D7}"/>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C1F1F8C2-BD9F-4160-9EA6-23BC6F3D69EC}"/>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97F69F31-8BDB-4BF0-A287-C16479CFEC54}"/>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81DCBAD6-7D38-428B-9F25-B31F2FAB151F}"/>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057CFE6D-6226-4A49-8C0D-38E16CB74633}"/>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7CB5B6C0-ED92-48CA-B589-E9EEBE817A72}"/>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CDD68D23-0DEA-4BB1-9AD2-9644D5A2FD8C}"/>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97A87C14-6A3D-45BF-92DF-B3F5D2827DF6}"/>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3C6AFA03-3487-4C67-9476-05EBB4E104C7}"/>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BF32F836-94C3-4B2E-9BD5-29762F7962BC}"/>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A41895A4-95DB-4425-ABFA-1A8F453027B2}"/>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B0D9775B-CA97-4AA4-BF75-EE5B0FD0B378}"/>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51B3E8DF-86FC-4C20-B192-2EE50F3ACDC6}"/>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26CB4BB7-D0ED-4C67-83D9-A6BB6B0CBA08}"/>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E1C0C5B2-CFE6-4BE8-83A4-0FB067DFB227}"/>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726C17C0-CFBA-4883-8CC6-A51D5C2FEC74}"/>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AB6EB085-2160-44B2-BB17-5E87B3E3E7B8}"/>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FFE0EADD-86B5-482B-87A1-A15578FD736A}"/>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788EE319-C222-473D-A474-3240468ACD15}"/>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C77A961C-250B-40A8-BDA5-76A6A16248DB}"/>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348A8DA3-7C83-456B-9844-0FF45EB1DA7A}"/>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30135131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1049"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Das 365-Euro-Ticket für Schüler und Auszubildende soll ab dem Schuljahr 2020/2021 im VGN-Gebiet eingeführt werden</a:t>
            </a:r>
          </a:p>
        </p:txBody>
      </p:sp>
      <p:sp>
        <p:nvSpPr>
          <p:cNvPr id="3" name="Inhaltsplatzhalter 2"/>
          <p:cNvSpPr>
            <a:spLocks noGrp="1"/>
          </p:cNvSpPr>
          <p:nvPr>
            <p:ph idx="1"/>
          </p:nvPr>
        </p:nvSpPr>
        <p:spPr/>
        <p:txBody>
          <a:bodyPr/>
          <a:lstStyle/>
          <a:p>
            <a:r>
              <a:rPr lang="de-DE" dirty="0"/>
              <a:t>Beispiel: 365-Euro-Ticket für Schüler und Azubis im VGN (ab 2020)</a:t>
            </a:r>
          </a:p>
        </p:txBody>
      </p:sp>
      <p:sp>
        <p:nvSpPr>
          <p:cNvPr id="4" name="Foliennummernplatzhalter 3"/>
          <p:cNvSpPr>
            <a:spLocks noGrp="1"/>
          </p:cNvSpPr>
          <p:nvPr>
            <p:ph type="sldNum" sz="quarter" idx="11"/>
          </p:nvPr>
        </p:nvSpPr>
        <p:spPr/>
        <p:txBody>
          <a:bodyPr/>
          <a:lstStyle/>
          <a:p>
            <a:fld id="{CD21EFEB-933F-4F46-A5AD-B6372944D9E5}" type="slidenum">
              <a:rPr lang="de-DE" smtClean="0"/>
              <a:pPr/>
              <a:t>65</a:t>
            </a:fld>
            <a:endParaRPr lang="de-DE"/>
          </a:p>
        </p:txBody>
      </p:sp>
      <p:grpSp>
        <p:nvGrpSpPr>
          <p:cNvPr id="6" name="Gruppieren 5">
            <a:extLst>
              <a:ext uri="{FF2B5EF4-FFF2-40B4-BE49-F238E27FC236}">
                <a16:creationId xmlns:a16="http://schemas.microsoft.com/office/drawing/2014/main" xmlns="" id="{9294B69A-B6D2-4410-A92D-3E6C7F05AEEB}"/>
              </a:ext>
            </a:extLst>
          </p:cNvPr>
          <p:cNvGrpSpPr/>
          <p:nvPr/>
        </p:nvGrpSpPr>
        <p:grpSpPr>
          <a:xfrm>
            <a:off x="611560" y="1628775"/>
            <a:ext cx="7992690"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Unbefristet (?)</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8FF2B712-1678-4F61-AAAE-6E2C886AA5D7}"/>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C1F1F8C2-BD9F-4160-9EA6-23BC6F3D69EC}"/>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97F69F31-8BDB-4BF0-A287-C16479CFEC54}"/>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81DCBAD6-7D38-428B-9F25-B31F2FAB151F}"/>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057CFE6D-6226-4A49-8C0D-38E16CB74633}"/>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7CB5B6C0-ED92-48CA-B589-E9EEBE817A72}"/>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CDD68D23-0DEA-4BB1-9AD2-9644D5A2FD8C}"/>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97A87C14-6A3D-45BF-92DF-B3F5D2827DF6}"/>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3C6AFA03-3487-4C67-9476-05EBB4E104C7}"/>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BF32F836-94C3-4B2E-9BD5-29762F7962BC}"/>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A41895A4-95DB-4425-ABFA-1A8F453027B2}"/>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B0D9775B-CA97-4AA4-BF75-EE5B0FD0B378}"/>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51B3E8DF-86FC-4C20-B192-2EE50F3ACDC6}"/>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26CB4BB7-D0ED-4C67-83D9-A6BB6B0CBA08}"/>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E1C0C5B2-CFE6-4BE8-83A4-0FB067DFB227}"/>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726C17C0-CFBA-4883-8CC6-A51D5C2FEC74}"/>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AB6EB085-2160-44B2-BB17-5E87B3E3E7B8}"/>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FFE0EADD-86B5-482B-87A1-A15578FD736A}"/>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788EE319-C222-473D-A474-3240468ACD15}"/>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C77A961C-250B-40A8-BDA5-76A6A16248DB}"/>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348A8DA3-7C83-456B-9844-0FF45EB1DA7A}"/>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18508256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kt 160" hidden="1">
            <a:extLst>
              <a:ext uri="{FF2B5EF4-FFF2-40B4-BE49-F238E27FC236}">
                <a16:creationId xmlns:a16="http://schemas.microsoft.com/office/drawing/2014/main" xmlns="" id="{DB758DAF-2B05-4E0B-AEE6-684DA40E3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073" name="think-cell Folie" r:id="rId42" imgW="395" imgH="394" progId="TCLayout.ActiveDocument.1">
                  <p:embed/>
                </p:oleObj>
              </mc:Choice>
              <mc:Fallback>
                <p:oleObj name="think-cell Folie" r:id="rId42" imgW="395" imgH="394" progId="TCLayout.ActiveDocument.1">
                  <p:embed/>
                  <p:pic>
                    <p:nvPicPr>
                      <p:cNvPr id="161" name="Objekt 160" hidden="1">
                        <a:extLst>
                          <a:ext uri="{FF2B5EF4-FFF2-40B4-BE49-F238E27FC236}">
                            <a16:creationId xmlns:a16="http://schemas.microsoft.com/office/drawing/2014/main" xmlns="" id="{DB758DAF-2B05-4E0B-AEE6-684DA40E30D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60" name="Rechteck 159" hidden="1">
            <a:extLst>
              <a:ext uri="{FF2B5EF4-FFF2-40B4-BE49-F238E27FC236}">
                <a16:creationId xmlns:a16="http://schemas.microsoft.com/office/drawing/2014/main" xmlns="" id="{6EFF5572-7D4D-4B23-AC1E-05E2E2E7FC83}"/>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Die kostenlose City-Zone Augsburg umfasst insgesamt 8 Haltestellen und soll zum 1.1.2020 eingeführt werden</a:t>
            </a:r>
          </a:p>
        </p:txBody>
      </p:sp>
      <p:sp>
        <p:nvSpPr>
          <p:cNvPr id="3" name="Inhaltsplatzhalter 2"/>
          <p:cNvSpPr>
            <a:spLocks noGrp="1"/>
          </p:cNvSpPr>
          <p:nvPr>
            <p:ph idx="1"/>
          </p:nvPr>
        </p:nvSpPr>
        <p:spPr/>
        <p:txBody>
          <a:bodyPr/>
          <a:lstStyle/>
          <a:p>
            <a:r>
              <a:rPr lang="de-DE" dirty="0"/>
              <a:t>Beispiel: Augsburg City-Zone (ab 2020)</a:t>
            </a:r>
          </a:p>
        </p:txBody>
      </p:sp>
      <p:sp>
        <p:nvSpPr>
          <p:cNvPr id="4" name="Foliennummernplatzhalter 3"/>
          <p:cNvSpPr>
            <a:spLocks noGrp="1"/>
          </p:cNvSpPr>
          <p:nvPr>
            <p:ph type="sldNum" sz="quarter" idx="11"/>
          </p:nvPr>
        </p:nvSpPr>
        <p:spPr/>
        <p:txBody>
          <a:bodyPr/>
          <a:lstStyle/>
          <a:p>
            <a:fld id="{CD21EFEB-933F-4F46-A5AD-B6372944D9E5}" type="slidenum">
              <a:rPr lang="de-DE" smtClean="0"/>
              <a:pPr/>
              <a:t>66</a:t>
            </a:fld>
            <a:endParaRPr lang="de-DE"/>
          </a:p>
        </p:txBody>
      </p:sp>
      <p:grpSp>
        <p:nvGrpSpPr>
          <p:cNvPr id="6" name="Gruppieren 5">
            <a:extLst>
              <a:ext uri="{FF2B5EF4-FFF2-40B4-BE49-F238E27FC236}">
                <a16:creationId xmlns:a16="http://schemas.microsoft.com/office/drawing/2014/main" xmlns="" id="{9294B69A-B6D2-4410-A92D-3E6C7F05AEEB}"/>
              </a:ext>
            </a:extLst>
          </p:cNvPr>
          <p:cNvGrpSpPr/>
          <p:nvPr/>
        </p:nvGrpSpPr>
        <p:grpSpPr>
          <a:xfrm>
            <a:off x="611560" y="1628775"/>
            <a:ext cx="7992690" cy="4321175"/>
            <a:chOff x="539552" y="2029615"/>
            <a:chExt cx="8046425" cy="3549321"/>
          </a:xfrm>
        </p:grpSpPr>
        <p:sp>
          <p:nvSpPr>
            <p:cNvPr id="41" name="Rechteck 40">
              <a:extLst>
                <a:ext uri="{FF2B5EF4-FFF2-40B4-BE49-F238E27FC236}">
                  <a16:creationId xmlns:a16="http://schemas.microsoft.com/office/drawing/2014/main" xmlns="" id="{3160EBA5-ABD3-4705-B4E4-BBAFB837F9E0}"/>
                </a:ext>
              </a:extLst>
            </p:cNvPr>
            <p:cNvSpPr/>
            <p:nvPr>
              <p:custDataLst>
                <p:tags r:id="rId4"/>
              </p:custDataLst>
            </p:nvPr>
          </p:nvSpPr>
          <p:spPr>
            <a:xfrm>
              <a:off x="539552" y="20296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äumliche Gültigkeit</a:t>
              </a:r>
            </a:p>
          </p:txBody>
        </p:sp>
        <p:sp>
          <p:nvSpPr>
            <p:cNvPr id="43" name="Rechteck 42">
              <a:extLst>
                <a:ext uri="{FF2B5EF4-FFF2-40B4-BE49-F238E27FC236}">
                  <a16:creationId xmlns:a16="http://schemas.microsoft.com/office/drawing/2014/main" xmlns="" id="{23727115-95A7-4C7D-9592-7A388F672CA2}"/>
                </a:ext>
              </a:extLst>
            </p:cNvPr>
            <p:cNvSpPr/>
            <p:nvPr>
              <p:custDataLst>
                <p:tags r:id="rId5"/>
              </p:custDataLst>
            </p:nvPr>
          </p:nvSpPr>
          <p:spPr>
            <a:xfrm>
              <a:off x="539552" y="25571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Kunden-gruppe</a:t>
              </a:r>
            </a:p>
          </p:txBody>
        </p:sp>
        <p:sp>
          <p:nvSpPr>
            <p:cNvPr id="44" name="Rechteck 43">
              <a:extLst>
                <a:ext uri="{FF2B5EF4-FFF2-40B4-BE49-F238E27FC236}">
                  <a16:creationId xmlns:a16="http://schemas.microsoft.com/office/drawing/2014/main" xmlns="" id="{94715AE8-CD8C-45E3-AD2D-40336EB86F2B}"/>
                </a:ext>
              </a:extLst>
            </p:cNvPr>
            <p:cNvSpPr/>
            <p:nvPr>
              <p:custDataLst>
                <p:tags r:id="rId6"/>
              </p:custDataLst>
            </p:nvPr>
          </p:nvSpPr>
          <p:spPr>
            <a:xfrm>
              <a:off x="539552" y="30847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eitliche Gültigkeit</a:t>
              </a:r>
            </a:p>
          </p:txBody>
        </p:sp>
        <p:sp>
          <p:nvSpPr>
            <p:cNvPr id="45" name="Rechteck 44">
              <a:extLst>
                <a:ext uri="{FF2B5EF4-FFF2-40B4-BE49-F238E27FC236}">
                  <a16:creationId xmlns:a16="http://schemas.microsoft.com/office/drawing/2014/main" xmlns="" id="{348DD773-0663-4A9E-84C1-3AB214C398F6}"/>
                </a:ext>
              </a:extLst>
            </p:cNvPr>
            <p:cNvSpPr/>
            <p:nvPr>
              <p:custDataLst>
                <p:tags r:id="rId7"/>
              </p:custDataLst>
            </p:nvPr>
          </p:nvSpPr>
          <p:spPr>
            <a:xfrm>
              <a:off x="539552" y="36122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Rabatt</a:t>
              </a:r>
            </a:p>
          </p:txBody>
        </p:sp>
        <p:sp>
          <p:nvSpPr>
            <p:cNvPr id="46" name="Rechteck 45">
              <a:extLst>
                <a:ext uri="{FF2B5EF4-FFF2-40B4-BE49-F238E27FC236}">
                  <a16:creationId xmlns:a16="http://schemas.microsoft.com/office/drawing/2014/main" xmlns="" id="{B6C6D587-6AE6-4BFF-8F1C-8A5F56AB470A}"/>
                </a:ext>
              </a:extLst>
            </p:cNvPr>
            <p:cNvSpPr/>
            <p:nvPr>
              <p:custDataLst>
                <p:tags r:id="rId8"/>
              </p:custDataLst>
            </p:nvPr>
          </p:nvSpPr>
          <p:spPr>
            <a:xfrm>
              <a:off x="539552" y="41398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Befristung</a:t>
              </a:r>
            </a:p>
          </p:txBody>
        </p:sp>
        <p:sp>
          <p:nvSpPr>
            <p:cNvPr id="47" name="Rechteck 46">
              <a:extLst>
                <a:ext uri="{FF2B5EF4-FFF2-40B4-BE49-F238E27FC236}">
                  <a16:creationId xmlns:a16="http://schemas.microsoft.com/office/drawing/2014/main" xmlns="" id="{7A4B3E95-A069-4DF0-8D01-F6B0F4571D90}"/>
                </a:ext>
              </a:extLst>
            </p:cNvPr>
            <p:cNvSpPr/>
            <p:nvPr>
              <p:custDataLst>
                <p:tags r:id="rId9"/>
              </p:custDataLst>
            </p:nvPr>
          </p:nvSpPr>
          <p:spPr>
            <a:xfrm>
              <a:off x="539552" y="466736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Zusatz-leistungen</a:t>
              </a:r>
            </a:p>
          </p:txBody>
        </p:sp>
        <p:sp>
          <p:nvSpPr>
            <p:cNvPr id="71" name="Rechteck 70">
              <a:extLst>
                <a:ext uri="{FF2B5EF4-FFF2-40B4-BE49-F238E27FC236}">
                  <a16:creationId xmlns:a16="http://schemas.microsoft.com/office/drawing/2014/main" xmlns="" id="{9B66C778-86E0-448B-BECE-CB571961D7DC}"/>
                </a:ext>
              </a:extLst>
            </p:cNvPr>
            <p:cNvSpPr/>
            <p:nvPr>
              <p:custDataLst>
                <p:tags r:id="rId10"/>
              </p:custDataLst>
            </p:nvPr>
          </p:nvSpPr>
          <p:spPr>
            <a:xfrm>
              <a:off x="1704558" y="2557165"/>
              <a:ext cx="1056390"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alle</a:t>
              </a:r>
            </a:p>
          </p:txBody>
        </p:sp>
        <p:sp>
          <p:nvSpPr>
            <p:cNvPr id="76" name="Rechteck 75">
              <a:extLst>
                <a:ext uri="{FF2B5EF4-FFF2-40B4-BE49-F238E27FC236}">
                  <a16:creationId xmlns:a16="http://schemas.microsoft.com/office/drawing/2014/main" xmlns="" id="{BCD6EF75-C85C-4B71-884B-587A7F57366E}"/>
                </a:ext>
              </a:extLst>
            </p:cNvPr>
            <p:cNvSpPr/>
            <p:nvPr>
              <p:custDataLst>
                <p:tags r:id="rId11"/>
              </p:custDataLst>
            </p:nvPr>
          </p:nvSpPr>
          <p:spPr>
            <a:xfrm>
              <a:off x="1704558" y="2029615"/>
              <a:ext cx="164330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City</a:t>
              </a:r>
            </a:p>
          </p:txBody>
        </p:sp>
        <p:sp>
          <p:nvSpPr>
            <p:cNvPr id="79" name="Rechteck 78">
              <a:extLst>
                <a:ext uri="{FF2B5EF4-FFF2-40B4-BE49-F238E27FC236}">
                  <a16:creationId xmlns:a16="http://schemas.microsoft.com/office/drawing/2014/main" xmlns="" id="{57DCA1C4-9113-4A7C-B7EA-E1BFA1510A5F}"/>
                </a:ext>
              </a:extLst>
            </p:cNvPr>
            <p:cNvSpPr/>
            <p:nvPr>
              <p:custDataLst>
                <p:tags r:id="rId12"/>
              </p:custDataLst>
            </p:nvPr>
          </p:nvSpPr>
          <p:spPr>
            <a:xfrm>
              <a:off x="2869564"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rbeit-nehmer</a:t>
              </a:r>
            </a:p>
          </p:txBody>
        </p:sp>
        <p:sp>
          <p:nvSpPr>
            <p:cNvPr id="85" name="Rechteck 84">
              <a:extLst>
                <a:ext uri="{FF2B5EF4-FFF2-40B4-BE49-F238E27FC236}">
                  <a16:creationId xmlns:a16="http://schemas.microsoft.com/office/drawing/2014/main" xmlns="" id="{DF6C544B-52AE-4F88-A0D6-992FD88E08CE}"/>
                </a:ext>
              </a:extLst>
            </p:cNvPr>
            <p:cNvSpPr/>
            <p:nvPr>
              <p:custDataLst>
                <p:tags r:id="rId13"/>
              </p:custDataLst>
            </p:nvPr>
          </p:nvSpPr>
          <p:spPr>
            <a:xfrm>
              <a:off x="3447652"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adt</a:t>
              </a:r>
            </a:p>
          </p:txBody>
        </p:sp>
        <p:sp>
          <p:nvSpPr>
            <p:cNvPr id="87" name="Rechteck 86">
              <a:extLst>
                <a:ext uri="{FF2B5EF4-FFF2-40B4-BE49-F238E27FC236}">
                  <a16:creationId xmlns:a16="http://schemas.microsoft.com/office/drawing/2014/main" xmlns="" id="{E9A3E1C2-44D2-429E-8706-0A58CF3998BB}"/>
                </a:ext>
              </a:extLst>
            </p:cNvPr>
            <p:cNvSpPr/>
            <p:nvPr>
              <p:custDataLst>
                <p:tags r:id="rId14"/>
              </p:custDataLst>
            </p:nvPr>
          </p:nvSpPr>
          <p:spPr>
            <a:xfrm>
              <a:off x="4034570"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Azubis</a:t>
              </a:r>
            </a:p>
          </p:txBody>
        </p:sp>
        <p:sp>
          <p:nvSpPr>
            <p:cNvPr id="95" name="Rechteck 94">
              <a:extLst>
                <a:ext uri="{FF2B5EF4-FFF2-40B4-BE49-F238E27FC236}">
                  <a16:creationId xmlns:a16="http://schemas.microsoft.com/office/drawing/2014/main" xmlns="" id="{E60A786B-D76D-42B6-9B2D-08A307AF5A29}"/>
                </a:ext>
              </a:extLst>
            </p:cNvPr>
            <p:cNvSpPr/>
            <p:nvPr>
              <p:custDataLst>
                <p:tags r:id="rId15"/>
              </p:custDataLst>
            </p:nvPr>
          </p:nvSpPr>
          <p:spPr>
            <a:xfrm>
              <a:off x="5199576"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chüler</a:t>
              </a:r>
            </a:p>
          </p:txBody>
        </p:sp>
        <p:sp>
          <p:nvSpPr>
            <p:cNvPr id="101" name="Rechteck 100">
              <a:extLst>
                <a:ext uri="{FF2B5EF4-FFF2-40B4-BE49-F238E27FC236}">
                  <a16:creationId xmlns:a16="http://schemas.microsoft.com/office/drawing/2014/main" xmlns="" id="{20255758-8E74-41CB-A425-7F494366C4BD}"/>
                </a:ext>
              </a:extLst>
            </p:cNvPr>
            <p:cNvSpPr/>
            <p:nvPr>
              <p:custDataLst>
                <p:tags r:id="rId16"/>
              </p:custDataLst>
            </p:nvPr>
          </p:nvSpPr>
          <p:spPr>
            <a:xfrm>
              <a:off x="5199575" y="20296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erbund</a:t>
              </a:r>
            </a:p>
          </p:txBody>
        </p:sp>
        <p:sp>
          <p:nvSpPr>
            <p:cNvPr id="103" name="Rechteck 102">
              <a:extLst>
                <a:ext uri="{FF2B5EF4-FFF2-40B4-BE49-F238E27FC236}">
                  <a16:creationId xmlns:a16="http://schemas.microsoft.com/office/drawing/2014/main" xmlns="" id="{F41A6049-A96B-4266-A8E1-D0D7F60C4AB2}"/>
                </a:ext>
              </a:extLst>
            </p:cNvPr>
            <p:cNvSpPr/>
            <p:nvPr>
              <p:custDataLst>
                <p:tags r:id="rId17"/>
              </p:custDataLst>
            </p:nvPr>
          </p:nvSpPr>
          <p:spPr>
            <a:xfrm>
              <a:off x="6364582"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tudenten</a:t>
              </a:r>
            </a:p>
          </p:txBody>
        </p:sp>
        <p:sp>
          <p:nvSpPr>
            <p:cNvPr id="111" name="Rechteck 110">
              <a:extLst>
                <a:ext uri="{FF2B5EF4-FFF2-40B4-BE49-F238E27FC236}">
                  <a16:creationId xmlns:a16="http://schemas.microsoft.com/office/drawing/2014/main" xmlns="" id="{9887AFC1-811D-4E52-828F-4F4D74B1F762}"/>
                </a:ext>
              </a:extLst>
            </p:cNvPr>
            <p:cNvSpPr/>
            <p:nvPr>
              <p:custDataLst>
                <p:tags r:id="rId18"/>
              </p:custDataLst>
            </p:nvPr>
          </p:nvSpPr>
          <p:spPr>
            <a:xfrm>
              <a:off x="7529587" y="2557165"/>
              <a:ext cx="105639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Senioren</a:t>
              </a:r>
            </a:p>
          </p:txBody>
        </p:sp>
        <p:sp>
          <p:nvSpPr>
            <p:cNvPr id="117" name="Rechteck 116">
              <a:extLst>
                <a:ext uri="{FF2B5EF4-FFF2-40B4-BE49-F238E27FC236}">
                  <a16:creationId xmlns:a16="http://schemas.microsoft.com/office/drawing/2014/main" xmlns="" id="{20363449-0645-4755-A9E6-925BFCB65AFF}"/>
                </a:ext>
              </a:extLst>
            </p:cNvPr>
            <p:cNvSpPr/>
            <p:nvPr>
              <p:custDataLst>
                <p:tags r:id="rId19"/>
              </p:custDataLst>
            </p:nvPr>
          </p:nvSpPr>
          <p:spPr>
            <a:xfrm>
              <a:off x="6951497" y="20296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undesland</a:t>
              </a:r>
            </a:p>
          </p:txBody>
        </p:sp>
        <p:sp>
          <p:nvSpPr>
            <p:cNvPr id="37" name="Rechteck 36">
              <a:extLst>
                <a:ext uri="{FF2B5EF4-FFF2-40B4-BE49-F238E27FC236}">
                  <a16:creationId xmlns:a16="http://schemas.microsoft.com/office/drawing/2014/main" xmlns="" id="{2E59E386-498C-46F5-A076-32FC56DCF0CA}"/>
                </a:ext>
              </a:extLst>
            </p:cNvPr>
            <p:cNvSpPr/>
            <p:nvPr>
              <p:custDataLst>
                <p:tags r:id="rId20"/>
              </p:custDataLst>
            </p:nvPr>
          </p:nvSpPr>
          <p:spPr>
            <a:xfrm>
              <a:off x="1704558"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Jahr</a:t>
              </a:r>
            </a:p>
          </p:txBody>
        </p:sp>
        <p:sp>
          <p:nvSpPr>
            <p:cNvPr id="38" name="Rechteck 37">
              <a:extLst>
                <a:ext uri="{FF2B5EF4-FFF2-40B4-BE49-F238E27FC236}">
                  <a16:creationId xmlns:a16="http://schemas.microsoft.com/office/drawing/2014/main" xmlns="" id="{7624F492-E158-42F4-8CFE-931759F00E9B}"/>
                </a:ext>
              </a:extLst>
            </p:cNvPr>
            <p:cNvSpPr/>
            <p:nvPr>
              <p:custDataLst>
                <p:tags r:id="rId21"/>
              </p:custDataLst>
            </p:nvPr>
          </p:nvSpPr>
          <p:spPr>
            <a:xfrm>
              <a:off x="3100912"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onat</a:t>
              </a:r>
            </a:p>
          </p:txBody>
        </p:sp>
        <p:sp>
          <p:nvSpPr>
            <p:cNvPr id="39" name="Rechteck 38">
              <a:extLst>
                <a:ext uri="{FF2B5EF4-FFF2-40B4-BE49-F238E27FC236}">
                  <a16:creationId xmlns:a16="http://schemas.microsoft.com/office/drawing/2014/main" xmlns="" id="{9F9108B6-CEB8-4743-9002-D8C54731D62D}"/>
                </a:ext>
              </a:extLst>
            </p:cNvPr>
            <p:cNvSpPr/>
            <p:nvPr>
              <p:custDataLst>
                <p:tags r:id="rId22"/>
              </p:custDataLst>
            </p:nvPr>
          </p:nvSpPr>
          <p:spPr>
            <a:xfrm>
              <a:off x="449726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Tag</a:t>
              </a:r>
            </a:p>
          </p:txBody>
        </p:sp>
        <p:sp>
          <p:nvSpPr>
            <p:cNvPr id="40" name="Rechteck 39">
              <a:extLst>
                <a:ext uri="{FF2B5EF4-FFF2-40B4-BE49-F238E27FC236}">
                  <a16:creationId xmlns:a16="http://schemas.microsoft.com/office/drawing/2014/main" xmlns="" id="{850144B0-B0D9-4D92-BC50-592C96121916}"/>
                </a:ext>
              </a:extLst>
            </p:cNvPr>
            <p:cNvSpPr/>
            <p:nvPr>
              <p:custDataLst>
                <p:tags r:id="rId23"/>
              </p:custDataLst>
            </p:nvPr>
          </p:nvSpPr>
          <p:spPr>
            <a:xfrm>
              <a:off x="5893620"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ochenende</a:t>
              </a:r>
            </a:p>
          </p:txBody>
        </p:sp>
        <p:sp>
          <p:nvSpPr>
            <p:cNvPr id="48" name="Rechteck 47">
              <a:extLst>
                <a:ext uri="{FF2B5EF4-FFF2-40B4-BE49-F238E27FC236}">
                  <a16:creationId xmlns:a16="http://schemas.microsoft.com/office/drawing/2014/main" xmlns="" id="{A809F8D8-0C49-4297-AC45-C4B3D3BD6260}"/>
                </a:ext>
              </a:extLst>
            </p:cNvPr>
            <p:cNvSpPr/>
            <p:nvPr>
              <p:custDataLst>
                <p:tags r:id="rId24"/>
              </p:custDataLst>
            </p:nvPr>
          </p:nvSpPr>
          <p:spPr>
            <a:xfrm>
              <a:off x="1704558" y="3612265"/>
              <a:ext cx="164330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kostenlos</a:t>
              </a:r>
            </a:p>
          </p:txBody>
        </p:sp>
        <p:sp>
          <p:nvSpPr>
            <p:cNvPr id="49" name="Rechteck 48">
              <a:extLst>
                <a:ext uri="{FF2B5EF4-FFF2-40B4-BE49-F238E27FC236}">
                  <a16:creationId xmlns:a16="http://schemas.microsoft.com/office/drawing/2014/main" xmlns="" id="{E6EF7D91-0BD1-452A-AA75-C42BB911B1B1}"/>
                </a:ext>
              </a:extLst>
            </p:cNvPr>
            <p:cNvSpPr/>
            <p:nvPr>
              <p:custDataLst>
                <p:tags r:id="rId25"/>
              </p:custDataLst>
            </p:nvPr>
          </p:nvSpPr>
          <p:spPr>
            <a:xfrm>
              <a:off x="3447652"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individueller Rabatt</a:t>
              </a:r>
            </a:p>
          </p:txBody>
        </p:sp>
        <p:sp>
          <p:nvSpPr>
            <p:cNvPr id="50" name="Rechteck 49">
              <a:extLst>
                <a:ext uri="{FF2B5EF4-FFF2-40B4-BE49-F238E27FC236}">
                  <a16:creationId xmlns:a16="http://schemas.microsoft.com/office/drawing/2014/main" xmlns="" id="{BF0A7D94-86CD-4CE4-AE47-B59D97731254}"/>
                </a:ext>
              </a:extLst>
            </p:cNvPr>
            <p:cNvSpPr/>
            <p:nvPr>
              <p:custDataLst>
                <p:tags r:id="rId26"/>
              </p:custDataLst>
            </p:nvPr>
          </p:nvSpPr>
          <p:spPr>
            <a:xfrm>
              <a:off x="5199575" y="361226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365 €</a:t>
              </a:r>
            </a:p>
          </p:txBody>
        </p:sp>
        <p:sp>
          <p:nvSpPr>
            <p:cNvPr id="51" name="Rechteck 50">
              <a:extLst>
                <a:ext uri="{FF2B5EF4-FFF2-40B4-BE49-F238E27FC236}">
                  <a16:creationId xmlns:a16="http://schemas.microsoft.com/office/drawing/2014/main" xmlns="" id="{01E1202F-6E43-4832-AFE3-1CAE3B1C8472}"/>
                </a:ext>
              </a:extLst>
            </p:cNvPr>
            <p:cNvSpPr/>
            <p:nvPr>
              <p:custDataLst>
                <p:tags r:id="rId27"/>
              </p:custDataLst>
            </p:nvPr>
          </p:nvSpPr>
          <p:spPr>
            <a:xfrm>
              <a:off x="6951497" y="361226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Prämie</a:t>
              </a:r>
            </a:p>
          </p:txBody>
        </p:sp>
        <p:sp>
          <p:nvSpPr>
            <p:cNvPr id="56" name="Rechteck 55">
              <a:extLst>
                <a:ext uri="{FF2B5EF4-FFF2-40B4-BE49-F238E27FC236}">
                  <a16:creationId xmlns:a16="http://schemas.microsoft.com/office/drawing/2014/main" xmlns="" id="{231C92B8-9D61-4007-A5F1-6C7A972ACE04}"/>
                </a:ext>
              </a:extLst>
            </p:cNvPr>
            <p:cNvSpPr/>
            <p:nvPr>
              <p:custDataLst>
                <p:tags r:id="rId28"/>
              </p:custDataLst>
            </p:nvPr>
          </p:nvSpPr>
          <p:spPr>
            <a:xfrm>
              <a:off x="1704558" y="4139815"/>
              <a:ext cx="2221396" cy="38402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bg1"/>
                  </a:solidFill>
                </a:rPr>
                <a:t>unbefristet</a:t>
              </a:r>
            </a:p>
          </p:txBody>
        </p:sp>
        <p:sp>
          <p:nvSpPr>
            <p:cNvPr id="57" name="Rechteck 56">
              <a:extLst>
                <a:ext uri="{FF2B5EF4-FFF2-40B4-BE49-F238E27FC236}">
                  <a16:creationId xmlns:a16="http://schemas.microsoft.com/office/drawing/2014/main" xmlns="" id="{711D79F4-C080-4AF5-AD8D-1BCEF4C1AE19}"/>
                </a:ext>
              </a:extLst>
            </p:cNvPr>
            <p:cNvSpPr/>
            <p:nvPr>
              <p:custDataLst>
                <p:tags r:id="rId29"/>
              </p:custDataLst>
            </p:nvPr>
          </p:nvSpPr>
          <p:spPr>
            <a:xfrm>
              <a:off x="4034570" y="413981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Förderungsdauer</a:t>
              </a:r>
            </a:p>
          </p:txBody>
        </p:sp>
        <p:sp>
          <p:nvSpPr>
            <p:cNvPr id="58" name="Rechteck 57">
              <a:extLst>
                <a:ext uri="{FF2B5EF4-FFF2-40B4-BE49-F238E27FC236}">
                  <a16:creationId xmlns:a16="http://schemas.microsoft.com/office/drawing/2014/main" xmlns="" id="{F58A763B-476A-47CC-8FA2-B94AD07C0ACF}"/>
                </a:ext>
              </a:extLst>
            </p:cNvPr>
            <p:cNvSpPr/>
            <p:nvPr>
              <p:custDataLst>
                <p:tags r:id="rId30"/>
              </p:custDataLst>
            </p:nvPr>
          </p:nvSpPr>
          <p:spPr>
            <a:xfrm>
              <a:off x="6364582" y="413981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fristet auf Pilotierung</a:t>
              </a:r>
            </a:p>
          </p:txBody>
        </p:sp>
        <p:sp>
          <p:nvSpPr>
            <p:cNvPr id="59" name="Rechteck 58">
              <a:extLst>
                <a:ext uri="{FF2B5EF4-FFF2-40B4-BE49-F238E27FC236}">
                  <a16:creationId xmlns:a16="http://schemas.microsoft.com/office/drawing/2014/main" xmlns="" id="{0851ACE3-1701-4B38-B6B8-A74B4A703B0D}"/>
                </a:ext>
              </a:extLst>
            </p:cNvPr>
            <p:cNvSpPr/>
            <p:nvPr>
              <p:custDataLst>
                <p:tags r:id="rId31"/>
              </p:custDataLst>
            </p:nvPr>
          </p:nvSpPr>
          <p:spPr>
            <a:xfrm>
              <a:off x="1704558" y="5194915"/>
              <a:ext cx="164330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nur Neukunden</a:t>
              </a:r>
            </a:p>
          </p:txBody>
        </p:sp>
        <p:sp>
          <p:nvSpPr>
            <p:cNvPr id="60" name="Rechteck 59">
              <a:extLst>
                <a:ext uri="{FF2B5EF4-FFF2-40B4-BE49-F238E27FC236}">
                  <a16:creationId xmlns:a16="http://schemas.microsoft.com/office/drawing/2014/main" xmlns="" id="{C07AD2FE-A3A3-4496-895F-105529C1DFD5}"/>
                </a:ext>
              </a:extLst>
            </p:cNvPr>
            <p:cNvSpPr/>
            <p:nvPr>
              <p:custDataLst>
                <p:tags r:id="rId32"/>
              </p:custDataLst>
            </p:nvPr>
          </p:nvSpPr>
          <p:spPr>
            <a:xfrm>
              <a:off x="3447652"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kontingentiert</a:t>
              </a:r>
            </a:p>
          </p:txBody>
        </p:sp>
        <p:sp>
          <p:nvSpPr>
            <p:cNvPr id="61" name="Rechteck 60">
              <a:extLst>
                <a:ext uri="{FF2B5EF4-FFF2-40B4-BE49-F238E27FC236}">
                  <a16:creationId xmlns:a16="http://schemas.microsoft.com/office/drawing/2014/main" xmlns="" id="{BF57FF35-16C4-4873-B8D7-1DA4DB519867}"/>
                </a:ext>
              </a:extLst>
            </p:cNvPr>
            <p:cNvSpPr/>
            <p:nvPr>
              <p:custDataLst>
                <p:tags r:id="rId33"/>
              </p:custDataLst>
            </p:nvPr>
          </p:nvSpPr>
          <p:spPr>
            <a:xfrm>
              <a:off x="5199575" y="5194915"/>
              <a:ext cx="1643305"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schränkung Tageszeit</a:t>
              </a:r>
            </a:p>
          </p:txBody>
        </p:sp>
        <p:sp>
          <p:nvSpPr>
            <p:cNvPr id="62" name="Rechteck 61">
              <a:extLst>
                <a:ext uri="{FF2B5EF4-FFF2-40B4-BE49-F238E27FC236}">
                  <a16:creationId xmlns:a16="http://schemas.microsoft.com/office/drawing/2014/main" xmlns="" id="{FCE95CC9-5763-4C8D-9C2C-811F2B762C59}"/>
                </a:ext>
              </a:extLst>
            </p:cNvPr>
            <p:cNvSpPr/>
            <p:nvPr>
              <p:custDataLst>
                <p:tags r:id="rId34"/>
              </p:custDataLst>
            </p:nvPr>
          </p:nvSpPr>
          <p:spPr>
            <a:xfrm>
              <a:off x="6951497" y="5194915"/>
              <a:ext cx="163448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bei App-Buchung</a:t>
              </a:r>
            </a:p>
          </p:txBody>
        </p:sp>
        <p:sp>
          <p:nvSpPr>
            <p:cNvPr id="63" name="Rechteck 62">
              <a:extLst>
                <a:ext uri="{FF2B5EF4-FFF2-40B4-BE49-F238E27FC236}">
                  <a16:creationId xmlns:a16="http://schemas.microsoft.com/office/drawing/2014/main" xmlns="" id="{5A64E592-42C6-43C4-8EA4-F19FDFE87EE3}"/>
                </a:ext>
              </a:extLst>
            </p:cNvPr>
            <p:cNvSpPr/>
            <p:nvPr>
              <p:custDataLst>
                <p:tags r:id="rId35"/>
              </p:custDataLst>
            </p:nvPr>
          </p:nvSpPr>
          <p:spPr>
            <a:xfrm>
              <a:off x="7289976" y="3084715"/>
              <a:ext cx="1296000"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vorgegebener Wochentag</a:t>
              </a:r>
            </a:p>
          </p:txBody>
        </p:sp>
        <p:sp>
          <p:nvSpPr>
            <p:cNvPr id="42" name="Rechteck 41">
              <a:extLst>
                <a:ext uri="{FF2B5EF4-FFF2-40B4-BE49-F238E27FC236}">
                  <a16:creationId xmlns:a16="http://schemas.microsoft.com/office/drawing/2014/main" xmlns="" id="{7E6D4EBD-B079-42B0-AA2A-E4ED519CA74D}"/>
                </a:ext>
              </a:extLst>
            </p:cNvPr>
            <p:cNvSpPr/>
            <p:nvPr>
              <p:custDataLst>
                <p:tags r:id="rId36"/>
              </p:custDataLst>
            </p:nvPr>
          </p:nvSpPr>
          <p:spPr>
            <a:xfrm>
              <a:off x="539552" y="5194915"/>
              <a:ext cx="1056390" cy="38402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b="1" dirty="0">
                  <a:solidFill>
                    <a:schemeClr val="tx1"/>
                  </a:solidFill>
                </a:rPr>
                <a:t>Sonstiges</a:t>
              </a:r>
            </a:p>
          </p:txBody>
        </p:sp>
        <p:sp>
          <p:nvSpPr>
            <p:cNvPr id="54" name="Rechteck 53">
              <a:extLst>
                <a:ext uri="{FF2B5EF4-FFF2-40B4-BE49-F238E27FC236}">
                  <a16:creationId xmlns:a16="http://schemas.microsoft.com/office/drawing/2014/main" xmlns="" id="{D860A8CC-E4F1-4ACF-B484-B7F886547322}"/>
                </a:ext>
              </a:extLst>
            </p:cNvPr>
            <p:cNvSpPr/>
            <p:nvPr>
              <p:custDataLst>
                <p:tags r:id="rId37"/>
              </p:custDataLst>
            </p:nvPr>
          </p:nvSpPr>
          <p:spPr>
            <a:xfrm>
              <a:off x="1704558"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Übertragbarkeit</a:t>
              </a:r>
            </a:p>
          </p:txBody>
        </p:sp>
        <p:sp>
          <p:nvSpPr>
            <p:cNvPr id="55" name="Rechteck 54">
              <a:extLst>
                <a:ext uri="{FF2B5EF4-FFF2-40B4-BE49-F238E27FC236}">
                  <a16:creationId xmlns:a16="http://schemas.microsoft.com/office/drawing/2014/main" xmlns="" id="{7B859D8B-0830-4A39-A89F-8CFC0D62AC30}"/>
                </a:ext>
              </a:extLst>
            </p:cNvPr>
            <p:cNvSpPr/>
            <p:nvPr>
              <p:custDataLst>
                <p:tags r:id="rId38"/>
              </p:custDataLst>
            </p:nvPr>
          </p:nvSpPr>
          <p:spPr>
            <a:xfrm>
              <a:off x="4034570" y="4667365"/>
              <a:ext cx="2221396"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Mitnahme</a:t>
              </a:r>
            </a:p>
          </p:txBody>
        </p:sp>
        <p:sp>
          <p:nvSpPr>
            <p:cNvPr id="64" name="Rechteck 63">
              <a:extLst>
                <a:ext uri="{FF2B5EF4-FFF2-40B4-BE49-F238E27FC236}">
                  <a16:creationId xmlns:a16="http://schemas.microsoft.com/office/drawing/2014/main" xmlns="" id="{BB785E61-49CC-4BD9-9AA5-3AEF15AEAE06}"/>
                </a:ext>
              </a:extLst>
            </p:cNvPr>
            <p:cNvSpPr/>
            <p:nvPr>
              <p:custDataLst>
                <p:tags r:id="rId39"/>
              </p:custDataLst>
            </p:nvPr>
          </p:nvSpPr>
          <p:spPr>
            <a:xfrm>
              <a:off x="6364582" y="4667365"/>
              <a:ext cx="2221394" cy="384021"/>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dirty="0">
                  <a:solidFill>
                    <a:schemeClr val="tx1"/>
                  </a:solidFill>
                </a:rPr>
                <a:t>weitere</a:t>
              </a:r>
            </a:p>
          </p:txBody>
        </p:sp>
      </p:grpSp>
      <p:grpSp>
        <p:nvGrpSpPr>
          <p:cNvPr id="52" name="Gruppieren 51">
            <a:extLst>
              <a:ext uri="{FF2B5EF4-FFF2-40B4-BE49-F238E27FC236}">
                <a16:creationId xmlns:a16="http://schemas.microsoft.com/office/drawing/2014/main" xmlns="" id="{8FF2B712-1678-4F61-AAAE-6E2C886AA5D7}"/>
              </a:ext>
            </a:extLst>
          </p:cNvPr>
          <p:cNvGrpSpPr/>
          <p:nvPr/>
        </p:nvGrpSpPr>
        <p:grpSpPr>
          <a:xfrm>
            <a:off x="508429" y="1530164"/>
            <a:ext cx="286806" cy="325097"/>
            <a:chOff x="8128109" y="2310110"/>
            <a:chExt cx="360040" cy="408108"/>
          </a:xfrm>
        </p:grpSpPr>
        <p:sp>
          <p:nvSpPr>
            <p:cNvPr id="53" name="Ellipse 52">
              <a:extLst>
                <a:ext uri="{FF2B5EF4-FFF2-40B4-BE49-F238E27FC236}">
                  <a16:creationId xmlns:a16="http://schemas.microsoft.com/office/drawing/2014/main" xmlns="" id="{C1F1F8C2-BD9F-4160-9EA6-23BC6F3D69EC}"/>
                </a:ext>
              </a:extLst>
            </p:cNvPr>
            <p:cNvSpPr/>
            <p:nvPr/>
          </p:nvSpPr>
          <p:spPr>
            <a:xfrm>
              <a:off x="8128109" y="2310110"/>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5" name="Grafik 64">
              <a:extLst>
                <a:ext uri="{FF2B5EF4-FFF2-40B4-BE49-F238E27FC236}">
                  <a16:creationId xmlns:a16="http://schemas.microsoft.com/office/drawing/2014/main" xmlns="" id="{97F69F31-8BDB-4BF0-A287-C16479CFEC54}"/>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8196049" y="2371579"/>
              <a:ext cx="223871" cy="346639"/>
            </a:xfrm>
            <a:prstGeom prst="rect">
              <a:avLst/>
            </a:prstGeom>
          </p:spPr>
        </p:pic>
      </p:grpSp>
      <p:grpSp>
        <p:nvGrpSpPr>
          <p:cNvPr id="66" name="Gruppieren 65">
            <a:extLst>
              <a:ext uri="{FF2B5EF4-FFF2-40B4-BE49-F238E27FC236}">
                <a16:creationId xmlns:a16="http://schemas.microsoft.com/office/drawing/2014/main" xmlns="" id="{81DCBAD6-7D38-428B-9F25-B31F2FAB151F}"/>
              </a:ext>
            </a:extLst>
          </p:cNvPr>
          <p:cNvGrpSpPr/>
          <p:nvPr/>
        </p:nvGrpSpPr>
        <p:grpSpPr>
          <a:xfrm>
            <a:off x="508078" y="2123187"/>
            <a:ext cx="287509" cy="287509"/>
            <a:chOff x="3570185" y="1933451"/>
            <a:chExt cx="360040" cy="360040"/>
          </a:xfrm>
        </p:grpSpPr>
        <p:sp>
          <p:nvSpPr>
            <p:cNvPr id="67" name="Ellipse 66">
              <a:extLst>
                <a:ext uri="{FF2B5EF4-FFF2-40B4-BE49-F238E27FC236}">
                  <a16:creationId xmlns:a16="http://schemas.microsoft.com/office/drawing/2014/main" xmlns="" id="{057CFE6D-6226-4A49-8C0D-38E16CB74633}"/>
                </a:ext>
              </a:extLst>
            </p:cNvPr>
            <p:cNvSpPr/>
            <p:nvPr/>
          </p:nvSpPr>
          <p:spPr>
            <a:xfrm>
              <a:off x="3570185" y="1933451"/>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68" name="Grafik 67">
              <a:extLst>
                <a:ext uri="{FF2B5EF4-FFF2-40B4-BE49-F238E27FC236}">
                  <a16:creationId xmlns:a16="http://schemas.microsoft.com/office/drawing/2014/main" xmlns="" id="{7CB5B6C0-ED92-48CA-B589-E9EEBE817A72}"/>
                </a:ext>
              </a:extLst>
            </p:cNvPr>
            <p:cNvPicPr>
              <a:picLocks noChangeAspect="1"/>
            </p:cNvPicPr>
            <p:nvPr/>
          </p:nvPicPr>
          <p:blipFill>
            <a:blip r:embed="rId46">
              <a:extLst>
                <a:ext uri="{96DAC541-7B7A-43D3-8B79-37D633B846F1}">
                  <asvg:svgBlip xmlns:asvg="http://schemas.microsoft.com/office/drawing/2016/SVG/main" xmlns="" r:embed="rId47"/>
                </a:ext>
              </a:extLst>
            </a:blip>
            <a:stretch>
              <a:fillRect/>
            </a:stretch>
          </p:blipFill>
          <p:spPr>
            <a:xfrm>
              <a:off x="3628791" y="1999495"/>
              <a:ext cx="246569" cy="253821"/>
            </a:xfrm>
            <a:prstGeom prst="rect">
              <a:avLst/>
            </a:prstGeom>
          </p:spPr>
        </p:pic>
      </p:grpSp>
      <p:grpSp>
        <p:nvGrpSpPr>
          <p:cNvPr id="69" name="Gruppieren 68">
            <a:extLst>
              <a:ext uri="{FF2B5EF4-FFF2-40B4-BE49-F238E27FC236}">
                <a16:creationId xmlns:a16="http://schemas.microsoft.com/office/drawing/2014/main" xmlns="" id="{CDD68D23-0DEA-4BB1-9AD2-9644D5A2FD8C}"/>
              </a:ext>
            </a:extLst>
          </p:cNvPr>
          <p:cNvGrpSpPr/>
          <p:nvPr/>
        </p:nvGrpSpPr>
        <p:grpSpPr>
          <a:xfrm>
            <a:off x="505674" y="2768502"/>
            <a:ext cx="292316" cy="292316"/>
            <a:chOff x="539336" y="3373264"/>
            <a:chExt cx="360040" cy="360040"/>
          </a:xfrm>
        </p:grpSpPr>
        <p:sp>
          <p:nvSpPr>
            <p:cNvPr id="70" name="Ellipse 69">
              <a:extLst>
                <a:ext uri="{FF2B5EF4-FFF2-40B4-BE49-F238E27FC236}">
                  <a16:creationId xmlns:a16="http://schemas.microsoft.com/office/drawing/2014/main" xmlns="" id="{97A87C14-6A3D-45BF-92DF-B3F5D2827DF6}"/>
                </a:ext>
              </a:extLst>
            </p:cNvPr>
            <p:cNvSpPr/>
            <p:nvPr/>
          </p:nvSpPr>
          <p:spPr>
            <a:xfrm>
              <a:off x="539336" y="3373264"/>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2" name="Grafik 71">
              <a:extLst>
                <a:ext uri="{FF2B5EF4-FFF2-40B4-BE49-F238E27FC236}">
                  <a16:creationId xmlns:a16="http://schemas.microsoft.com/office/drawing/2014/main" xmlns="" id="{3C6AFA03-3487-4C67-9476-05EBB4E104C7}"/>
                </a:ext>
              </a:extLst>
            </p:cNvPr>
            <p:cNvPicPr>
              <a:picLocks noChangeAspect="1"/>
            </p:cNvPicPr>
            <p:nvPr/>
          </p:nvPicPr>
          <p:blipFill>
            <a:blip r:embed="rId48">
              <a:extLst>
                <a:ext uri="{96DAC541-7B7A-43D3-8B79-37D633B846F1}">
                  <asvg:svgBlip xmlns:asvg="http://schemas.microsoft.com/office/drawing/2016/SVG/main" xmlns="" r:embed="rId49"/>
                </a:ext>
              </a:extLst>
            </a:blip>
            <a:stretch>
              <a:fillRect/>
            </a:stretch>
          </p:blipFill>
          <p:spPr>
            <a:xfrm>
              <a:off x="605602" y="3429573"/>
              <a:ext cx="219163" cy="236696"/>
            </a:xfrm>
            <a:prstGeom prst="rect">
              <a:avLst/>
            </a:prstGeom>
          </p:spPr>
        </p:pic>
      </p:grpSp>
      <p:grpSp>
        <p:nvGrpSpPr>
          <p:cNvPr id="73" name="Gruppieren 72">
            <a:extLst>
              <a:ext uri="{FF2B5EF4-FFF2-40B4-BE49-F238E27FC236}">
                <a16:creationId xmlns:a16="http://schemas.microsoft.com/office/drawing/2014/main" xmlns="" id="{BF32F836-94C3-4B2E-9BD5-29762F7962BC}"/>
              </a:ext>
            </a:extLst>
          </p:cNvPr>
          <p:cNvGrpSpPr/>
          <p:nvPr/>
        </p:nvGrpSpPr>
        <p:grpSpPr>
          <a:xfrm>
            <a:off x="505674" y="3412812"/>
            <a:ext cx="292316" cy="292316"/>
            <a:chOff x="5168728" y="3858993"/>
            <a:chExt cx="360040" cy="360040"/>
          </a:xfrm>
        </p:grpSpPr>
        <p:sp>
          <p:nvSpPr>
            <p:cNvPr id="74" name="Ellipse 73">
              <a:extLst>
                <a:ext uri="{FF2B5EF4-FFF2-40B4-BE49-F238E27FC236}">
                  <a16:creationId xmlns:a16="http://schemas.microsoft.com/office/drawing/2014/main" xmlns="" id="{A41895A4-95DB-4425-ABFA-1A8F453027B2}"/>
                </a:ext>
              </a:extLst>
            </p:cNvPr>
            <p:cNvSpPr/>
            <p:nvPr/>
          </p:nvSpPr>
          <p:spPr>
            <a:xfrm>
              <a:off x="5168728" y="38589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75" name="Grafik 74">
              <a:extLst>
                <a:ext uri="{FF2B5EF4-FFF2-40B4-BE49-F238E27FC236}">
                  <a16:creationId xmlns:a16="http://schemas.microsoft.com/office/drawing/2014/main" xmlns="" id="{B0D9775B-CA97-4AA4-BF75-EE5B0FD0B378}"/>
                </a:ext>
              </a:extLst>
            </p:cNvPr>
            <p:cNvPicPr>
              <a:picLocks noChangeAspect="1"/>
            </p:cNvPicPr>
            <p:nvPr/>
          </p:nvPicPr>
          <p:blipFill>
            <a:blip r:embed="rId50">
              <a:extLst>
                <a:ext uri="{96DAC541-7B7A-43D3-8B79-37D633B846F1}">
                  <asvg:svgBlip xmlns:asvg="http://schemas.microsoft.com/office/drawing/2016/SVG/main" xmlns="" r:embed="rId51"/>
                </a:ext>
              </a:extLst>
            </a:blip>
            <a:stretch>
              <a:fillRect/>
            </a:stretch>
          </p:blipFill>
          <p:spPr>
            <a:xfrm>
              <a:off x="5245228" y="3917208"/>
              <a:ext cx="232513" cy="240530"/>
            </a:xfrm>
            <a:prstGeom prst="rect">
              <a:avLst/>
            </a:prstGeom>
          </p:spPr>
        </p:pic>
      </p:grpSp>
      <p:grpSp>
        <p:nvGrpSpPr>
          <p:cNvPr id="77" name="Gruppieren 76">
            <a:extLst>
              <a:ext uri="{FF2B5EF4-FFF2-40B4-BE49-F238E27FC236}">
                <a16:creationId xmlns:a16="http://schemas.microsoft.com/office/drawing/2014/main" xmlns="" id="{51B3E8DF-86FC-4C20-B192-2EE50F3ACDC6}"/>
              </a:ext>
            </a:extLst>
          </p:cNvPr>
          <p:cNvGrpSpPr/>
          <p:nvPr/>
        </p:nvGrpSpPr>
        <p:grpSpPr>
          <a:xfrm>
            <a:off x="505674" y="4057122"/>
            <a:ext cx="292316" cy="292316"/>
            <a:chOff x="7183516" y="3368793"/>
            <a:chExt cx="360040" cy="360040"/>
          </a:xfrm>
        </p:grpSpPr>
        <p:sp>
          <p:nvSpPr>
            <p:cNvPr id="78" name="Ellipse 77">
              <a:extLst>
                <a:ext uri="{FF2B5EF4-FFF2-40B4-BE49-F238E27FC236}">
                  <a16:creationId xmlns:a16="http://schemas.microsoft.com/office/drawing/2014/main" xmlns="" id="{26CB4BB7-D0ED-4C67-83D9-A6BB6B0CBA08}"/>
                </a:ext>
              </a:extLst>
            </p:cNvPr>
            <p:cNvSpPr/>
            <p:nvPr/>
          </p:nvSpPr>
          <p:spPr>
            <a:xfrm>
              <a:off x="7183516" y="336879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0" name="Grafik 79">
              <a:extLst>
                <a:ext uri="{FF2B5EF4-FFF2-40B4-BE49-F238E27FC236}">
                  <a16:creationId xmlns:a16="http://schemas.microsoft.com/office/drawing/2014/main" xmlns="" id="{E1C0C5B2-CFE6-4BE8-83A4-0FB067DFB227}"/>
                </a:ext>
              </a:extLst>
            </p:cNvPr>
            <p:cNvPicPr>
              <a:picLocks noChangeAspect="1"/>
            </p:cNvPicPr>
            <p:nvPr/>
          </p:nvPicPr>
          <p:blipFill>
            <a:blip r:embed="rId52">
              <a:extLst>
                <a:ext uri="{96DAC541-7B7A-43D3-8B79-37D633B846F1}">
                  <asvg:svgBlip xmlns:asvg="http://schemas.microsoft.com/office/drawing/2016/SVG/main" xmlns="" r:embed="rId53"/>
                </a:ext>
              </a:extLst>
            </a:blip>
            <a:stretch>
              <a:fillRect/>
            </a:stretch>
          </p:blipFill>
          <p:spPr>
            <a:xfrm>
              <a:off x="7221872" y="3427577"/>
              <a:ext cx="276345" cy="247256"/>
            </a:xfrm>
            <a:prstGeom prst="rect">
              <a:avLst/>
            </a:prstGeom>
          </p:spPr>
        </p:pic>
      </p:grpSp>
      <p:grpSp>
        <p:nvGrpSpPr>
          <p:cNvPr id="81" name="Gruppieren 80">
            <a:extLst>
              <a:ext uri="{FF2B5EF4-FFF2-40B4-BE49-F238E27FC236}">
                <a16:creationId xmlns:a16="http://schemas.microsoft.com/office/drawing/2014/main" xmlns="" id="{726C17C0-CFBA-4883-8CC6-A51D5C2FEC74}"/>
              </a:ext>
            </a:extLst>
          </p:cNvPr>
          <p:cNvGrpSpPr/>
          <p:nvPr/>
        </p:nvGrpSpPr>
        <p:grpSpPr>
          <a:xfrm>
            <a:off x="505674" y="4692158"/>
            <a:ext cx="292316" cy="292316"/>
            <a:chOff x="5166850" y="3372405"/>
            <a:chExt cx="360040" cy="360040"/>
          </a:xfrm>
        </p:grpSpPr>
        <p:sp>
          <p:nvSpPr>
            <p:cNvPr id="82" name="Ellipse 81">
              <a:extLst>
                <a:ext uri="{FF2B5EF4-FFF2-40B4-BE49-F238E27FC236}">
                  <a16:creationId xmlns:a16="http://schemas.microsoft.com/office/drawing/2014/main" xmlns="" id="{AB6EB085-2160-44B2-BB17-5E87B3E3E7B8}"/>
                </a:ext>
              </a:extLst>
            </p:cNvPr>
            <p:cNvSpPr/>
            <p:nvPr/>
          </p:nvSpPr>
          <p:spPr>
            <a:xfrm>
              <a:off x="5166850" y="3372405"/>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3" name="Grafik 82">
              <a:extLst>
                <a:ext uri="{FF2B5EF4-FFF2-40B4-BE49-F238E27FC236}">
                  <a16:creationId xmlns:a16="http://schemas.microsoft.com/office/drawing/2014/main" xmlns="" id="{FFE0EADD-86B5-482B-87A1-A15578FD736A}"/>
                </a:ext>
              </a:extLst>
            </p:cNvPr>
            <p:cNvPicPr>
              <a:picLocks noChangeAspect="1"/>
            </p:cNvPicPr>
            <p:nvPr/>
          </p:nvPicPr>
          <p:blipFill>
            <a:blip r:embed="rId54">
              <a:extLst>
                <a:ext uri="{96DAC541-7B7A-43D3-8B79-37D633B846F1}">
                  <asvg:svgBlip xmlns:asvg="http://schemas.microsoft.com/office/drawing/2016/SVG/main" xmlns="" r:embed="rId55"/>
                </a:ext>
              </a:extLst>
            </a:blip>
            <a:stretch>
              <a:fillRect/>
            </a:stretch>
          </p:blipFill>
          <p:spPr>
            <a:xfrm>
              <a:off x="5250168" y="3411331"/>
              <a:ext cx="224424" cy="265984"/>
            </a:xfrm>
            <a:prstGeom prst="rect">
              <a:avLst/>
            </a:prstGeom>
          </p:spPr>
        </p:pic>
      </p:grpSp>
      <p:grpSp>
        <p:nvGrpSpPr>
          <p:cNvPr id="84" name="Gruppieren 83">
            <a:extLst>
              <a:ext uri="{FF2B5EF4-FFF2-40B4-BE49-F238E27FC236}">
                <a16:creationId xmlns:a16="http://schemas.microsoft.com/office/drawing/2014/main" xmlns="" id="{788EE319-C222-473D-A474-3240468ACD15}"/>
              </a:ext>
            </a:extLst>
          </p:cNvPr>
          <p:cNvGrpSpPr/>
          <p:nvPr/>
        </p:nvGrpSpPr>
        <p:grpSpPr>
          <a:xfrm>
            <a:off x="503440" y="5334433"/>
            <a:ext cx="296785" cy="296785"/>
            <a:chOff x="533615" y="2350733"/>
            <a:chExt cx="360040" cy="360040"/>
          </a:xfrm>
        </p:grpSpPr>
        <p:sp>
          <p:nvSpPr>
            <p:cNvPr id="86" name="Ellipse 85">
              <a:extLst>
                <a:ext uri="{FF2B5EF4-FFF2-40B4-BE49-F238E27FC236}">
                  <a16:creationId xmlns:a16="http://schemas.microsoft.com/office/drawing/2014/main" xmlns="" id="{C77A961C-250B-40A8-BDA5-76A6A16248DB}"/>
                </a:ext>
              </a:extLst>
            </p:cNvPr>
            <p:cNvSpPr/>
            <p:nvPr/>
          </p:nvSpPr>
          <p:spPr>
            <a:xfrm>
              <a:off x="533615" y="2350733"/>
              <a:ext cx="360040" cy="3600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pic>
          <p:nvPicPr>
            <p:cNvPr id="88" name="Grafik 87">
              <a:extLst>
                <a:ext uri="{FF2B5EF4-FFF2-40B4-BE49-F238E27FC236}">
                  <a16:creationId xmlns:a16="http://schemas.microsoft.com/office/drawing/2014/main" xmlns="" id="{348A8DA3-7C83-456B-9844-0FF45EB1DA7A}"/>
                </a:ext>
              </a:extLst>
            </p:cNvPr>
            <p:cNvPicPr>
              <a:picLocks noChangeAspect="1"/>
            </p:cNvPicPr>
            <p:nvPr/>
          </p:nvPicPr>
          <p:blipFill>
            <a:blip r:embed="rId56">
              <a:extLst>
                <a:ext uri="{96DAC541-7B7A-43D3-8B79-37D633B846F1}">
                  <asvg:svgBlip xmlns:asvg="http://schemas.microsoft.com/office/drawing/2016/SVG/main" xmlns="" r:embed="rId57"/>
                </a:ext>
              </a:extLst>
            </a:blip>
            <a:stretch>
              <a:fillRect/>
            </a:stretch>
          </p:blipFill>
          <p:spPr>
            <a:xfrm>
              <a:off x="584311" y="2392680"/>
              <a:ext cx="259698" cy="235351"/>
            </a:xfrm>
            <a:prstGeom prst="rect">
              <a:avLst/>
            </a:prstGeom>
          </p:spPr>
        </p:pic>
      </p:grpSp>
    </p:spTree>
    <p:extLst>
      <p:ext uri="{BB962C8B-B14F-4D97-AF65-F5344CB8AC3E}">
        <p14:creationId xmlns:p14="http://schemas.microsoft.com/office/powerpoint/2010/main" val="8280022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3097" name="think-cell Folie" r:id="rId6" imgW="270" imgH="270" progId="TCLayout.ActiveDocument.1">
                  <p:embed/>
                </p:oleObj>
              </mc:Choice>
              <mc:Fallback>
                <p:oleObj name="think-cell Folie" r:id="rId6" imgW="270" imgH="270" progId="TCLayout.ActiveDocument.1">
                  <p:embed/>
                  <p:pic>
                    <p:nvPicPr>
                      <p:cNvPr id="5" name="Objekt 4"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 id="{3426D875-3595-47E5-A46C-C51B2949528E}"/>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Jahrestickets für 365 € sind in Deutschland häufig noch zeitlich befristete Projekte, deren </a:t>
            </a:r>
            <a:r>
              <a:rPr lang="de-DE"/>
              <a:t>Nachfrage gering </a:t>
            </a:r>
            <a:r>
              <a:rPr lang="de-DE" dirty="0"/>
              <a:t>ist</a:t>
            </a:r>
          </a:p>
        </p:txBody>
      </p:sp>
      <p:sp>
        <p:nvSpPr>
          <p:cNvPr id="3" name="Inhaltsplatzhalter 2"/>
          <p:cNvSpPr>
            <a:spLocks noGrp="1"/>
          </p:cNvSpPr>
          <p:nvPr>
            <p:ph idx="1"/>
          </p:nvPr>
        </p:nvSpPr>
        <p:spPr/>
        <p:txBody>
          <a:bodyPr/>
          <a:lstStyle/>
          <a:p>
            <a:r>
              <a:rPr lang="de-DE" dirty="0"/>
              <a:t>Zusammenfassung: Aktuelle Aktivitäten in Deutschland</a:t>
            </a:r>
          </a:p>
        </p:txBody>
      </p:sp>
      <p:sp>
        <p:nvSpPr>
          <p:cNvPr id="4" name="Foliennummernplatzhalter 3"/>
          <p:cNvSpPr>
            <a:spLocks noGrp="1"/>
          </p:cNvSpPr>
          <p:nvPr>
            <p:ph type="sldNum" sz="quarter" idx="11"/>
          </p:nvPr>
        </p:nvSpPr>
        <p:spPr>
          <a:xfrm>
            <a:off x="519428" y="6295779"/>
            <a:ext cx="113814" cy="246221"/>
          </a:xfrm>
        </p:spPr>
        <p:txBody>
          <a:bodyPr/>
          <a:lstStyle/>
          <a:p>
            <a:fld id="{CD21EFEB-933F-4F46-A5AD-B6372944D9E5}" type="slidenum">
              <a:rPr lang="de-DE" smtClean="0"/>
              <a:pPr/>
              <a:t>67</a:t>
            </a:fld>
            <a:endParaRPr lang="de-DE" dirty="0"/>
          </a:p>
        </p:txBody>
      </p:sp>
      <p:sp>
        <p:nvSpPr>
          <p:cNvPr id="7" name="Rechteck 6"/>
          <p:cNvSpPr/>
          <p:nvPr/>
        </p:nvSpPr>
        <p:spPr>
          <a:xfrm>
            <a:off x="539552" y="1628775"/>
            <a:ext cx="1769571" cy="4321175"/>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sz="1600" b="1" dirty="0">
              <a:solidFill>
                <a:schemeClr val="tx1"/>
              </a:solidFill>
            </a:endParaRPr>
          </a:p>
        </p:txBody>
      </p:sp>
      <p:sp>
        <p:nvSpPr>
          <p:cNvPr id="9" name="Inhaltsplatzhalter 2"/>
          <p:cNvSpPr txBox="1">
            <a:spLocks/>
          </p:cNvSpPr>
          <p:nvPr/>
        </p:nvSpPr>
        <p:spPr>
          <a:xfrm>
            <a:off x="971601" y="1916832"/>
            <a:ext cx="7640587" cy="3745060"/>
          </a:xfrm>
          <a:prstGeom prst="rect">
            <a:avLst/>
          </a:prstGeom>
          <a:solidFill>
            <a:schemeClr val="bg1"/>
          </a:solidFill>
          <a:ln>
            <a:solidFill>
              <a:schemeClr val="accent5"/>
            </a:solidFill>
          </a:ln>
        </p:spPr>
        <p:txBody>
          <a:bodyPr vert="horz" lIns="90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a:r>
              <a:rPr lang="de-DE" sz="1400" dirty="0"/>
              <a:t>In Deutschland sind bereits bestehende sowie zukünftig geplante Umsetzungen von </a:t>
            </a:r>
            <a:br>
              <a:rPr lang="de-DE" sz="1400" dirty="0"/>
            </a:br>
            <a:r>
              <a:rPr lang="de-DE" sz="1400" b="1" dirty="0"/>
              <a:t>365-Euro-Tickets zurzeit ausschließlich mit Fördermitteln</a:t>
            </a:r>
            <a:r>
              <a:rPr lang="de-DE" sz="1400" dirty="0"/>
              <a:t> aus zeitlich befristeten Projekten verknüpft.</a:t>
            </a:r>
          </a:p>
          <a:p>
            <a:pPr lvl="2"/>
            <a:r>
              <a:rPr lang="de-DE" sz="1400" dirty="0"/>
              <a:t>Neben der zeitlichen Befristung können weitere Einschränkungen für eine </a:t>
            </a:r>
            <a:r>
              <a:rPr lang="de-DE" sz="1400" b="1" dirty="0"/>
              <a:t>nach außen hin „halbherzig“ </a:t>
            </a:r>
            <a:r>
              <a:rPr lang="de-DE" sz="1400" dirty="0"/>
              <a:t>wirkende Umsetzung sorgen. Das gilt beispielsweise, wenn das Konzept nicht für alle zugänglich ist (nur Neukunden), wenn wichtige Zusatzleistungen entfallen, die räumliche Gültigkeit beschränkt ist (kann Pendler ausschließen), etc.</a:t>
            </a:r>
          </a:p>
          <a:p>
            <a:pPr lvl="2"/>
            <a:r>
              <a:rPr lang="de-DE" sz="1400" dirty="0"/>
              <a:t>Ein </a:t>
            </a:r>
            <a:r>
              <a:rPr lang="de-DE" sz="1400" b="1" dirty="0"/>
              <a:t>365-Euro-Ticket mit diesen Rahmenbedingungen birgt Risiken</a:t>
            </a:r>
            <a:r>
              <a:rPr lang="de-DE" sz="1400" dirty="0"/>
              <a:t>, z. B.</a:t>
            </a:r>
          </a:p>
          <a:p>
            <a:pPr lvl="3"/>
            <a:r>
              <a:rPr lang="de-DE" sz="1400" dirty="0"/>
              <a:t>schlechte Presse für Stadt/Region/Verkehrsverbund</a:t>
            </a:r>
          </a:p>
          <a:p>
            <a:pPr lvl="3"/>
            <a:r>
              <a:rPr lang="de-DE" sz="1400" dirty="0"/>
              <a:t>Vertrauensverlust bei bestehenden oder potenziellen Kunden</a:t>
            </a:r>
          </a:p>
          <a:p>
            <a:pPr lvl="3"/>
            <a:r>
              <a:rPr lang="de-DE" sz="1400" dirty="0"/>
              <a:t>geringere politische und gesellschaftliche Akzeptanz für weitere Tarifprojekte</a:t>
            </a:r>
          </a:p>
          <a:p>
            <a:pPr lvl="2"/>
            <a:r>
              <a:rPr lang="de-DE" sz="1400" dirty="0"/>
              <a:t>Mit Blick auf die aktuellen Projekte für Vergünstigungen im ÖPNV in Deutschland gibt es eine Vielzahl an unterschiedlichen Gestaltungsoptionen. Beispielsweise können </a:t>
            </a:r>
            <a:r>
              <a:rPr lang="de-DE" sz="1400" b="1" dirty="0"/>
              <a:t>gezielte Tarifmaßnahmen für Kundengruppen</a:t>
            </a:r>
            <a:r>
              <a:rPr lang="de-DE" sz="1400" dirty="0"/>
              <a:t> die Nutzung des ÖPNV möglicherweise im höheren Maße stärken als ein 365-Euro-Ticket für alle.</a:t>
            </a:r>
          </a:p>
        </p:txBody>
      </p:sp>
    </p:spTree>
    <p:extLst>
      <p:ext uri="{BB962C8B-B14F-4D97-AF65-F5344CB8AC3E}">
        <p14:creationId xmlns:p14="http://schemas.microsoft.com/office/powerpoint/2010/main" val="7346236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76030749-54D0-4CDC-911D-B03628263D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9089" name="think-cell Folie" r:id="rId4" imgW="530" imgH="531" progId="TCLayout.ActiveDocument.1">
                  <p:embed/>
                </p:oleObj>
              </mc:Choice>
              <mc:Fallback>
                <p:oleObj name="think-cell Folie" r:id="rId4" imgW="530" imgH="531" progId="TCLayout.ActiveDocument.1">
                  <p:embed/>
                  <p:pic>
                    <p:nvPicPr>
                      <p:cNvPr id="6" name="Objekt 5" hidden="1">
                        <a:extLst>
                          <a:ext uri="{FF2B5EF4-FFF2-40B4-BE49-F238E27FC236}">
                            <a16:creationId xmlns:a16="http://schemas.microsoft.com/office/drawing/2014/main" xmlns="" id="{76030749-54D0-4CDC-911D-B03628263D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xmlns="" id="{C2436E32-B8AA-4841-B923-E51658D62BD3}"/>
              </a:ext>
            </a:extLst>
          </p:cNvPr>
          <p:cNvSpPr>
            <a:spLocks noGrp="1"/>
          </p:cNvSpPr>
          <p:nvPr>
            <p:ph type="title"/>
          </p:nvPr>
        </p:nvSpPr>
        <p:spPr/>
        <p:txBody>
          <a:bodyPr/>
          <a:lstStyle/>
          <a:p>
            <a:r>
              <a:rPr lang="de-DE" dirty="0"/>
              <a:t>Story</a:t>
            </a:r>
          </a:p>
        </p:txBody>
      </p:sp>
      <p:sp>
        <p:nvSpPr>
          <p:cNvPr id="3" name="Inhaltsplatzhalter 2">
            <a:extLst>
              <a:ext uri="{FF2B5EF4-FFF2-40B4-BE49-F238E27FC236}">
                <a16:creationId xmlns:a16="http://schemas.microsoft.com/office/drawing/2014/main" xmlns="" id="{DBCB5490-BD59-4653-8307-B27F5DAABD09}"/>
              </a:ext>
            </a:extLst>
          </p:cNvPr>
          <p:cNvSpPr>
            <a:spLocks noGrp="1"/>
          </p:cNvSpPr>
          <p:nvPr>
            <p:ph idx="1"/>
          </p:nvPr>
        </p:nvSpPr>
        <p:spPr/>
        <p:txBody>
          <a:bodyPr/>
          <a:lstStyle/>
          <a:p>
            <a:r>
              <a:rPr lang="de-DE" dirty="0"/>
              <a:t>Story</a:t>
            </a:r>
          </a:p>
        </p:txBody>
      </p:sp>
      <p:sp>
        <p:nvSpPr>
          <p:cNvPr id="4" name="Textplatzhalter 3">
            <a:extLst>
              <a:ext uri="{FF2B5EF4-FFF2-40B4-BE49-F238E27FC236}">
                <a16:creationId xmlns:a16="http://schemas.microsoft.com/office/drawing/2014/main" xmlns="" id="{A89DC402-7DF1-4C28-B383-B93773D48BFE}"/>
              </a:ext>
            </a:extLst>
          </p:cNvPr>
          <p:cNvSpPr>
            <a:spLocks noGrp="1"/>
          </p:cNvSpPr>
          <p:nvPr>
            <p:ph type="body" sz="quarter" idx="13"/>
          </p:nvPr>
        </p:nvSpPr>
        <p:spPr>
          <a:xfrm>
            <a:off x="446996" y="1546518"/>
            <a:ext cx="8131925" cy="4217284"/>
          </a:xfrm>
        </p:spPr>
        <p:txBody>
          <a:bodyPr/>
          <a:lstStyle/>
          <a:p>
            <a:pPr lvl="2"/>
            <a:r>
              <a:rPr lang="de-DE" sz="1400" dirty="0"/>
              <a:t>ÖPNV hat aus verschiedenen Gründen massives Finanzierungsproblem – und das vor dem Hintergrund einer gewünschten Verkehrswende/Klimawandel</a:t>
            </a:r>
          </a:p>
          <a:p>
            <a:pPr lvl="2"/>
            <a:r>
              <a:rPr lang="de-DE" sz="1400" dirty="0"/>
              <a:t>Politik überbietet sich mich 365 Euro Varianten und verschärft dadurch das Problem zusätzlich</a:t>
            </a:r>
          </a:p>
          <a:p>
            <a:pPr lvl="2"/>
            <a:r>
              <a:rPr lang="de-DE" sz="1400" dirty="0"/>
              <a:t>365 Euro Jahreskarte in Wien hat keine positiven Nachfrageeffekte gebracht</a:t>
            </a:r>
          </a:p>
          <a:p>
            <a:pPr lvl="2"/>
            <a:r>
              <a:rPr lang="de-DE" sz="1400" dirty="0"/>
              <a:t>Wien sollte stattdessen vielmehr Vorbild sein für:</a:t>
            </a:r>
          </a:p>
          <a:p>
            <a:pPr lvl="3"/>
            <a:r>
              <a:rPr lang="de-DE" sz="1400" dirty="0"/>
              <a:t>Massiver und kontinuierlicher Angebotsausbau, d. h. es wird kontinuierlich sehr viel mehr Geld für das System ÖPNV bereitgestellt als in deutschen Städten</a:t>
            </a:r>
          </a:p>
          <a:p>
            <a:pPr lvl="3"/>
            <a:r>
              <a:rPr lang="de-DE" sz="1400" dirty="0"/>
              <a:t>Offensive Parkraumbewirtschaftung als wichtige Finanzierungssäule</a:t>
            </a:r>
          </a:p>
          <a:p>
            <a:pPr lvl="3"/>
            <a:r>
              <a:rPr lang="de-DE" sz="1400" dirty="0"/>
              <a:t>Beteiligung der Arbeitgeber an der Finanzierung des ÖPNV</a:t>
            </a:r>
          </a:p>
          <a:p>
            <a:pPr lvl="2"/>
            <a:r>
              <a:rPr lang="de-DE" sz="1400" dirty="0"/>
              <a:t>Mögliche Instrumente für Deutschland</a:t>
            </a:r>
          </a:p>
          <a:p>
            <a:pPr lvl="2"/>
            <a:r>
              <a:rPr lang="de-DE" sz="1400" dirty="0"/>
              <a:t>Rechtlichen Anpassungsbedarf</a:t>
            </a:r>
          </a:p>
          <a:p>
            <a:pPr lvl="2"/>
            <a:r>
              <a:rPr lang="de-DE" sz="1400" dirty="0"/>
              <a:t>Mögliche Auswirkungen auf Tarif- und Vertrieb im ÖPNV</a:t>
            </a:r>
          </a:p>
        </p:txBody>
      </p:sp>
      <p:sp>
        <p:nvSpPr>
          <p:cNvPr id="5" name="Foliennummernplatzhalter 4">
            <a:extLst>
              <a:ext uri="{FF2B5EF4-FFF2-40B4-BE49-F238E27FC236}">
                <a16:creationId xmlns:a16="http://schemas.microsoft.com/office/drawing/2014/main" xmlns="" id="{84D9346B-0565-4B13-A1BD-B8BF9E5274EE}"/>
              </a:ext>
            </a:extLst>
          </p:cNvPr>
          <p:cNvSpPr>
            <a:spLocks noGrp="1"/>
          </p:cNvSpPr>
          <p:nvPr>
            <p:ph type="sldNum" sz="quarter" idx="15"/>
          </p:nvPr>
        </p:nvSpPr>
        <p:spPr/>
        <p:txBody>
          <a:bodyPr/>
          <a:lstStyle/>
          <a:p>
            <a:fld id="{CD21EFEB-933F-4F46-A5AD-B6372944D9E5}" type="slidenum">
              <a:rPr lang="de-DE" smtClean="0"/>
              <a:pPr/>
              <a:t>68</a:t>
            </a:fld>
            <a:endParaRPr lang="de-DE" dirty="0"/>
          </a:p>
        </p:txBody>
      </p:sp>
      <p:sp>
        <p:nvSpPr>
          <p:cNvPr id="7" name="Rechteck 6">
            <a:extLst>
              <a:ext uri="{FF2B5EF4-FFF2-40B4-BE49-F238E27FC236}">
                <a16:creationId xmlns:a16="http://schemas.microsoft.com/office/drawing/2014/main" xmlns="" id="{473FCFF1-F0EC-4462-87B3-313DB3CF1908}"/>
              </a:ext>
            </a:extLst>
          </p:cNvPr>
          <p:cNvSpPr/>
          <p:nvPr/>
        </p:nvSpPr>
        <p:spPr>
          <a:xfrm>
            <a:off x="-3348880" y="116632"/>
            <a:ext cx="1161033" cy="16561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600" dirty="0">
                <a:solidFill>
                  <a:schemeClr val="tx1"/>
                </a:solidFill>
              </a:rPr>
              <a:t>Von Stefan Weigele internes Storyboard</a:t>
            </a:r>
          </a:p>
        </p:txBody>
      </p:sp>
    </p:spTree>
    <p:extLst>
      <p:ext uri="{BB962C8B-B14F-4D97-AF65-F5344CB8AC3E}">
        <p14:creationId xmlns:p14="http://schemas.microsoft.com/office/powerpoint/2010/main" val="29422906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3"/>
          </p:nvPr>
        </p:nvSpPr>
        <p:spPr/>
        <p:txBody>
          <a:bodyPr/>
          <a:lstStyle/>
          <a:p>
            <a:r>
              <a:rPr lang="de-DE" dirty="0"/>
              <a:t>Agenda</a:t>
            </a:r>
          </a:p>
        </p:txBody>
      </p:sp>
      <p:sp>
        <p:nvSpPr>
          <p:cNvPr id="9" name="Textplatzhalter 8"/>
          <p:cNvSpPr>
            <a:spLocks noGrp="1"/>
          </p:cNvSpPr>
          <p:nvPr>
            <p:ph type="body" sz="quarter" idx="14"/>
          </p:nvPr>
        </p:nvSpPr>
        <p:spPr>
          <a:xfrm>
            <a:off x="992724" y="1690444"/>
            <a:ext cx="7755740" cy="4043606"/>
          </a:xfrm>
        </p:spPr>
        <p:txBody>
          <a:bodyPr/>
          <a:lstStyle/>
          <a:p>
            <a:pPr lvl="2"/>
            <a:r>
              <a:rPr lang="de-DE" b="1" dirty="0">
                <a:solidFill>
                  <a:schemeClr val="accent6"/>
                </a:solidFill>
              </a:rPr>
              <a:t>Der „Wiener Weg“ und die 365-Euro-Jahreskarte – Unsere Lernerfahrungen </a:t>
            </a:r>
          </a:p>
          <a:p>
            <a:pPr lvl="2"/>
            <a:r>
              <a:rPr lang="de-DE" dirty="0"/>
              <a:t>Für eine Mobilität mit Zukunft: Wie finanzieren wir unseren ÖPNV? </a:t>
            </a:r>
          </a:p>
        </p:txBody>
      </p:sp>
      <p:sp>
        <p:nvSpPr>
          <p:cNvPr id="4" name="Foliennummernplatzhalter 3"/>
          <p:cNvSpPr>
            <a:spLocks noGrp="1"/>
          </p:cNvSpPr>
          <p:nvPr>
            <p:ph type="sldNum" sz="quarter" idx="16"/>
          </p:nvPr>
        </p:nvSpPr>
        <p:spPr/>
        <p:txBody>
          <a:bodyPr/>
          <a:lstStyle/>
          <a:p>
            <a:fld id="{CD21EFEB-933F-4F46-A5AD-B6372944D9E5}" type="slidenum">
              <a:rPr lang="de-DE" smtClean="0"/>
              <a:pPr/>
              <a:t>7</a:t>
            </a:fld>
            <a:endParaRPr lang="de-DE" dirty="0"/>
          </a:p>
        </p:txBody>
      </p:sp>
    </p:spTree>
    <p:extLst>
      <p:ext uri="{BB962C8B-B14F-4D97-AF65-F5344CB8AC3E}">
        <p14:creationId xmlns:p14="http://schemas.microsoft.com/office/powerpoint/2010/main" val="3402103098"/>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524461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7277" name="think-cell Folie" r:id="rId6" imgW="270" imgH="270" progId="TCLayout.ActiveDocument.1">
                  <p:embed/>
                </p:oleObj>
              </mc:Choice>
              <mc:Fallback>
                <p:oleObj name="think-cell Folie" r:id="rId6" imgW="270" imgH="270" progId="TCLayout.ActiveDocument.1">
                  <p:embed/>
                  <p:pic>
                    <p:nvPicPr>
                      <p:cNvPr id="10" name="Objek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xmlns="" id="{9A072FE1-5CFF-450B-BA7A-627207FDB888}"/>
              </a:ext>
            </a:extLst>
          </p:cNvPr>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pic>
        <p:nvPicPr>
          <p:cNvPr id="9" name="Grafik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6750" y="2276872"/>
            <a:ext cx="3829350" cy="2718154"/>
          </a:xfrm>
          <a:prstGeom prst="rect">
            <a:avLst/>
          </a:prstGeom>
        </p:spPr>
      </p:pic>
      <p:sp>
        <p:nvSpPr>
          <p:cNvPr id="2" name="Titel 1"/>
          <p:cNvSpPr>
            <a:spLocks noGrp="1"/>
          </p:cNvSpPr>
          <p:nvPr>
            <p:ph type="title"/>
          </p:nvPr>
        </p:nvSpPr>
        <p:spPr>
          <a:xfrm>
            <a:off x="446995" y="281196"/>
            <a:ext cx="8389029" cy="648072"/>
          </a:xfrm>
        </p:spPr>
        <p:txBody>
          <a:bodyPr/>
          <a:lstStyle/>
          <a:p>
            <a:r>
              <a:rPr lang="de-DE" dirty="0"/>
              <a:t>Die Bürgermeisterin Vassilakou konnte 2011 eine signifikante Absenkung des Jahreskartenpreises durchsetzen</a:t>
            </a:r>
          </a:p>
        </p:txBody>
      </p:sp>
      <p:sp>
        <p:nvSpPr>
          <p:cNvPr id="3" name="Inhaltsplatzhalter 2"/>
          <p:cNvSpPr>
            <a:spLocks noGrp="1"/>
          </p:cNvSpPr>
          <p:nvPr>
            <p:ph idx="1"/>
          </p:nvPr>
        </p:nvSpPr>
        <p:spPr/>
        <p:txBody>
          <a:bodyPr/>
          <a:lstStyle/>
          <a:p>
            <a:r>
              <a:rPr lang="de-DE" dirty="0"/>
              <a:t>Politische Ausgangslage mit Folgewirkung </a:t>
            </a:r>
          </a:p>
        </p:txBody>
      </p:sp>
      <p:sp>
        <p:nvSpPr>
          <p:cNvPr id="4" name="Foliennummernplatzhalter 3"/>
          <p:cNvSpPr>
            <a:spLocks noGrp="1"/>
          </p:cNvSpPr>
          <p:nvPr>
            <p:ph type="sldNum" sz="quarter" idx="11"/>
          </p:nvPr>
        </p:nvSpPr>
        <p:spPr>
          <a:xfrm>
            <a:off x="519428" y="6295779"/>
            <a:ext cx="113814" cy="246221"/>
          </a:xfrm>
        </p:spPr>
        <p:txBody>
          <a:bodyPr/>
          <a:lstStyle/>
          <a:p>
            <a:fld id="{CD21EFEB-933F-4F46-A5AD-B6372944D9E5}" type="slidenum">
              <a:rPr lang="de-DE" smtClean="0"/>
              <a:pPr/>
              <a:t>8</a:t>
            </a:fld>
            <a:endParaRPr lang="de-DE" dirty="0"/>
          </a:p>
        </p:txBody>
      </p:sp>
      <p:sp>
        <p:nvSpPr>
          <p:cNvPr id="6" name="AutoShape 4" descr="data:image/jpeg;base64,/9j/4AAQSkZJRgABAQAAAQABAAD/2wCEAAkGBhQSERUUExMVFRQWGBcYGBcXFBgVFBQYFRcVFxYXFBgXHCYeHBklGhgUHy8gIycpLCwsFx4xNTAqNSYrLCkBCQoKDgwOGg8PGi8iHyQsKiwqLSwsKSwsLC8sLC0sLSwsLCwsKSksLCwsLCwtLCwsLCwsLCwpKiwsLCwpLCwsLP/AABEIAL0BCwMBIgACEQEDEQH/xAAcAAACAwEBAQEAAAAAAAAAAAAFBgMEBwIBAAj/xABDEAACAQIEAwYDBgUDAwIHAQABAgMAEQQFEiExQVEGEyJhcYGRobEHFCMywfBCUnLR4WKSohWC8bLCFyUzQ2ODoxb/xAAaAQACAwEBAAAAAAAAAAAAAAADBAECBQAG/8QAMxEAAQQBAwEGBAYBBQAAAAAAAQACAxEhBBIxQQUTIlFhcYHB0fAUMkKRoeGxBhUkM1L/2gAMAwEAAhEDEQA/AHJsvkJ/z61A2WNfcn4016L1FNhb0mYxVJsMahGBiKkeRHya/wBKIrEWW1uQ+SuPqRUsWEtUoFqkMXOjaVHk2XlIigGwL8/5ijD/AN3wq5iGKbkc7/8A9Gb6EVJg5LH1rrMUuKYYwEpGSMMulBh7suw5Acf/AMbL9SKsGE77df8A2f2NR4CErV61SYwMKrRYQvF4gANf9+Jj9CKznszvAfJnHzNaBmMO5vzFIvZ9NHer0ka3uaKxoQpBkI1ltxKn9Q+op1RT+/Vj+opJwsniU+Y+tPKHaoe3KtEOVwBy8v0tUg/fyrknevlNUpHXdqjB29DUiGuOtSpVXFr4hVPEAaSTV/GDYH970HzoEQORxtXIb8AlKOZFSSSARv8AKlk2IJF6I43Esqagoa25BbSLevrUeAzJJYy3dBGXiLhvmKBIEXs4YLz1QVgwOwJonl5J9aFZ1mEqtsURfNST68RU+SvqsTJqDbqxXT8CL3FCrFrV39ExJl+rma5mwVhV/CzFRZuVVsxzEKjOAWsOA4n0q1IZcUo9ovAyt1uP1H60H+/EX33Itx4Ux9ossleBZdGkfm0k7jby50lujW1FW0ng2k6Tx4HhyPwPSjsNhIzMIcjOS50ySADrcHz6ehp3zUfecPqXjbUPIikns5h7iZ+6EjRpGVBDMAWmjUmyEH8pNaNkmFRI28OkkFijB37timELR2B1eFpX2O41WPCrdUI8LN8ErSTrcnY8Olq1DKsNZRxoZJAquRGoFzwVStyfI+L2NFcJkGKI1WKL1dtIHmQd/lSs2u3OLGtJpZsWp7qQtDCa8lckNV3FRYiEpxxcbHmF1P8AMLapzQmSb79PZbWl1TZ7oVXt8iVWda4ENWStdLHV08m1BXpWooZKnFMUlzhfXAFC5ceCSBVjNZCIzalzJ2JO/WqE9EeKMFpcUxYOYk0aibUN6BLiQvAb0YwZJF7WorEpMLVki1IXa77U48OTFh9Mso2LE/hIfb8x+XrUH2p9uO4X7tC1pGH4jDiingo6MevIetYhisWxNhxNFAShKZMy7WTzteWZ2PG19KDyCiwFVsLmExJKHSP5mH0vxoNguinfm/Gwvb8MH+InYH9i42fKg0oL8rlibnmb8SfOrKiYcL2jxEZGosRccBfUTytfb/zWiydrp5oAIwEcfmNxcjf8t9gfjWV9nczaWRV03GpbjjtfipO9vIk/3YcygxKpeMbAkkW8RXfYfL1t51BI6qzWE8BeZl2txyMQSy/NveqsH2h4pQbTN72NUY8/TFfhMHR+RcAAEbW2J8PLyvelfMHKOykEEGxB5EGx+dQupafk/wBqE6E6jrBts3L0tWjdne0S4tC67bbjmDWA9lZUaZVfg23vWydlMEkMh0cHFj7A71QuF0r7DW5NuIbwfvrQzME1Rst7XBq6GuhqnOl1PpVm5Q38LNs3wJv3LglGDaiNri19reYFC8Hk4D6UJVdzbnxvvbzpzxeFuNTG/L5j+1LGY2XUygryvrOx89Njb0oMwN0mdAA1nxVHO8qJIudVjwbharGXYQlQmkBRwAHC3IdB5VUjkvouVFr30lrN02Ykj40xYKYKL2pfPC0scqSZTYXNuVT5Vhj3cmgBnuv8Kuyp4tRVW2Jvo/xUGNk1WPKh2JaST8NAdLeEkGxueAFqv0QuUcnxKNG0dkdg7XiWNCZQIoZGWMlzo3Zvysbblb2tSll+T3xTM6D7qwg7q9u61PJhrhFO2qxnuLbXe9rmmbJ8lGHJkfSDawAFlUfq3maBY2ZFeRlVVAbvBcDxnhp87nQbdFNGbgJOV240Oiu5Ng4QWljCqWexQWLIwixLFY1Y7oWEbKDtcBT+Wo4wCrK4aNnkVVcxrDJHeNiG0xG2gsLN1G/FRQxJEJvsdd34gEM2wQE8CLH/AHCjGXGOOK8gN77XYOw22II5cdv8VZDTaMX90UlIdUzG3eEFlUBVBAI4m99gfWooMA+Ls0sk7E/wiEhF9GYhPgKq4bPcRH4YXuux2UML2F7G1TR55iC15VkkAGyfkQnlrCjxDyrKmc0yEOuvKse+D8ljz06UhwNeVY98c/srub9mYIYDIHcsLBfEpDMTsLAevA8jQ8NVTMsXPOwMgaw4KFIVR5D9asGrwlpLtraGPmtHsytz9rdox8eVLeulNVy9erJR1tJogNXEofFJV+I7UwEs5czoCN6oJhADtV2Vq40iopWa4gUreEgGvhyqbNMwWCGSVvyxqzHzsOHvw96HHMRGyDrtSf8AbX2l7rCLAps0x1N/RHY/NtPwNGCScCDlY9nedtPPJI5uSxJPmdz7AbCgve8OrHj0HH6V5CpYAdSTUUY1SEDyA97H9KsqUizAiC68WIb5lFt5C9/enPsx2fjIUsik+YFAnwewFvCot7I6r9frTt2fkAUWoEziMJ3SRg24piwWRxgC0ai3QUR/6fccKlwL3Aq29Aq0cmjQWQfaZkX3criYxYawJLcAT+VvfcH1FKnaOTvO6nHCVN/6k2+lvhWw9r8OkkMkLkEyIQFALNuNmsoJ2NjfyrIOzkBnw7RE2KNcE8hezAfH5UxG7w5SszPEK6qrk7EyovO4+tbb2RzQNIAWvyG1txWe5b2YVJlkLGyi1rcaYWYxspQWswPwN6qX5tXEXhIWr4dtnHn/AHqBxtbqK9wsnjbz3+NjVObMEBsWFxemIxazpTSF5jlJMTG9tNmHsb0gZtFKeKqvHcNsRfbjztWjY7HKYJLNxU/SkSTBRTwRCRjqVQLhip223t6V0wwj6K7JrGEGjw0hA0lRvvcX28qYsLiLRBW42oUk0SbA7DzqvjM/DeFBelOVpEgI3iMaoW1W+zgPeLfoz++wH1pZy2NmYF/hTDhJystxyGn41w5Q3/lKJ5viAb6jYCkvMM8WJ7qqP/Uoa299qu5jjWxEpiQXC8T50Pk7J8240QPLTYVIHPidujwV7gc+EpI7qIXI30WsByA/XjVnG5sUI/DhNyDbuxYW9Dw8qjw+QAUQjyUdKv8AiX+a0RrdV/7/AIH0RXIMV4fienE32ozJjbUDwmGKVYloW6zaTNkknkogcVeozLXMEW1eyxVBXBcO9fK9RNXymhoiZMNJvReF9qCYc0VhawooQHKLEs19qgKOaICQV6BUhXa/b0QXNgRiMMb7bg+vKsh+2PNe9xjgG4QJEPa5b/ka1ntXiNM2HtyJ+lYF2qnMmIJ5tIT8/wDxTHRZznbnEqvDHy/0n5CuMjiBnF+bAn0vf6V1r4/0kf7rkV72eW8o8rg+91H/AKvlXKqZMZNpU9Sq+xkkLj/ipPuKP9m1kKgmVEHmlwPUlhSrisaryBb7sSfKygItvb61bPZSSdgGe6AbLvYefr60vIQTlPwAhmFouV55KrENNhZUXcmJrOo81ufrRxs0VoWdTwHLc7UqNkWjDwrYDuVIBVUVze5IYgXIN9+H6112aiKL3bm6ttY7jeguOcJhrcZVLKe0szQzTRwxWEoVleRhiJdR4g8CRx0kAW4UjZCdOOxEZFrySC3S7N/itpXL41GyC/DgOHT0rJO1uE+75qXXYSosn/dup+a396KwgmktK0gX6pgw+ItsarZtm4jMZP5S4Xj/ADbX+dL2fdojH+Xid6G5biXk/FlYta/dryBO2q3XpXBtZKkvvAW3Zf27wqlAZSToQNpR2AYKAQSBbj0qL/pMeLeSRH1Rl2IsSOO+44j0NZlk+NA2aSNbcS2okX6BFJNN/YHNicQdVkU3W4uFfcaTvY8trgcaJG8goEsDSL8kB7Y53LhWMcJGgbEHegmXZq+IljiAIeRlXbgLnc/C5rQu2PYZJJDI8gVTub/240K7Ldk44caJNYbSjFABtc+H4gE/GmA1zuU6dZDGCY6yOKUrZNCLjQOJU33Nwbbk/H3oZ/0hI2GnbfhTR2lylmbvYm0ycx/C4HJh16GlF858WmVSjDjSszHNPol4JGvHqjuFsTtXTzhVc0KkzxIUL3HlUOTRy4mGSYghP4b8Wtzt0obGl3CJI4NwmH7PMEGSSVuLOfgNqMY6EXqLsSoGFAHU39b1czFd6krmoX3Qq3hIr1XNXMGbUMowUmKjAFAcZjrVfzXGcqW8Tc1IXEIphM686Jx5iGpRXDm+1WoywNFAsIJNFM2oGulSheDlNFkXahkK4KJ4XECp5cx5UpYfM7GrkWL1G96JSFaZ4MTVtMXwoDHi+VXA+wq1LumVX7YWPdtzBr8+51Jef/u/ua3vtdJphU86/P2ZNeUn1+hoxWe3quJXter3Z5dMbv0+pvpH6/8AiqLQliwAvvb0t9BRHGYgRRCNTe3E8mY+u/Ie1+prlKoGY98hvvuD7Ej9DWtdlmBUVkOCS8lv5QB/f5mtO7LSkAClZVpac0E65gdMLsAW0qTYblrC4ApfyyYLKveP4mCkAKbC/RrW+d6v4nOljtrYIt9N2NgW57mvcNnsVyVOq44qL0LlMgHomJ5QoFgbHry6VkX2m4sHMYgP4Yhf/udm+g+daZFi2k2C2S25JsT0sKxLtvmAkzOcg3CuEH/61Cn5hqLEPEldQNraVDtM19J6XFW8Iuld1vsNjy2G1cnDiVbN7eVWIMPptrfcjV9RtRXiglonbnKWFbgliFFtgP0Apg7OYsnw6fCNtRIvv5CgWHjW+5v/AKR+pO1H+z8BaQkWQX3U3JNuZOwoKb6JxmT+Ikk263vVPBP3amS24b/iTc2+FX1bw25W2qHTsa2AsEomJw/vSJBiIcRLiUnv3nelI49NrRi41KwF9VxfjzpqLaSCb2BF7cbc7edBMwwaffGmQaVO46na2qp2g4UBxHCAdmuzevFSrN+ImGKhVP5WLXKsw9Lbdabctk1PjRwF47DgB4CNh6AfCruWYdApYDxOblubbWFzz2FfJAVeRtryKFI/pvY/MihuYGRmkVshfICVx2KxKpAwZrHW3H1q/jsWCdjeliESGKVI1BIbieQPGg2GxckUp8WpRxv+lZgFjC1w4A5TqGr04rSKmiiDqrD+IXoVmcmkkVRHCixE+o15Fhr1QE+9GssYGuXFfQ4Cr0eWCraQ1bhWrAoZCox5eBVpYtqneotdVJXALOFxhFW8FmRB502ZX2EUbvuavw9molk3UU2I1nP1Ib0QbL5Hfgppny7DEEFqvRYFV4Cu5V24UQRgIb53OFJS+0PFqIrDY2PwHEn5fGsLsGlv5n5cfkK0L7Q8xY3Xckk3PAWHIDp86QDDpQki7evC/Lfmao7lREMWolxgjB5k77ddzz9R1qs8xexPBeA8+H1I3qvI++/y/vRPJsD3zqTslxfzt++FQi8KllktpL/GtMyKcbGqa/Z0jboe7ci+g7p5AHip+I9KnhyWXDmxBsKXlCdgdYwmuZlcWIB51byzKlG428rm3woBg8Sx20t8KMyZgMPE0st1RRcmx2HoN6BSb3kIpnWPGGw0szf/AG0LepA8I9zYe9fmozkuWbcsST5k7k/Henrt79o4xkf3eAMIiQXZhYvpN1AHJb2O+5IHC26Vi4bFemlfoP703G2hlZ0z9xRTBYrod+YPA2/X60axYDRoSPync9AaV8PHuN+nuKZ8B4l3Fha59vSrPOEOIeJHezmURyMAD71pmI7MQxYQuiAuCt3PG17EDkBWUdjJGedF3VAWbbmVUlR6Vt7DVgpP6L/7d6pEPFZV53mqCUGFcBdj++dSR714q8a1VlLkrfbqKH5ollB5rt6iiJHCqWZjUpHUVIUK/wB9dFNgCbGwFgLjgBXEAuGY+g9q8ZvlXcR8HsaHPiMokGXhd5JEFidwOLH5UHbLElkuq233oz2fcNC634Ma+wSgMQOtZA4W60Wr2EwZC7cALCk3Hs2o6gQb1qWDwYCb0LzvLEKFgvCurClrxdLMmWiWTYizWqeXBA8BXmW4Ah6hFNJqw4uKmG1c4ZLLXMr1KEvpZKgElRSSV4GqiIAnTTVKZbODep48cHHhIofjYvxFNzWkvNSnCJd6KhxE+xqQLVTMGcKdChvU2+dSp5WTdt5w8hsR1vzFr/596zrFyaid+HDy9+Apq7XylZX1lAeYVgwHuRXmSfZvPPpeRWiibcAizuORtbwg9TQTynG+FqXch7PNiZAq8OZ5el+ZrT8s7LCJUUAErY36nqf3yojl/ZRIWjCiwA07e5Hqb3386ao8t2AC7deAq4FKpJKC4fLmZlA/MaNYzAjSARcDgfLgfnaiWDy4J5sef9q8nj4g87/4NUeLCJEdrgUCgwCg7AUu/adH/wDL5gOin4MpPyFNLkg8KFdocJ3kLhhsVNIDBWqRYX50XY/vyo3JCGsP9Kn/AIioMfkDxmQEbxkXH+kki/sRVrCjUEYfygf7dj9PlTwKzHNrlQ4GIO2luR3HvxFMGJZY00qLFvpztQVVAZrbEH+9TwzmVltvy9PWquBPCLDl20clFMHK8URkV9Bva42bhvp+IHvTb2MzKd7qsrjbcFiysrbG4PHp7iguVdkpMWRHGUDBWZi76VABXhfib2ophsokwIik72JzKuyxSamTcE6rDa+w2vwNGjjcCBSfd2ZLI17C095Y2i6x8T78+SZohaujQg5hOFLDDOFAuWKvYAcybCrP3XH6S33VlABJJQiwAufzGnvdKjsHV/r2t93N+RKuXqviVvbzI+tDMykxcKxtIAiyrqQ+A6hsb7XtxHHrQ0ZrISLueI6D6VYC05H/AKX1T27w9lehJ4+FJrkuORudxccutSILRn0rjF495AoY3CCw2HD9gV3Ebg+n6UCcWwrzcB8YQjIsYVklTruKJZTC5Bcni17UvRXTEFujb+hpiTEmMFQpI4i1ZAW60plw2fLcIGBbp0qXMWd42Tax5is9w/aFEkuwNyfhTzlubxyLcE+4riCid3WaS7JgzGbHhVrCRC9TZ5P0B9bUPweOF6kcKCEwDhVTEGpIsRcVHMKgqByqEjV4rV1IleKlUtEJAQ7Ls2ZOB9qO4XtB3hAYeIfOk4vpNquYKfSwJr0DmBwXkiei0uKUED0odngkeMpEQHfwi428732sBf8AZqTJn1xA8xtU8p477cP3++VJHCaYNwBSrkX2cwQMJZvx573DMPw4zy7tOFx/MbnpamGQ32+vGpIrm54C+3txP76VKvnVEwoocKLgkXtvV+NeIr5IrelThKlcuAlevFqFjUqivmWoUoTisHvfj+o/vQvFRCQC35Rv/UeXsOPramh4wR+9qE4jAhNRA/MdTepAFx04D50CRnUJuGXO0rOM2ylWxTC2xiJPmA6g/W/tWcxxd1NJFa/dyPpvwKhiLfX41suIjDYpE5urr7Fo7/Ss3+0Ts+cPidS7C5IaxsBfn12+lTFwrSktkBCqZjEAEnQDw/mFgLqdt/MVLiYhqimXbdQeWpXNh771TxuZxyoERjYEatiDYeRqHH5uHMaoCFVgd7Dha1rH1p8vaL+H7r1Muq0zDJkHDDQ4L+pb5AYvzWrfZrgkeWZ2RXeOLVGrC41X4267Ae9FHx5xeWtiZo0WWCZNDKmm4Dx7f8iPYUj5NmU0EqvASJOAAGrVf+ErzvttRbNc7x2MYYdwxa9+6WPQSQNVyLXO2+9Fewl1rV1Wie/U97YrwmyTbQ38wA4p3XI9U5/aBmaIHjbFSoXiOmFYwUe+oDU+ngSLHeue2GawpFCZWxIMkPhEUmmM7DdxcXPiHtSNjcLjMTihDKGbEAWCuVUgAF7cha1zXTZFipkmLsWGEurh5C2jTe4Qb7eHlttVBGBVlKRdmwxNiD5B4cmiM7sCqANE1k3fmmTtA8JwmWyTq7RiMqwQgNfu0AtfzWk3Op8Ozg4aN40C2IdtRLXO/Hpb4UwYb7N5nSM9/ADIoaNC7amBUNsNPIEXte1c5X2EV4Xlnn7kRyNE6iIyEMpA/hO+5HAVZpa3qmtNPpNO3/tJokUN1eJxP5Rd+V+i5WQaePIc/KreHxka/mkQf9wrnKOxMEr4g97LJFCFsEj0zSFl1GyuLje4G29T4XshhTjootUrJJG7FHVo5EZQCLnSLi1+HMGoe5rgQvKN7G0kbzcrjQs0yqxurJ5rz9uUDlmi1udYseHE/SreF7QxAeIm422Um4q52n7Ow4SCOIRasVMzWfUxCrr2AF9JNiq8Op6UV7S9k4PusqQxBZsMsbswU3kBU6t+ewJ9QKVEEWOf4WizSaEbCS8hxIB8IFAgX7WaSNiswjaTUE29BejuD7YBVAXDsx9bfRTTvkmBVsPhCsOH7togZtUY1myLYpYb+LjfrQrsfnpd8XBCQIolkaCy2IGt7XvueIsDVu7jN449VIdp9j9sROzm3nzI6Dm+nllL+JzvE4gER4NzvY2V2sehsosaX8Q0sUmiRCjbXVgQRfcbHyrQOxeYvNgsSztK0hm1Ew6VlN1j/JwXl8L0l9rYnXFXdZluEYd+waUjhckEi1w1EZGyy3an9NFC+d8BjaNt9STdDz9/JGMrlJ40YtcVWwmHAq+eFZJyvKE2fRD5ErkLUmMHha3Gx4ceB4V6o2qtUrigKCS8wh0yV0ZbCr3abDd3KUbYjceY60JF7Wr0TTi15N4o5T72Rx2pAOniPsP71fzLUyEI+g3UBrgafEtzc+V9ud7c6WOxuJ06gelviaZJsEuJhkiY2DgqGtfSRYqw8wwDe1Z8rmh3KchcNqqhMZuy2Oqx0hkZEIsCm+/AMTbfUfh2ss0LqZnVYiwBZ2QA6ka45ENqAsBtYH3FN9n55YpgCmk/hka2Y6pGfS4uGku9v9RG9dD7Pib3xTbqinwcdChd/Hw24Cw3PrVEzhOaYpV7u7C0lgpuPGSLjR1JAvtxq6l+Fj8Kz3HfZwxVj97fihFo7W7sMq8H3NmI5eHbzqziuwLMZCMY6lyx2Q2AkWYHbvN2AlAVhayxoLG16lQnwCutNRwvepRXKFxa1RzRfv8ASpzXFcpSTJlLJmuHe34bLLY/ysEJ0nz5j/Fdduez64iMg8bbHpTbKljequKw+v25VDWgKz3l1Er8tZzk8mEmKMCBvpPUfv8ASvoLlFbj4iPle9bR9o3YwTw6l/OhG/QEgN67E/AUHwH2RuDYsNKq1vNmTTf471G1T3mFW7LhmxOHKKzEPG1lBJsGUk7crc60+PL7ZripyVUJAlmY2VWdLXJ5ABG+NJeXZEcNMFhdxIp7tSpAJ/h2uOdEHyiViytKS0rKrKcVqLkkKNaq24Gw34CqS9oxE4B8uP7W5rv9R6Wd9t3fl2mm+ZBPJHQfyj+KwmrEYDGK6SEEQzPGbozFWUMCOWosPcV0+Zwl8xg7uOI6Dd9QBmLo25vbfxfOlnD5RC7CJEIYkW1PdQQpL7AcyNqkXJYVWMu6qXUMLQ6gASR4j6g8KXPaLP0tJ/YdVlu7c05GGuNChdNqnbh1INcfEeSPZX2kwqw4LvGiLiIprurNA2gDxDiAbEfDrVPIc+jiixMcmLtI8zOs0cTPqDhCWVdJA4EWPD50OiwCrOYpW0BWKsyjVuOFh5n60eHZRBiWjLuY0jEh4amuSLCw4bGqjXOfe1nWuf6Qf967wODIeT1eDRsu4LOOccH3QaDNIExMrscVN3qL+OoMUqsAVI0jSLWCWNuXOrGL7Vfj4VkildMPru8rIJZNaFOtvM9farx7PwyCCSEusckmhgxuw/NwPI+EjnxFWcTleHkXEpHF3bwC4bUTq2J3v6Ee9QdXOcgN9Oc4vHwUP7Z1Dzu2M4oWXG/DWKIA8PsPS0F//wBSzAiXDrIFmMsRaWzR+LUq7Kb2Nx6G1eDtfjDMz6oyjAgREFkW9uYAYnY8TzNEexMas0wZUJCggsoYLbVv6cKJZXjg2MT8SJx3Tj8NCijdWtuTfYE0Nupme0GwLxx6+pSre09RI0O8I3Y/LdZ6bia+ASlDmWJCQhGCrBfQViJsG2KuWYgixAt5DnXSYDFpJJiAJUdwQ7LCqAjYkkaSBwuTR7D4dkwGLVlK2ckXBF7aOF+O4FMpl8YcMzN3NxECAr7g6t+fAe4qWSTvHif08h5n6KWa/WSXukqxmmsHJN9LOcrPMh7P4gofu7SqhO5WXu1Yj0IvXz9l5JZJBICXjTU3eSMx07nwm5uONMSYV8RgkjiOmSNzrTVoI3fj8Qf/ABV7E4oHElRJHqGHZHLNYXJFt+o3NvOh7pCAS93Trzf0QTq9U+numfZrO4i76YrhKGAnNzc32FEVloPhjYn4fCrizVGmcTGLT/Zby/TguNmz/lS438j/ANLfQ10g2FQYibwN/S30NTI+1MrTVz7SOzZmhMsY/Ej8Q8xzWsswmO1DhYjiOfnX6BxE6EEE3v5GsO7W5IcJjGdB+DKSRy0tzH61qQyj8pK89M0HKtZLidMnS4p+w2yAc7X+NZTDi/GGBHpWn4DFB41I6CldS3NhAjxhEY578eP1qyjgWvtQsPY0Rj3G1TG6wnGOsK1INiD0qg2JsQOqg/C4/Sr6kN5GgmfN3YRuBBsOhBBNFRCjGHnvwN6s/fVH5mA9TSph8wYi9zboLL/avpcVc7lB6ks3yH61CraZpM5jGwOo+W1/jVObOzf8oA8zuaDIyc5T7bV7BicOGHMjnYsRyvc3tULspnw84dLn38vWvka3oaWYs+VMS7eIxsiqQBe2kEqfW5dT5Mv8tF8PnscoUKCLmw1bHbbgL1G4BFEbjkBd5hh9asosbgj5EGp4V3tzsL1NEvEVKsdXQcpHzA6MYT0kRv8A0tX2NxKRztaIKUlvq1uT4JLmwJtvbpzol2jyNmlDqdm2P+kqAB8d/hUGF7OqZdDsx8IbYgb3seVYkmkm3OIGCSRwsl2lmLnbR1voo4MMI8T32tO5Dlw2tSStyQAt9Wre1rV5DmUYjhVgtwrDXoV3iIkYr4W2Isb249Dypji7HYYC+lj6uf0tUWN7IQnQUVl0t4gGNmHRr3vwqzdJL0ofv6enoijSSjih+/p6eiSsSTrY6tZJJ1C/iJ3vuAaZsR2tQYhZVVmUx924I0k+Im67+dXsRkcUX3iQwK4Ch41seOkgoB/UB/uqPKsRE0kKGDDqWWcOVVWAkgaIDu2/lZWZxfe1uG9WZpHRmt/NHi/muj0skZw4C/S+qEYvtCoSOPDIUVHDjUdTFgSQLXO1yedWMTn8kiuI8NoeUWdwGYsLW/l6Xqz2dzaeeVLghO6gciNIVT8RG1ai5121KbaOXOrGKzFxiSqzN3nfxoIAyOGhdYy8hVV1ppDSNcn+AcQbG4gNXv8A4A/ZFEJq95o4wAP2QTKIsXAxaOBiWGnxRm1rg+XSruKwuYSlGKaShJUroQgnj/FXGRTzNPEZjKbx4c+IYkjVoKSbR/hg6luS/wDNRSTIHlxbuQIwsqsH0nXIncoDGpBtpLd4GuD9LQ3SjbQJryv+lzNM3ZQLqvi/6QjN8NjDGO/fwk2Ci7XPEA90hF+gPE7DeqkmEk1WbG4fVGCLDEO7xi4UjSq3G9haixyqWXC4eCWERrDGA7yyLp1LEIlZRGxJPidgSVsVB6VIcYV75/vOFjnlhiQXnBAkjaYM/C5BVlI2O/Ebb3/DMJs2fclXGma42QT7k/UIRBlMLWJxTSM2r/6WHlkPgYK97AkWYgG9Cs2w/cyvHe+hrXtx53pqjyAzdyVMAESyIBaaVGVzEwZmDIWbUjEk8dV+NCM2wqT4uQmQRpZ21vG6qe4AWYLqAuRpZrC/h3rvw8Y/SPv3R4dPA0nvGj4/2gC4qplxNXp8nwrRv3E7SyCHv1IW0bIH0N53BDC17jnQEYVquGNaKC1Ye721EBXoiE2J8Df0n6GrCYrah0OVyOG6BSfXY0TXs5NbarhhKIXgHKdla4oH2qyMT4cpzAup6EcKLdm3WaIHUenLjV7FpHGviJJt14+wqRE9rlitidJwvzzISGsdiuxHDhTx2HzK4KE8OFKXbzDsmN1LdY33PqOPx2qz2ax2mVbc9ib+lNvZ4aKFLA6F1FacBfeiOHTwjj14/CqGHXVbpRAKetqXibyUSMdVZvel7tdLaNBf+NRf1DDej44UndusZpEQO9ybn+kf5o6OV9gJD+VuVWMRELX5jn5UJy/FggG9/wB/2oozi1/l5c6hUVErY7bfSuMRJzNyOnH2AHOu5V43qCbEafhVXmgUSJoc6iFEe+dgoUInW4J/2g3J9bUbyrKggLSMWP8AqsFA9OFC8Dmml11gXPD086Y1j70BjcgcuRPWk+q2AjmUYgMLC+1+PMHn/iiaxi5PXz6eVL+WSMHDbaC2gbjc33FuO229MOkgnfbaw6U3GbaFlTNAdhRzwA2vy4b/AL6UOkw471G6gg8vym44USlUkqQdgdxbj+96p49PEnIhx8GUgj61c8IQRWM+GqGKzO3D2HXzPlVsvaNje1lJv0sL3rL8TnDvO0yk2OwB4aRwBHz9avEzcokftTZnXadAO7kjWa5VipOlRpYMurY33ANvLeqMOcxTaw2Dw+mwc3UMCyjSpIsBexIv0pW70sSSbknc0XydfDKeij60Z8LA26ygNeXOTXlefXQvoTwq3hRdJIiRmVQb+oHS9UP/AIgloo3SOI964QWnaTReJpB3ghiZg3hI0gGq3ZRroxIJAdgQOJBUgj4Gr7iF44oO4kKQBdB75o2XShQHVGQxOkkcedIua7omHbj+U0vZu1k33hIUWIlmjQrpl1qZIRI0niABRL3IOkkC2xqLD9osUNBdomJxc2HKpGUB7qOcrYl2PiZIz5XtvVXM8SEKCLDREkK15A8rB4iEg8WoEHxkaidheh2I7UThXYdyosJV0wAEzFA76gxPiC6jq47r1tV2wvdm1o6bsrUahoe1wo+p868l5icxkxuEmhklMolw2s2WEJHKhikeOyHWpGojTILnQTeuo8QMJgsOYlihYzd1JiDEhZBpZl3awFzpW7GwqCXtDipoyEkYh0JbSsdlYohCtpQX1EkXPXyN+svYmFA5dQwXvVaWRRYPMsjqAR+JYQkLvx2FcYCBlybPY8kcJD5Bd9Ofl9/BfY/G4vFKjIMV3oRxdHKgS4eVCSY4yIiXickXazbAed6LsvN3yaljTDriJZw7yWcR4iMiTDmO2xuTc3t60NyXVoKznWwdSjsWkFmhkHiBNiqSGIlbcjxq+zKCQgst9gBYbgaio5AtqIHIGhSRtb+q0pN2UyJ1d5u44GP8lRZL2fwuCdHOILuInikSNCY5Nd/FvwNtN99yt+ZryHC8yLDqeFc+C51tpI3A5n0qKbMHkRUIAVb8OLdNX9qFStDC2IbY0YTT93mdL7Rvx33CtuPKjinah+DwQ7jQw2ZSDy2YWP1onGmwppowk5HeIpGyrFNCfCbWN7Dh7ij8+P74Bvl0NLzpvV3BMQwHI2BpCN7tPMWP+/VZnZuoMEu13CqZ1l4cElQfUA/WgCYZOSgG/JQCLelan/0hO7NxfbjWXTraWRf5XI+QP61fUROB7wFX7SiO7vGn3TrlWK/DFt2PHyrzMYWHjBPmLnbzoZkeIZTYfxbUwKm3GitAnirg/NUiPfRUhEGOZWBuT5EmxpZ+0bF6liI4a9/dTb50yYqDSxA4f3pR7cpbDlv5GU263NrfOk9NK6N5jd9lCgkcx+xymyPFhkA526WvRuNqD/Z3k/3lC7OUVGI0qN24cWN6ZcRhQjso5G1dqmOicHtK6djo3b2lDMyxIQ6eLAC/TcXXf0tVLDY5XJXYsBvtx866z/D/AMQ2JtfztcD6UtiAowdWsfT5elWe78Q2+FrsibqINzcH5/RHMbh7+JdnXh5+Ro72dz1Z17u5BAtbgaERbqD1APxqFMHpnR1NiTY7cbc6BA83sKDopyD3T+ExyQMjkEm97g38gL/KjuQ5wb925vf8pJub/wAp/SqkOH71WLHdQWG3QcPT/FDdNc4P00gIP35JCe4ZbabCecVh9alb2B/iBIZSOFrUl495EfSzNcEfxH2Ipjw+bN92MjC5QNfe2rSL38jSfhM2bGQJO4ClrkAbgDUQBfn609PF30feNPS/grTgPZuanDs7mfeIYXPi0kKT/ELHY+Y+npSEY9O3SjMJKkEGxBuD0IodiI7knzP1q/Z03eNMb/sIbZN7drlAoFG+z8Y0Sjmw2HkONqBoN7URwhK2INiKXlc/SyVdj5fVLsJhkRLKMETAwF1bWxBBI8t/KqTSOCQWYHnuaYcGv4akbXF/jVPOsGNIccbgHz42+lW1ce5veNTuoZubvaucNKsy2dVYrbYgEdAwB57/AD86GdpcUsaAnYsQotz1bbjnXkTFSCDuKq45O+xaBuCLqA82roZu9jLXchH0rjO3u3HhR4LDiMWUBfQAfSr3flh9a9xcFtxzqBBY0g17oXkFdHI7TSljsj7yvhARw4V8kxBuDarojqtiIrH1omoYQN4KProC0d40+/1UXdgm/M8Tzr1YTx6fKvUG9Hcnw4Oq4vyosf8AyGUeUQSjU6cg8j7tDcLj2RgbkjmCb7f3plgm1KCDcGlrHYUJIyg7Dh771wjEDYn40KHUOhJa7Kx45nREtdl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7" name="AutoShape 6" descr="data:image/jpeg;base64,/9j/4AAQSkZJRgABAQAAAQABAAD/2wCEAAkGBhQSERUUExMVFRQWGBcYGBcXFBgVFBQYFRcVFxYXFBgXHCYeHBklGhgUHy8gIycpLCwsFx4xNTAqNSYrLCkBCQoKDgwOGg8PGi8iHyQsKiwqLSwsKSwsLC8sLC0sLSwsLCwsKSksLCwsLCwtLCwsLCwsLCwpKiwsLCwpLCwsLP/AABEIAL0BCwMBIgACEQEDEQH/xAAcAAACAwEBAQEAAAAAAAAAAAAFBgMEBwIBAAj/xABDEAACAQIEAwYDBgUDAwIHAQABAgMAEQQFEiExQVEGEyJhcYGRobEHFCMywfBCUnLR4WKSohWC8bLCFyUzQ2ODoxb/xAAaAQACAwEBAAAAAAAAAAAAAAADBAECBQAG/8QAMxEAAQQBAwEGBAYBBQAAAAAAAQACAxEhBBIxQQUTIlFhcYHB0fAUMkKRoeGxBhUkM1L/2gAMAwEAAhEDEQA/AHJsvkJ/z61A2WNfcn4016L1FNhb0mYxVJsMahGBiKkeRHya/wBKIrEWW1uQ+SuPqRUsWEtUoFqkMXOjaVHk2XlIigGwL8/5ijD/AN3wq5iGKbkc7/8A9Gb6EVJg5LH1rrMUuKYYwEpGSMMulBh7suw5Acf/AMbL9SKsGE77df8A2f2NR4CErV61SYwMKrRYQvF4gANf9+Jj9CKznszvAfJnHzNaBmMO5vzFIvZ9NHer0ka3uaKxoQpBkI1ltxKn9Q+op1RT+/Vj+opJwsniU+Y+tPKHaoe3KtEOVwBy8v0tUg/fyrknevlNUpHXdqjB29DUiGuOtSpVXFr4hVPEAaSTV/GDYH970HzoEQORxtXIb8AlKOZFSSSARv8AKlk2IJF6I43Esqagoa25BbSLevrUeAzJJYy3dBGXiLhvmKBIEXs4YLz1QVgwOwJonl5J9aFZ1mEqtsURfNST68RU+SvqsTJqDbqxXT8CL3FCrFrV39ExJl+rma5mwVhV/CzFRZuVVsxzEKjOAWsOA4n0q1IZcUo9ovAyt1uP1H60H+/EX33Itx4Ux9ossleBZdGkfm0k7jby50lujW1FW0ng2k6Tx4HhyPwPSjsNhIzMIcjOS50ySADrcHz6ehp3zUfecPqXjbUPIikns5h7iZ+6EjRpGVBDMAWmjUmyEH8pNaNkmFRI28OkkFijB37timELR2B1eFpX2O41WPCrdUI8LN8ErSTrcnY8Olq1DKsNZRxoZJAquRGoFzwVStyfI+L2NFcJkGKI1WKL1dtIHmQd/lSs2u3OLGtJpZsWp7qQtDCa8lckNV3FRYiEpxxcbHmF1P8AMLapzQmSb79PZbWl1TZ7oVXt8iVWda4ENWStdLHV08m1BXpWooZKnFMUlzhfXAFC5ceCSBVjNZCIzalzJ2JO/WqE9EeKMFpcUxYOYk0aibUN6BLiQvAb0YwZJF7WorEpMLVki1IXa77U48OTFh9Mso2LE/hIfb8x+XrUH2p9uO4X7tC1pGH4jDiingo6MevIetYhisWxNhxNFAShKZMy7WTzteWZ2PG19KDyCiwFVsLmExJKHSP5mH0vxoNguinfm/Gwvb8MH+InYH9i42fKg0oL8rlibnmb8SfOrKiYcL2jxEZGosRccBfUTytfb/zWiydrp5oAIwEcfmNxcjf8t9gfjWV9nczaWRV03GpbjjtfipO9vIk/3YcygxKpeMbAkkW8RXfYfL1t51BI6qzWE8BeZl2txyMQSy/NveqsH2h4pQbTN72NUY8/TFfhMHR+RcAAEbW2J8PLyvelfMHKOykEEGxB5EGx+dQupafk/wBqE6E6jrBts3L0tWjdne0S4tC67bbjmDWA9lZUaZVfg23vWydlMEkMh0cHFj7A71QuF0r7DW5NuIbwfvrQzME1Rst7XBq6GuhqnOl1PpVm5Q38LNs3wJv3LglGDaiNri19reYFC8Hk4D6UJVdzbnxvvbzpzxeFuNTG/L5j+1LGY2XUygryvrOx89Njb0oMwN0mdAA1nxVHO8qJIudVjwbharGXYQlQmkBRwAHC3IdB5VUjkvouVFr30lrN02Ykj40xYKYKL2pfPC0scqSZTYXNuVT5Vhj3cmgBnuv8Kuyp4tRVW2Jvo/xUGNk1WPKh2JaST8NAdLeEkGxueAFqv0QuUcnxKNG0dkdg7XiWNCZQIoZGWMlzo3Zvysbblb2tSll+T3xTM6D7qwg7q9u61PJhrhFO2qxnuLbXe9rmmbJ8lGHJkfSDawAFlUfq3maBY2ZFeRlVVAbvBcDxnhp87nQbdFNGbgJOV240Oiu5Ng4QWljCqWexQWLIwixLFY1Y7oWEbKDtcBT+Wo4wCrK4aNnkVVcxrDJHeNiG0xG2gsLN1G/FRQxJEJvsdd34gEM2wQE8CLH/AHCjGXGOOK8gN77XYOw22II5cdv8VZDTaMX90UlIdUzG3eEFlUBVBAI4m99gfWooMA+Ls0sk7E/wiEhF9GYhPgKq4bPcRH4YXuux2UML2F7G1TR55iC15VkkAGyfkQnlrCjxDyrKmc0yEOuvKse+D8ljz06UhwNeVY98c/srub9mYIYDIHcsLBfEpDMTsLAevA8jQ8NVTMsXPOwMgaw4KFIVR5D9asGrwlpLtraGPmtHsytz9rdox8eVLeulNVy9erJR1tJogNXEofFJV+I7UwEs5czoCN6oJhADtV2Vq40iopWa4gUreEgGvhyqbNMwWCGSVvyxqzHzsOHvw96HHMRGyDrtSf8AbX2l7rCLAps0x1N/RHY/NtPwNGCScCDlY9nedtPPJI5uSxJPmdz7AbCgve8OrHj0HH6V5CpYAdSTUUY1SEDyA97H9KsqUizAiC68WIb5lFt5C9/enPsx2fjIUsik+YFAnwewFvCot7I6r9frTt2fkAUWoEziMJ3SRg24piwWRxgC0ai3QUR/6fccKlwL3Aq29Aq0cmjQWQfaZkX3criYxYawJLcAT+VvfcH1FKnaOTvO6nHCVN/6k2+lvhWw9r8OkkMkLkEyIQFALNuNmsoJ2NjfyrIOzkBnw7RE2KNcE8hezAfH5UxG7w5SszPEK6qrk7EyovO4+tbb2RzQNIAWvyG1txWe5b2YVJlkLGyi1rcaYWYxspQWswPwN6qX5tXEXhIWr4dtnHn/AHqBxtbqK9wsnjbz3+NjVObMEBsWFxemIxazpTSF5jlJMTG9tNmHsb0gZtFKeKqvHcNsRfbjztWjY7HKYJLNxU/SkSTBRTwRCRjqVQLhip223t6V0wwj6K7JrGEGjw0hA0lRvvcX28qYsLiLRBW42oUk0SbA7DzqvjM/DeFBelOVpEgI3iMaoW1W+zgPeLfoz++wH1pZy2NmYF/hTDhJystxyGn41w5Q3/lKJ5viAb6jYCkvMM8WJ7qqP/Uoa299qu5jjWxEpiQXC8T50Pk7J8240QPLTYVIHPidujwV7gc+EpI7qIXI30WsByA/XjVnG5sUI/DhNyDbuxYW9Dw8qjw+QAUQjyUdKv8AiX+a0RrdV/7/AIH0RXIMV4fienE32ozJjbUDwmGKVYloW6zaTNkknkogcVeozLXMEW1eyxVBXBcO9fK9RNXymhoiZMNJvReF9qCYc0VhawooQHKLEs19qgKOaICQV6BUhXa/b0QXNgRiMMb7bg+vKsh+2PNe9xjgG4QJEPa5b/ka1ntXiNM2HtyJ+lYF2qnMmIJ5tIT8/wDxTHRZznbnEqvDHy/0n5CuMjiBnF+bAn0vf6V1r4/0kf7rkV72eW8o8rg+91H/AKvlXKqZMZNpU9Sq+xkkLj/ipPuKP9m1kKgmVEHmlwPUlhSrisaryBb7sSfKygItvb61bPZSSdgGe6AbLvYefr60vIQTlPwAhmFouV55KrENNhZUXcmJrOo81ufrRxs0VoWdTwHLc7UqNkWjDwrYDuVIBVUVze5IYgXIN9+H6112aiKL3bm6ttY7jeguOcJhrcZVLKe0szQzTRwxWEoVleRhiJdR4g8CRx0kAW4UjZCdOOxEZFrySC3S7N/itpXL41GyC/DgOHT0rJO1uE+75qXXYSosn/dup+a396KwgmktK0gX6pgw+ItsarZtm4jMZP5S4Xj/ADbX+dL2fdojH+Xid6G5biXk/FlYta/dryBO2q3XpXBtZKkvvAW3Zf27wqlAZSToQNpR2AYKAQSBbj0qL/pMeLeSRH1Rl2IsSOO+44j0NZlk+NA2aSNbcS2okX6BFJNN/YHNicQdVkU3W4uFfcaTvY8trgcaJG8goEsDSL8kB7Y53LhWMcJGgbEHegmXZq+IljiAIeRlXbgLnc/C5rQu2PYZJJDI8gVTub/240K7Ldk44caJNYbSjFABtc+H4gE/GmA1zuU6dZDGCY6yOKUrZNCLjQOJU33Nwbbk/H3oZ/0hI2GnbfhTR2lylmbvYm0ycx/C4HJh16GlF858WmVSjDjSszHNPol4JGvHqjuFsTtXTzhVc0KkzxIUL3HlUOTRy4mGSYghP4b8Wtzt0obGl3CJI4NwmH7PMEGSSVuLOfgNqMY6EXqLsSoGFAHU39b1czFd6krmoX3Qq3hIr1XNXMGbUMowUmKjAFAcZjrVfzXGcqW8Tc1IXEIphM686Jx5iGpRXDm+1WoywNFAsIJNFM2oGulSheDlNFkXahkK4KJ4XECp5cx5UpYfM7GrkWL1G96JSFaZ4MTVtMXwoDHi+VXA+wq1LumVX7YWPdtzBr8+51Jef/u/ua3vtdJphU86/P2ZNeUn1+hoxWe3quJXter3Z5dMbv0+pvpH6/8AiqLQliwAvvb0t9BRHGYgRRCNTe3E8mY+u/Ie1+prlKoGY98hvvuD7Ej9DWtdlmBUVkOCS8lv5QB/f5mtO7LSkAClZVpac0E65gdMLsAW0qTYblrC4ApfyyYLKveP4mCkAKbC/RrW+d6v4nOljtrYIt9N2NgW57mvcNnsVyVOq44qL0LlMgHomJ5QoFgbHry6VkX2m4sHMYgP4Yhf/udm+g+daZFi2k2C2S25JsT0sKxLtvmAkzOcg3CuEH/61Cn5hqLEPEldQNraVDtM19J6XFW8Iuld1vsNjy2G1cnDiVbN7eVWIMPptrfcjV9RtRXiglonbnKWFbgliFFtgP0Apg7OYsnw6fCNtRIvv5CgWHjW+5v/AKR+pO1H+z8BaQkWQX3U3JNuZOwoKb6JxmT+Ikk263vVPBP3amS24b/iTc2+FX1bw25W2qHTsa2AsEomJw/vSJBiIcRLiUnv3nelI49NrRi41KwF9VxfjzpqLaSCb2BF7cbc7edBMwwaffGmQaVO46na2qp2g4UBxHCAdmuzevFSrN+ImGKhVP5WLXKsw9Lbdabctk1PjRwF47DgB4CNh6AfCruWYdApYDxOblubbWFzz2FfJAVeRtryKFI/pvY/MihuYGRmkVshfICVx2KxKpAwZrHW3H1q/jsWCdjeliESGKVI1BIbieQPGg2GxckUp8WpRxv+lZgFjC1w4A5TqGr04rSKmiiDqrD+IXoVmcmkkVRHCixE+o15Fhr1QE+9GssYGuXFfQ4Cr0eWCraQ1bhWrAoZCox5eBVpYtqneotdVJXALOFxhFW8FmRB502ZX2EUbvuavw9molk3UU2I1nP1Ib0QbL5Hfgppny7DEEFqvRYFV4Cu5V24UQRgIb53OFJS+0PFqIrDY2PwHEn5fGsLsGlv5n5cfkK0L7Q8xY3Xckk3PAWHIDp86QDDpQki7evC/Lfmao7lREMWolxgjB5k77ddzz9R1qs8xexPBeA8+H1I3qvI++/y/vRPJsD3zqTslxfzt++FQi8KllktpL/GtMyKcbGqa/Z0jboe7ci+g7p5AHip+I9KnhyWXDmxBsKXlCdgdYwmuZlcWIB51byzKlG428rm3woBg8Sx20t8KMyZgMPE0st1RRcmx2HoN6BSb3kIpnWPGGw0szf/AG0LepA8I9zYe9fmozkuWbcsST5k7k/Henrt79o4xkf3eAMIiQXZhYvpN1AHJb2O+5IHC26Vi4bFemlfoP703G2hlZ0z9xRTBYrod+YPA2/X60axYDRoSPync9AaV8PHuN+nuKZ8B4l3Fha59vSrPOEOIeJHezmURyMAD71pmI7MQxYQuiAuCt3PG17EDkBWUdjJGedF3VAWbbmVUlR6Vt7DVgpP6L/7d6pEPFZV53mqCUGFcBdj++dSR714q8a1VlLkrfbqKH5ollB5rt6iiJHCqWZjUpHUVIUK/wB9dFNgCbGwFgLjgBXEAuGY+g9q8ZvlXcR8HsaHPiMokGXhd5JEFidwOLH5UHbLElkuq233oz2fcNC634Ma+wSgMQOtZA4W60Wr2EwZC7cALCk3Hs2o6gQb1qWDwYCb0LzvLEKFgvCurClrxdLMmWiWTYizWqeXBA8BXmW4Ah6hFNJqw4uKmG1c4ZLLXMr1KEvpZKgElRSSV4GqiIAnTTVKZbODep48cHHhIofjYvxFNzWkvNSnCJd6KhxE+xqQLVTMGcKdChvU2+dSp5WTdt5w8hsR1vzFr/596zrFyaid+HDy9+Apq7XylZX1lAeYVgwHuRXmSfZvPPpeRWiibcAizuORtbwg9TQTynG+FqXch7PNiZAq8OZ5el+ZrT8s7LCJUUAErY36nqf3yojl/ZRIWjCiwA07e5Hqb3386ao8t2AC7deAq4FKpJKC4fLmZlA/MaNYzAjSARcDgfLgfnaiWDy4J5sef9q8nj4g87/4NUeLCJEdrgUCgwCg7AUu/adH/wDL5gOin4MpPyFNLkg8KFdocJ3kLhhsVNIDBWqRYX50XY/vyo3JCGsP9Kn/AIioMfkDxmQEbxkXH+kki/sRVrCjUEYfygf7dj9PlTwKzHNrlQ4GIO2luR3HvxFMGJZY00qLFvpztQVVAZrbEH+9TwzmVltvy9PWquBPCLDl20clFMHK8URkV9Bva42bhvp+IHvTb2MzKd7qsrjbcFiysrbG4PHp7iguVdkpMWRHGUDBWZi76VABXhfib2ophsokwIik72JzKuyxSamTcE6rDa+w2vwNGjjcCBSfd2ZLI17C095Y2i6x8T78+SZohaujQg5hOFLDDOFAuWKvYAcybCrP3XH6S33VlABJJQiwAufzGnvdKjsHV/r2t93N+RKuXqviVvbzI+tDMykxcKxtIAiyrqQ+A6hsb7XtxHHrQ0ZrISLueI6D6VYC05H/AKX1T27w9lehJ4+FJrkuORudxccutSILRn0rjF495AoY3CCw2HD9gV3Ebg+n6UCcWwrzcB8YQjIsYVklTruKJZTC5Bcni17UvRXTEFujb+hpiTEmMFQpI4i1ZAW60plw2fLcIGBbp0qXMWd42Tax5is9w/aFEkuwNyfhTzlubxyLcE+4riCid3WaS7JgzGbHhVrCRC9TZ5P0B9bUPweOF6kcKCEwDhVTEGpIsRcVHMKgqByqEjV4rV1IleKlUtEJAQ7Ls2ZOB9qO4XtB3hAYeIfOk4vpNquYKfSwJr0DmBwXkiei0uKUED0odngkeMpEQHfwi428732sBf8AZqTJn1xA8xtU8p477cP3++VJHCaYNwBSrkX2cwQMJZvx573DMPw4zy7tOFx/MbnpamGQ32+vGpIrm54C+3txP76VKvnVEwoocKLgkXtvV+NeIr5IrelThKlcuAlevFqFjUqivmWoUoTisHvfj+o/vQvFRCQC35Rv/UeXsOPramh4wR+9qE4jAhNRA/MdTepAFx04D50CRnUJuGXO0rOM2ylWxTC2xiJPmA6g/W/tWcxxd1NJFa/dyPpvwKhiLfX41suIjDYpE5urr7Fo7/Ss3+0Ts+cPidS7C5IaxsBfn12+lTFwrSktkBCqZjEAEnQDw/mFgLqdt/MVLiYhqimXbdQeWpXNh771TxuZxyoERjYEatiDYeRqHH5uHMaoCFVgd7Dha1rH1p8vaL+H7r1Muq0zDJkHDDQ4L+pb5AYvzWrfZrgkeWZ2RXeOLVGrC41X4267Ae9FHx5xeWtiZo0WWCZNDKmm4Dx7f8iPYUj5NmU0EqvASJOAAGrVf+ErzvttRbNc7x2MYYdwxa9+6WPQSQNVyLXO2+9Fewl1rV1Wie/U97YrwmyTbQ38wA4p3XI9U5/aBmaIHjbFSoXiOmFYwUe+oDU+ngSLHeue2GawpFCZWxIMkPhEUmmM7DdxcXPiHtSNjcLjMTihDKGbEAWCuVUgAF7cha1zXTZFipkmLsWGEurh5C2jTe4Qb7eHlttVBGBVlKRdmwxNiD5B4cmiM7sCqANE1k3fmmTtA8JwmWyTq7RiMqwQgNfu0AtfzWk3Op8Ozg4aN40C2IdtRLXO/Hpb4UwYb7N5nSM9/ADIoaNC7amBUNsNPIEXte1c5X2EV4Xlnn7kRyNE6iIyEMpA/hO+5HAVZpa3qmtNPpNO3/tJokUN1eJxP5Rd+V+i5WQaePIc/KreHxka/mkQf9wrnKOxMEr4g97LJFCFsEj0zSFl1GyuLje4G29T4XshhTjootUrJJG7FHVo5EZQCLnSLi1+HMGoe5rgQvKN7G0kbzcrjQs0yqxurJ5rz9uUDlmi1udYseHE/SreF7QxAeIm422Um4q52n7Ow4SCOIRasVMzWfUxCrr2AF9JNiq8Op6UV7S9k4PusqQxBZsMsbswU3kBU6t+ewJ9QKVEEWOf4WizSaEbCS8hxIB8IFAgX7WaSNiswjaTUE29BejuD7YBVAXDsx9bfRTTvkmBVsPhCsOH7togZtUY1myLYpYb+LjfrQrsfnpd8XBCQIolkaCy2IGt7XvueIsDVu7jN449VIdp9j9sROzm3nzI6Dm+nllL+JzvE4gER4NzvY2V2sehsosaX8Q0sUmiRCjbXVgQRfcbHyrQOxeYvNgsSztK0hm1Ew6VlN1j/JwXl8L0l9rYnXFXdZluEYd+waUjhckEi1w1EZGyy3an9NFC+d8BjaNt9STdDz9/JGMrlJ40YtcVWwmHAq+eFZJyvKE2fRD5ErkLUmMHha3Gx4ceB4V6o2qtUrigKCS8wh0yV0ZbCr3abDd3KUbYjceY60JF7Wr0TTi15N4o5T72Rx2pAOniPsP71fzLUyEI+g3UBrgafEtzc+V9ud7c6WOxuJ06gelviaZJsEuJhkiY2DgqGtfSRYqw8wwDe1Z8rmh3KchcNqqhMZuy2Oqx0hkZEIsCm+/AMTbfUfh2ss0LqZnVYiwBZ2QA6ka45ENqAsBtYH3FN9n55YpgCmk/hka2Y6pGfS4uGku9v9RG9dD7Pib3xTbqinwcdChd/Hw24Cw3PrVEzhOaYpV7u7C0lgpuPGSLjR1JAvtxq6l+Fj8Kz3HfZwxVj97fihFo7W7sMq8H3NmI5eHbzqziuwLMZCMY6lyx2Q2AkWYHbvN2AlAVhayxoLG16lQnwCutNRwvepRXKFxa1RzRfv8ASpzXFcpSTJlLJmuHe34bLLY/ysEJ0nz5j/Fdduez64iMg8bbHpTbKljequKw+v25VDWgKz3l1Er8tZzk8mEmKMCBvpPUfv8ASvoLlFbj4iPle9bR9o3YwTw6l/OhG/QEgN67E/AUHwH2RuDYsNKq1vNmTTf471G1T3mFW7LhmxOHKKzEPG1lBJsGUk7crc60+PL7ZripyVUJAlmY2VWdLXJ5ABG+NJeXZEcNMFhdxIp7tSpAJ/h2uOdEHyiViytKS0rKrKcVqLkkKNaq24Gw34CqS9oxE4B8uP7W5rv9R6Wd9t3fl2mm+ZBPJHQfyj+KwmrEYDGK6SEEQzPGbozFWUMCOWosPcV0+Zwl8xg7uOI6Dd9QBmLo25vbfxfOlnD5RC7CJEIYkW1PdQQpL7AcyNqkXJYVWMu6qXUMLQ6gASR4j6g8KXPaLP0tJ/YdVlu7c05GGuNChdNqnbh1INcfEeSPZX2kwqw4LvGiLiIprurNA2gDxDiAbEfDrVPIc+jiixMcmLtI8zOs0cTPqDhCWVdJA4EWPD50OiwCrOYpW0BWKsyjVuOFh5n60eHZRBiWjLuY0jEh4amuSLCw4bGqjXOfe1nWuf6Qf967wODIeT1eDRsu4LOOccH3QaDNIExMrscVN3qL+OoMUqsAVI0jSLWCWNuXOrGL7Vfj4VkildMPru8rIJZNaFOtvM9farx7PwyCCSEusckmhgxuw/NwPI+EjnxFWcTleHkXEpHF3bwC4bUTq2J3v6Ee9QdXOcgN9Oc4vHwUP7Z1Dzu2M4oWXG/DWKIA8PsPS0F//wBSzAiXDrIFmMsRaWzR+LUq7Kb2Nx6G1eDtfjDMz6oyjAgREFkW9uYAYnY8TzNEexMas0wZUJCggsoYLbVv6cKJZXjg2MT8SJx3Tj8NCijdWtuTfYE0Nupme0GwLxx6+pSre09RI0O8I3Y/LdZ6bia+ASlDmWJCQhGCrBfQViJsG2KuWYgixAt5DnXSYDFpJJiAJUdwQ7LCqAjYkkaSBwuTR7D4dkwGLVlK2ckXBF7aOF+O4FMpl8YcMzN3NxECAr7g6t+fAe4qWSTvHif08h5n6KWa/WSXukqxmmsHJN9LOcrPMh7P4gofu7SqhO5WXu1Yj0IvXz9l5JZJBICXjTU3eSMx07nwm5uONMSYV8RgkjiOmSNzrTVoI3fj8Qf/ABV7E4oHElRJHqGHZHLNYXJFt+o3NvOh7pCAS93Trzf0QTq9U+numfZrO4i76YrhKGAnNzc32FEVloPhjYn4fCrizVGmcTGLT/Zby/TguNmz/lS438j/ANLfQ10g2FQYibwN/S30NTI+1MrTVz7SOzZmhMsY/Ej8Q8xzWsswmO1DhYjiOfnX6BxE6EEE3v5GsO7W5IcJjGdB+DKSRy0tzH61qQyj8pK89M0HKtZLidMnS4p+w2yAc7X+NZTDi/GGBHpWn4DFB41I6CldS3NhAjxhEY578eP1qyjgWvtQsPY0Rj3G1TG6wnGOsK1INiD0qg2JsQOqg/C4/Sr6kN5GgmfN3YRuBBsOhBBNFRCjGHnvwN6s/fVH5mA9TSph8wYi9zboLL/avpcVc7lB6ks3yH61CraZpM5jGwOo+W1/jVObOzf8oA8zuaDIyc5T7bV7BicOGHMjnYsRyvc3tULspnw84dLn38vWvka3oaWYs+VMS7eIxsiqQBe2kEqfW5dT5Mv8tF8PnscoUKCLmw1bHbbgL1G4BFEbjkBd5hh9asosbgj5EGp4V3tzsL1NEvEVKsdXQcpHzA6MYT0kRv8A0tX2NxKRztaIKUlvq1uT4JLmwJtvbpzol2jyNmlDqdm2P+kqAB8d/hUGF7OqZdDsx8IbYgb3seVYkmkm3OIGCSRwsl2lmLnbR1voo4MMI8T32tO5Dlw2tSStyQAt9Wre1rV5DmUYjhVgtwrDXoV3iIkYr4W2Isb249Dypji7HYYC+lj6uf0tUWN7IQnQUVl0t4gGNmHRr3vwqzdJL0ofv6enoijSSjih+/p6eiSsSTrY6tZJJ1C/iJ3vuAaZsR2tQYhZVVmUx924I0k+Im67+dXsRkcUX3iQwK4Ch41seOkgoB/UB/uqPKsRE0kKGDDqWWcOVVWAkgaIDu2/lZWZxfe1uG9WZpHRmt/NHi/muj0skZw4C/S+qEYvtCoSOPDIUVHDjUdTFgSQLXO1yedWMTn8kiuI8NoeUWdwGYsLW/l6Xqz2dzaeeVLghO6gciNIVT8RG1ai5121KbaOXOrGKzFxiSqzN3nfxoIAyOGhdYy8hVV1ppDSNcn+AcQbG4gNXv8A4A/ZFEJq95o4wAP2QTKIsXAxaOBiWGnxRm1rg+XSruKwuYSlGKaShJUroQgnj/FXGRTzNPEZjKbx4c+IYkjVoKSbR/hg6luS/wDNRSTIHlxbuQIwsqsH0nXIncoDGpBtpLd4GuD9LQ3SjbQJryv+lzNM3ZQLqvi/6QjN8NjDGO/fwk2Ci7XPEA90hF+gPE7DeqkmEk1WbG4fVGCLDEO7xi4UjSq3G9haixyqWXC4eCWERrDGA7yyLp1LEIlZRGxJPidgSVsVB6VIcYV75/vOFjnlhiQXnBAkjaYM/C5BVlI2O/Ebb3/DMJs2fclXGma42QT7k/UIRBlMLWJxTSM2r/6WHlkPgYK97AkWYgG9Cs2w/cyvHe+hrXtx53pqjyAzdyVMAESyIBaaVGVzEwZmDIWbUjEk8dV+NCM2wqT4uQmQRpZ21vG6qe4AWYLqAuRpZrC/h3rvw8Y/SPv3R4dPA0nvGj4/2gC4qplxNXp8nwrRv3E7SyCHv1IW0bIH0N53BDC17jnQEYVquGNaKC1Ye721EBXoiE2J8Df0n6GrCYrah0OVyOG6BSfXY0TXs5NbarhhKIXgHKdla4oH2qyMT4cpzAup6EcKLdm3WaIHUenLjV7FpHGviJJt14+wqRE9rlitidJwvzzISGsdiuxHDhTx2HzK4KE8OFKXbzDsmN1LdY33PqOPx2qz2ax2mVbc9ib+lNvZ4aKFLA6F1FacBfeiOHTwjj14/CqGHXVbpRAKetqXibyUSMdVZvel7tdLaNBf+NRf1DDej44UndusZpEQO9ybn+kf5o6OV9gJD+VuVWMRELX5jn5UJy/FggG9/wB/2oozi1/l5c6hUVErY7bfSuMRJzNyOnH2AHOu5V43qCbEafhVXmgUSJoc6iFEe+dgoUInW4J/2g3J9bUbyrKggLSMWP8AqsFA9OFC8Dmml11gXPD086Y1j70BjcgcuRPWk+q2AjmUYgMLC+1+PMHn/iiaxi5PXz6eVL+WSMHDbaC2gbjc33FuO229MOkgnfbaw6U3GbaFlTNAdhRzwA2vy4b/AL6UOkw471G6gg8vym44USlUkqQdgdxbj+96p49PEnIhx8GUgj61c8IQRWM+GqGKzO3D2HXzPlVsvaNje1lJv0sL3rL8TnDvO0yk2OwB4aRwBHz9avEzcokftTZnXadAO7kjWa5VipOlRpYMurY33ANvLeqMOcxTaw2Dw+mwc3UMCyjSpIsBexIv0pW70sSSbknc0XydfDKeij60Z8LA26ygNeXOTXlefXQvoTwq3hRdJIiRmVQb+oHS9UP/AIgloo3SOI964QWnaTReJpB3ghiZg3hI0gGq3ZRroxIJAdgQOJBUgj4Gr7iF44oO4kKQBdB75o2XShQHVGQxOkkcedIua7omHbj+U0vZu1k33hIUWIlmjQrpl1qZIRI0niABRL3IOkkC2xqLD9osUNBdomJxc2HKpGUB7qOcrYl2PiZIz5XtvVXM8SEKCLDREkK15A8rB4iEg8WoEHxkaidheh2I7UThXYdyosJV0wAEzFA76gxPiC6jq47r1tV2wvdm1o6bsrUahoe1wo+p868l5icxkxuEmhklMolw2s2WEJHKhikeOyHWpGojTILnQTeuo8QMJgsOYlihYzd1JiDEhZBpZl3awFzpW7GwqCXtDipoyEkYh0JbSsdlYohCtpQX1EkXPXyN+svYmFA5dQwXvVaWRRYPMsjqAR+JYQkLvx2FcYCBlybPY8kcJD5Bd9Ofl9/BfY/G4vFKjIMV3oRxdHKgS4eVCSY4yIiXickXazbAed6LsvN3yaljTDriJZw7yWcR4iMiTDmO2xuTc3t60NyXVoKznWwdSjsWkFmhkHiBNiqSGIlbcjxq+zKCQgst9gBYbgaio5AtqIHIGhSRtb+q0pN2UyJ1d5u44GP8lRZL2fwuCdHOILuInikSNCY5Nd/FvwNtN99yt+ZryHC8yLDqeFc+C51tpI3A5n0qKbMHkRUIAVb8OLdNX9qFStDC2IbY0YTT93mdL7Rvx33CtuPKjinah+DwQ7jQw2ZSDy2YWP1onGmwppowk5HeIpGyrFNCfCbWN7Dh7ij8+P74Bvl0NLzpvV3BMQwHI2BpCN7tPMWP+/VZnZuoMEu13CqZ1l4cElQfUA/WgCYZOSgG/JQCLelan/0hO7NxfbjWXTraWRf5XI+QP61fUROB7wFX7SiO7vGn3TrlWK/DFt2PHyrzMYWHjBPmLnbzoZkeIZTYfxbUwKm3GitAnirg/NUiPfRUhEGOZWBuT5EmxpZ+0bF6liI4a9/dTb50yYqDSxA4f3pR7cpbDlv5GU263NrfOk9NK6N5jd9lCgkcx+xymyPFhkA526WvRuNqD/Z3k/3lC7OUVGI0qN24cWN6ZcRhQjso5G1dqmOicHtK6djo3b2lDMyxIQ6eLAC/TcXXf0tVLDY5XJXYsBvtx866z/D/AMQ2JtfztcD6UtiAowdWsfT5elWe78Q2+FrsibqINzcH5/RHMbh7+JdnXh5+Ro72dz1Z17u5BAtbgaERbqD1APxqFMHpnR1NiTY7cbc6BA83sKDopyD3T+ExyQMjkEm97g38gL/KjuQ5wb925vf8pJub/wAp/SqkOH71WLHdQWG3QcPT/FDdNc4P00gIP35JCe4ZbabCecVh9alb2B/iBIZSOFrUl495EfSzNcEfxH2Ipjw+bN92MjC5QNfe2rSL38jSfhM2bGQJO4ClrkAbgDUQBfn609PF30feNPS/grTgPZuanDs7mfeIYXPi0kKT/ELHY+Y+npSEY9O3SjMJKkEGxBuD0IodiI7knzP1q/Z03eNMb/sIbZN7drlAoFG+z8Y0Sjmw2HkONqBoN7URwhK2INiKXlc/SyVdj5fVLsJhkRLKMETAwF1bWxBBI8t/KqTSOCQWYHnuaYcGv4akbXF/jVPOsGNIccbgHz42+lW1ce5veNTuoZubvaucNKsy2dVYrbYgEdAwB57/AD86GdpcUsaAnYsQotz1bbjnXkTFSCDuKq45O+xaBuCLqA82roZu9jLXchH0rjO3u3HhR4LDiMWUBfQAfSr3flh9a9xcFtxzqBBY0g17oXkFdHI7TSljsj7yvhARw4V8kxBuDarojqtiIrH1omoYQN4KProC0d40+/1UXdgm/M8Tzr1YTx6fKvUG9Hcnw4Oq4vyosf8AyGUeUQSjU6cg8j7tDcLj2RgbkjmCb7f3plgm1KCDcGlrHYUJIyg7Dh771wjEDYn40KHUOhJa7Kx45nREtdlf/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pic>
        <p:nvPicPr>
          <p:cNvPr id="59403" name="Picture 11" descr="http://wien.kpoe.at/images/articles/20111017095342467_1.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48001" y="2492896"/>
            <a:ext cx="1956447" cy="2419817"/>
          </a:xfrm>
          <a:prstGeom prst="rect">
            <a:avLst/>
          </a:prstGeom>
          <a:noFill/>
          <a:extLst>
            <a:ext uri="{909E8E84-426E-40dd-AFC4-6F175D3DCCD1}">
              <a14:hiddenFill xmlns:a14="http://schemas.microsoft.com/office/drawing/2010/main">
                <a:solidFill>
                  <a:srgbClr val="FFFFFF"/>
                </a:solidFill>
              </a14:hiddenFill>
            </a:ext>
          </a:extLst>
        </p:spPr>
      </p:pic>
      <p:sp>
        <p:nvSpPr>
          <p:cNvPr id="16" name="Rechteck 15"/>
          <p:cNvSpPr/>
          <p:nvPr/>
        </p:nvSpPr>
        <p:spPr>
          <a:xfrm>
            <a:off x="444500" y="1700808"/>
            <a:ext cx="4055250"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e-DE" sz="1400" b="1" dirty="0">
                <a:solidFill>
                  <a:schemeClr val="tx1"/>
                </a:solidFill>
              </a:rPr>
              <a:t>Wahlkampf Oktober 2010</a:t>
            </a:r>
          </a:p>
        </p:txBody>
      </p:sp>
      <p:cxnSp>
        <p:nvCxnSpPr>
          <p:cNvPr id="17" name="Gerade Verbindung 16"/>
          <p:cNvCxnSpPr/>
          <p:nvPr/>
        </p:nvCxnSpPr>
        <p:spPr>
          <a:xfrm>
            <a:off x="539750" y="2061022"/>
            <a:ext cx="381635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4716016" y="1700808"/>
            <a:ext cx="4052048" cy="3602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b="1" dirty="0">
                <a:solidFill>
                  <a:schemeClr val="tx1"/>
                </a:solidFill>
              </a:rPr>
              <a:t>Politischer Erfolg Ende 2011</a:t>
            </a:r>
          </a:p>
        </p:txBody>
      </p:sp>
      <p:cxnSp>
        <p:nvCxnSpPr>
          <p:cNvPr id="19" name="Gerade Verbindung 18"/>
          <p:cNvCxnSpPr/>
          <p:nvPr/>
        </p:nvCxnSpPr>
        <p:spPr>
          <a:xfrm>
            <a:off x="4787900" y="2061022"/>
            <a:ext cx="381654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Inhaltsplatzhalter 2"/>
          <p:cNvSpPr txBox="1">
            <a:spLocks/>
          </p:cNvSpPr>
          <p:nvPr/>
        </p:nvSpPr>
        <p:spPr>
          <a:xfrm>
            <a:off x="4787900" y="5228976"/>
            <a:ext cx="3816548" cy="504168"/>
          </a:xfrm>
          <a:prstGeom prst="rect">
            <a:avLst/>
          </a:prstGeom>
          <a:solidFill>
            <a:schemeClr val="tx2"/>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b="1" dirty="0"/>
              <a:t>Ergebnis: Jahreskarte für 365 €</a:t>
            </a:r>
          </a:p>
        </p:txBody>
      </p:sp>
      <p:sp>
        <p:nvSpPr>
          <p:cNvPr id="24" name="Inhaltsplatzhalter 2"/>
          <p:cNvSpPr txBox="1">
            <a:spLocks/>
          </p:cNvSpPr>
          <p:nvPr/>
        </p:nvSpPr>
        <p:spPr>
          <a:xfrm>
            <a:off x="526750" y="5228976"/>
            <a:ext cx="3829350" cy="504168"/>
          </a:xfrm>
          <a:prstGeom prst="rect">
            <a:avLst/>
          </a:prstGeom>
          <a:solidFill>
            <a:schemeClr val="tx2"/>
          </a:solidFill>
          <a:ln>
            <a:noFill/>
          </a:ln>
        </p:spPr>
        <p:txBody>
          <a:bodyPr vert="horz" lIns="90000" tIns="46800" rIns="91440" bIns="46800" rtlCol="0" anchor="ctr" anchorCtr="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lgn="ctr">
              <a:buNone/>
            </a:pPr>
            <a:r>
              <a:rPr lang="de-DE" sz="1400" b="1" dirty="0"/>
              <a:t>Ziel: Jahreskarte für 100 €</a:t>
            </a:r>
          </a:p>
        </p:txBody>
      </p:sp>
      <p:pic>
        <p:nvPicPr>
          <p:cNvPr id="8" name="Grafik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85512" y="2891559"/>
            <a:ext cx="1793708" cy="1622491"/>
          </a:xfrm>
          <a:prstGeom prst="rect">
            <a:avLst/>
          </a:prstGeom>
        </p:spPr>
      </p:pic>
      <p:sp>
        <p:nvSpPr>
          <p:cNvPr id="20" name="Rechteck 19">
            <a:extLst>
              <a:ext uri="{FF2B5EF4-FFF2-40B4-BE49-F238E27FC236}">
                <a16:creationId xmlns:a16="http://schemas.microsoft.com/office/drawing/2014/main" xmlns="" id="{4B347FB1-195A-4278-BD6F-4F0B550759BC}"/>
              </a:ext>
            </a:extLst>
          </p:cNvPr>
          <p:cNvSpPr/>
          <p:nvPr/>
        </p:nvSpPr>
        <p:spPr>
          <a:xfrm>
            <a:off x="-4212976" y="1375874"/>
            <a:ext cx="2676075" cy="369332"/>
          </a:xfrm>
          <a:prstGeom prst="rect">
            <a:avLst/>
          </a:prstGeom>
          <a:solidFill>
            <a:srgbClr val="92D050"/>
          </a:solidFill>
        </p:spPr>
        <p:txBody>
          <a:bodyPr wrap="square">
            <a:spAutoFit/>
          </a:bodyPr>
          <a:lstStyle/>
          <a:p>
            <a:r>
              <a:rPr lang="de-DE" dirty="0"/>
              <a:t>Skizze Ausgangslage</a:t>
            </a:r>
          </a:p>
        </p:txBody>
      </p:sp>
    </p:spTree>
    <p:extLst>
      <p:ext uri="{BB962C8B-B14F-4D97-AF65-F5344CB8AC3E}">
        <p14:creationId xmlns:p14="http://schemas.microsoft.com/office/powerpoint/2010/main" val="1220502237"/>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0666" name="think-cell Folie" r:id="rId20" imgW="270" imgH="270" progId="TCLayout.ActiveDocument.1">
                  <p:embed/>
                </p:oleObj>
              </mc:Choice>
              <mc:Fallback>
                <p:oleObj name="think-cell Folie" r:id="rId20" imgW="270" imgH="270" progId="TCLayout.ActiveDocument.1">
                  <p:embed/>
                  <p:pic>
                    <p:nvPicPr>
                      <p:cNvPr id="3" name="Objekt 2"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de-DE" sz="2200" b="1" dirty="0">
              <a:solidFill>
                <a:schemeClr val="tx1"/>
              </a:solidFill>
              <a:latin typeface="Arial" panose="020B0604020202020204" pitchFamily="34" charset="0"/>
              <a:ea typeface="+mj-ea"/>
              <a:cs typeface="+mj-cs"/>
              <a:sym typeface="Arial" panose="020B0604020202020204" pitchFamily="34" charset="0"/>
            </a:endParaRPr>
          </a:p>
        </p:txBody>
      </p:sp>
      <p:sp>
        <p:nvSpPr>
          <p:cNvPr id="40" name="Gleichschenkliges Dreieck 39">
            <a:extLst>
              <a:ext uri="{FF2B5EF4-FFF2-40B4-BE49-F238E27FC236}">
                <a16:creationId xmlns:a16="http://schemas.microsoft.com/office/drawing/2014/main" xmlns="" id="{A095681F-3FF6-473B-84C3-BAAC3CDC7AF9}"/>
              </a:ext>
            </a:extLst>
          </p:cNvPr>
          <p:cNvSpPr/>
          <p:nvPr/>
        </p:nvSpPr>
        <p:spPr>
          <a:xfrm rot="16200000">
            <a:off x="1771001" y="3226207"/>
            <a:ext cx="4294842" cy="1179981"/>
          </a:xfrm>
          <a:prstGeom prst="triangle">
            <a:avLst/>
          </a:prstGeom>
          <a:solidFill>
            <a:schemeClr val="accent5">
              <a:lumMod val="20000"/>
              <a:lumOff val="80000"/>
            </a:schemeClr>
          </a:solidFill>
          <a:ln w="952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42" name="Rechteck 41">
            <a:extLst>
              <a:ext uri="{FF2B5EF4-FFF2-40B4-BE49-F238E27FC236}">
                <a16:creationId xmlns:a16="http://schemas.microsoft.com/office/drawing/2014/main" xmlns="" id="{1622079A-7E72-4A4F-A6B7-12A24808B192}"/>
              </a:ext>
            </a:extLst>
          </p:cNvPr>
          <p:cNvSpPr/>
          <p:nvPr/>
        </p:nvSpPr>
        <p:spPr>
          <a:xfrm>
            <a:off x="4508412" y="1668780"/>
            <a:ext cx="4096036" cy="429484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de-DE" sz="1600" dirty="0">
              <a:solidFill>
                <a:schemeClr val="tx1"/>
              </a:solidFill>
            </a:endParaRPr>
          </a:p>
        </p:txBody>
      </p:sp>
      <p:sp>
        <p:nvSpPr>
          <p:cNvPr id="27" name="Textplatzhalter 5"/>
          <p:cNvSpPr txBox="1">
            <a:spLocks/>
          </p:cNvSpPr>
          <p:nvPr>
            <p:custDataLst>
              <p:tags r:id="rId4"/>
            </p:custDataLst>
          </p:nvPr>
        </p:nvSpPr>
        <p:spPr>
          <a:xfrm>
            <a:off x="4960123" y="1799721"/>
            <a:ext cx="3526406" cy="697922"/>
          </a:xfrm>
          <a:prstGeom prst="rect">
            <a:avLst/>
          </a:prstGeom>
          <a:solidFill>
            <a:schemeClr val="accent5">
              <a:lumMod val="40000"/>
              <a:lumOff val="60000"/>
            </a:schemeClr>
          </a:solidFill>
        </p:spPr>
        <p:txBody>
          <a:bodyPr vert="horz" lIns="468000" tIns="46800" rIns="7200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spcBef>
                <a:spcPts val="1300"/>
              </a:spcBef>
              <a:buNone/>
            </a:pPr>
            <a:r>
              <a:rPr lang="de-DE" sz="1400" dirty="0">
                <a:solidFill>
                  <a:prstClr val="black"/>
                </a:solidFill>
              </a:rPr>
              <a:t>Deutliche Anhebung der Preise bei den meisten anderen Tarifprodukten </a:t>
            </a:r>
            <a:endParaRPr lang="de-DE" sz="1400" strike="sngStrike" dirty="0">
              <a:solidFill>
                <a:schemeClr val="accent6"/>
              </a:solidFill>
            </a:endParaRPr>
          </a:p>
        </p:txBody>
      </p:sp>
      <p:sp>
        <p:nvSpPr>
          <p:cNvPr id="83" name="Textplatzhalter 5">
            <a:extLst>
              <a:ext uri="{FF2B5EF4-FFF2-40B4-BE49-F238E27FC236}">
                <a16:creationId xmlns:a16="http://schemas.microsoft.com/office/drawing/2014/main" xmlns="" id="{84404338-D304-4552-9B3B-83C1F0307EB9}"/>
              </a:ext>
            </a:extLst>
          </p:cNvPr>
          <p:cNvSpPr txBox="1">
            <a:spLocks/>
          </p:cNvSpPr>
          <p:nvPr>
            <p:custDataLst>
              <p:tags r:id="rId5"/>
            </p:custDataLst>
          </p:nvPr>
        </p:nvSpPr>
        <p:spPr>
          <a:xfrm>
            <a:off x="4960123" y="4292399"/>
            <a:ext cx="3526406" cy="697922"/>
          </a:xfrm>
          <a:prstGeom prst="rect">
            <a:avLst/>
          </a:prstGeom>
          <a:solidFill>
            <a:schemeClr val="accent5">
              <a:lumMod val="40000"/>
              <a:lumOff val="60000"/>
            </a:schemeClr>
          </a:solidFill>
        </p:spPr>
        <p:txBody>
          <a:bodyPr vert="horz" lIns="468000" tIns="46800" rIns="7200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spcBef>
                <a:spcPts val="1300"/>
              </a:spcBef>
              <a:buNone/>
            </a:pPr>
            <a:r>
              <a:rPr lang="de-DE" sz="1400" dirty="0">
                <a:solidFill>
                  <a:prstClr val="black"/>
                </a:solidFill>
              </a:rPr>
              <a:t>Anhebung der Schwarzfahrergebühr von 70 € auf 100 € bzw. bis zu </a:t>
            </a:r>
            <a:r>
              <a:rPr lang="de-DE" sz="1400" b="1" dirty="0">
                <a:solidFill>
                  <a:prstClr val="black"/>
                </a:solidFill>
              </a:rPr>
              <a:t>115 €</a:t>
            </a:r>
            <a:r>
              <a:rPr lang="de-DE" sz="1400" dirty="0">
                <a:solidFill>
                  <a:prstClr val="black"/>
                </a:solidFill>
              </a:rPr>
              <a:t> in 2018 (Deutschland: 60 €)</a:t>
            </a:r>
          </a:p>
        </p:txBody>
      </p:sp>
      <p:sp>
        <p:nvSpPr>
          <p:cNvPr id="94" name="Textplatzhalter 5">
            <a:extLst>
              <a:ext uri="{FF2B5EF4-FFF2-40B4-BE49-F238E27FC236}">
                <a16:creationId xmlns:a16="http://schemas.microsoft.com/office/drawing/2014/main" xmlns="" id="{AEA1BA0E-B86D-45FA-A025-46DC243B15A5}"/>
              </a:ext>
            </a:extLst>
          </p:cNvPr>
          <p:cNvSpPr txBox="1">
            <a:spLocks/>
          </p:cNvSpPr>
          <p:nvPr>
            <p:custDataLst>
              <p:tags r:id="rId6"/>
            </p:custDataLst>
          </p:nvPr>
        </p:nvSpPr>
        <p:spPr>
          <a:xfrm>
            <a:off x="4959466" y="2603769"/>
            <a:ext cx="3526243" cy="698756"/>
          </a:xfrm>
          <a:prstGeom prst="rect">
            <a:avLst/>
          </a:prstGeom>
          <a:solidFill>
            <a:schemeClr val="accent5">
              <a:lumMod val="40000"/>
              <a:lumOff val="60000"/>
            </a:schemeClr>
          </a:solidFill>
        </p:spPr>
        <p:txBody>
          <a:bodyPr vert="horz" lIns="468000" tIns="46800" rIns="7200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spcBef>
                <a:spcPts val="1300"/>
              </a:spcBef>
              <a:buNone/>
            </a:pPr>
            <a:r>
              <a:rPr lang="de-DE" sz="1400" dirty="0">
                <a:latin typeface="Arial" panose="020B0604020202020204" pitchFamily="34" charset="0"/>
                <a:cs typeface="Arial" panose="020B0604020202020204" pitchFamily="34" charset="0"/>
                <a:sym typeface="Arial" panose="020B0604020202020204" pitchFamily="34" charset="0"/>
              </a:rPr>
              <a:t>Einzelfahrscheine und Mehrfahrten-karten </a:t>
            </a:r>
            <a:r>
              <a:rPr lang="de-DE" sz="1400" b="1" dirty="0">
                <a:latin typeface="Arial" panose="020B0604020202020204" pitchFamily="34" charset="0"/>
                <a:cs typeface="Arial" panose="020B0604020202020204" pitchFamily="34" charset="0"/>
                <a:sym typeface="Arial" panose="020B0604020202020204" pitchFamily="34" charset="0"/>
              </a:rPr>
              <a:t>um 11 % </a:t>
            </a:r>
            <a:r>
              <a:rPr lang="de-DE" sz="1400" dirty="0">
                <a:latin typeface="Arial" panose="020B0604020202020204" pitchFamily="34" charset="0"/>
                <a:cs typeface="Arial" panose="020B0604020202020204" pitchFamily="34" charset="0"/>
                <a:sym typeface="Arial" panose="020B0604020202020204" pitchFamily="34" charset="0"/>
              </a:rPr>
              <a:t>auf 2,00 €  und </a:t>
            </a:r>
            <a:r>
              <a:rPr lang="de-DE" sz="1400" b="1" dirty="0">
                <a:latin typeface="Arial" panose="020B0604020202020204" pitchFamily="34" charset="0"/>
                <a:cs typeface="Arial" panose="020B0604020202020204" pitchFamily="34" charset="0"/>
                <a:sym typeface="Arial" panose="020B0604020202020204" pitchFamily="34" charset="0"/>
              </a:rPr>
              <a:t>um weitere 20 % </a:t>
            </a:r>
            <a:r>
              <a:rPr lang="de-DE" sz="1400" dirty="0">
                <a:latin typeface="Arial" panose="020B0604020202020204" pitchFamily="34" charset="0"/>
                <a:cs typeface="Arial" panose="020B0604020202020204" pitchFamily="34" charset="0"/>
                <a:sym typeface="Arial" panose="020B0604020202020204" pitchFamily="34" charset="0"/>
              </a:rPr>
              <a:t>auf 2,40 € in 2018</a:t>
            </a:r>
            <a:endParaRPr lang="de-DE" sz="1400" dirty="0">
              <a:solidFill>
                <a:prstClr val="black"/>
              </a:solidFill>
            </a:endParaRPr>
          </a:p>
        </p:txBody>
      </p:sp>
      <p:sp>
        <p:nvSpPr>
          <p:cNvPr id="95" name="Textplatzhalter 5">
            <a:extLst>
              <a:ext uri="{FF2B5EF4-FFF2-40B4-BE49-F238E27FC236}">
                <a16:creationId xmlns:a16="http://schemas.microsoft.com/office/drawing/2014/main" xmlns="" id="{10E81FF9-CD33-4DB7-9654-DEBA749EC77C}"/>
              </a:ext>
            </a:extLst>
          </p:cNvPr>
          <p:cNvSpPr txBox="1">
            <a:spLocks/>
          </p:cNvSpPr>
          <p:nvPr>
            <p:custDataLst>
              <p:tags r:id="rId7"/>
            </p:custDataLst>
          </p:nvPr>
        </p:nvSpPr>
        <p:spPr>
          <a:xfrm>
            <a:off x="4959466" y="3448084"/>
            <a:ext cx="3526243" cy="698756"/>
          </a:xfrm>
          <a:prstGeom prst="rect">
            <a:avLst/>
          </a:prstGeom>
          <a:solidFill>
            <a:schemeClr val="accent5">
              <a:lumMod val="40000"/>
              <a:lumOff val="60000"/>
            </a:schemeClr>
          </a:solidFill>
        </p:spPr>
        <p:txBody>
          <a:bodyPr vert="horz" lIns="468000" tIns="46800" rIns="7200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spcBef>
                <a:spcPts val="1300"/>
              </a:spcBef>
              <a:buNone/>
            </a:pPr>
            <a:r>
              <a:rPr lang="de-DE" sz="1400" dirty="0">
                <a:latin typeface="Arial" panose="020B0604020202020204" pitchFamily="34" charset="0"/>
                <a:cs typeface="Arial" panose="020B0604020202020204" pitchFamily="34" charset="0"/>
                <a:sym typeface="Arial" panose="020B0604020202020204" pitchFamily="34" charset="0"/>
              </a:rPr>
              <a:t>Bei der beliebten „</a:t>
            </a:r>
            <a:r>
              <a:rPr lang="de-DE" sz="1400" dirty="0">
                <a:solidFill>
                  <a:prstClr val="black"/>
                </a:solidFill>
              </a:rPr>
              <a:t>8er-Tages-Karte</a:t>
            </a:r>
            <a:r>
              <a:rPr lang="de-DE" sz="1400" b="1" dirty="0">
                <a:solidFill>
                  <a:prstClr val="black"/>
                </a:solidFill>
              </a:rPr>
              <a:t>“ um 17 %</a:t>
            </a:r>
            <a:r>
              <a:rPr lang="de-DE" sz="1400" dirty="0">
                <a:solidFill>
                  <a:prstClr val="black"/>
                </a:solidFill>
              </a:rPr>
              <a:t> auf 33,60 € </a:t>
            </a:r>
            <a:r>
              <a:rPr lang="de-DE" sz="1400" dirty="0">
                <a:latin typeface="Arial" panose="020B0604020202020204" pitchFamily="34" charset="0"/>
                <a:cs typeface="Arial" panose="020B0604020202020204" pitchFamily="34" charset="0"/>
                <a:sym typeface="Arial" panose="020B0604020202020204" pitchFamily="34" charset="0"/>
              </a:rPr>
              <a:t>und um </a:t>
            </a:r>
            <a:r>
              <a:rPr lang="de-DE" sz="1400" b="1" dirty="0">
                <a:latin typeface="Arial" panose="020B0604020202020204" pitchFamily="34" charset="0"/>
                <a:cs typeface="Arial" panose="020B0604020202020204" pitchFamily="34" charset="0"/>
                <a:sym typeface="Arial" panose="020B0604020202020204" pitchFamily="34" charset="0"/>
              </a:rPr>
              <a:t>weitere 20 % </a:t>
            </a:r>
            <a:r>
              <a:rPr lang="de-DE" sz="1400" dirty="0">
                <a:latin typeface="Arial" panose="020B0604020202020204" pitchFamily="34" charset="0"/>
                <a:cs typeface="Arial" panose="020B0604020202020204" pitchFamily="34" charset="0"/>
                <a:sym typeface="Arial" panose="020B0604020202020204" pitchFamily="34" charset="0"/>
              </a:rPr>
              <a:t>auf</a:t>
            </a:r>
            <a:r>
              <a:rPr lang="de-DE" sz="1400" dirty="0">
                <a:solidFill>
                  <a:prstClr val="black"/>
                </a:solidFill>
              </a:rPr>
              <a:t> 40,80 € in 2018</a:t>
            </a:r>
          </a:p>
        </p:txBody>
      </p:sp>
      <p:sp>
        <p:nvSpPr>
          <p:cNvPr id="87" name="Textplatzhalter 5">
            <a:extLst>
              <a:ext uri="{FF2B5EF4-FFF2-40B4-BE49-F238E27FC236}">
                <a16:creationId xmlns:a16="http://schemas.microsoft.com/office/drawing/2014/main" xmlns="" id="{9707466B-4E1E-4560-8701-D181B13F89B2}"/>
              </a:ext>
            </a:extLst>
          </p:cNvPr>
          <p:cNvSpPr txBox="1">
            <a:spLocks/>
          </p:cNvSpPr>
          <p:nvPr>
            <p:custDataLst>
              <p:tags r:id="rId8"/>
            </p:custDataLst>
          </p:nvPr>
        </p:nvSpPr>
        <p:spPr>
          <a:xfrm>
            <a:off x="4960123" y="5135880"/>
            <a:ext cx="3526406" cy="697922"/>
          </a:xfrm>
          <a:prstGeom prst="rect">
            <a:avLst/>
          </a:prstGeom>
          <a:solidFill>
            <a:schemeClr val="accent5">
              <a:lumMod val="40000"/>
              <a:lumOff val="60000"/>
            </a:schemeClr>
          </a:solidFill>
        </p:spPr>
        <p:txBody>
          <a:bodyPr vert="horz" lIns="468000" tIns="46800" rIns="7200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spcBef>
                <a:spcPts val="1300"/>
              </a:spcBef>
              <a:buNone/>
            </a:pPr>
            <a:r>
              <a:rPr lang="de-DE" sz="1400" dirty="0">
                <a:solidFill>
                  <a:prstClr val="black"/>
                </a:solidFill>
              </a:rPr>
              <a:t>In Summe deutliche Veränderung der Nutzenschwellen bzw. Kaufanreize für nahezu alle Bestandskunden</a:t>
            </a:r>
          </a:p>
        </p:txBody>
      </p:sp>
      <p:sp>
        <p:nvSpPr>
          <p:cNvPr id="32" name="Titel 31"/>
          <p:cNvSpPr>
            <a:spLocks noGrp="1"/>
          </p:cNvSpPr>
          <p:nvPr>
            <p:ph type="title"/>
            <p:custDataLst>
              <p:tags r:id="rId9"/>
            </p:custDataLst>
          </p:nvPr>
        </p:nvSpPr>
        <p:spPr>
          <a:xfrm>
            <a:off x="446995" y="281196"/>
            <a:ext cx="8226721" cy="648072"/>
          </a:xfrm>
        </p:spPr>
        <p:txBody>
          <a:bodyPr/>
          <a:lstStyle/>
          <a:p>
            <a:r>
              <a:rPr lang="de-DE" dirty="0"/>
              <a:t>Im Zuge der Preisabsenkung bei der Jahreskarte auf 365,- €, wurde das gesamte Preisgefüge in Wien drastisch verändert</a:t>
            </a:r>
          </a:p>
        </p:txBody>
      </p:sp>
      <p:sp>
        <p:nvSpPr>
          <p:cNvPr id="4" name="Foliennummernplatzhalter 3"/>
          <p:cNvSpPr>
            <a:spLocks noGrp="1"/>
          </p:cNvSpPr>
          <p:nvPr>
            <p:ph type="sldNum" sz="quarter" idx="11"/>
            <p:custDataLst>
              <p:tags r:id="rId10"/>
            </p:custDataLst>
          </p:nvPr>
        </p:nvSpPr>
        <p:spPr>
          <a:xfrm>
            <a:off x="519428" y="6295779"/>
            <a:ext cx="341440" cy="246221"/>
          </a:xfrm>
        </p:spPr>
        <p:txBody>
          <a:bodyPr/>
          <a:lstStyle/>
          <a:p>
            <a:fld id="{CD21EFEB-933F-4F46-A5AD-B6372944D9E5}" type="slidenum">
              <a:rPr lang="de-DE" smtClean="0">
                <a:solidFill>
                  <a:srgbClr val="868889"/>
                </a:solidFill>
              </a:rPr>
              <a:pPr/>
              <a:t>9</a:t>
            </a:fld>
            <a:endParaRPr lang="de-DE">
              <a:solidFill>
                <a:srgbClr val="868889"/>
              </a:solidFill>
            </a:endParaRPr>
          </a:p>
        </p:txBody>
      </p:sp>
      <p:sp>
        <p:nvSpPr>
          <p:cNvPr id="28" name="Textplatzhalter 5"/>
          <p:cNvSpPr txBox="1">
            <a:spLocks/>
          </p:cNvSpPr>
          <p:nvPr>
            <p:custDataLst>
              <p:tags r:id="rId11"/>
            </p:custDataLst>
          </p:nvPr>
        </p:nvSpPr>
        <p:spPr>
          <a:xfrm>
            <a:off x="539552" y="3081152"/>
            <a:ext cx="3192468" cy="1457290"/>
          </a:xfrm>
          <a:prstGeom prst="rect">
            <a:avLst/>
          </a:prstGeom>
          <a:solidFill>
            <a:schemeClr val="accent5"/>
          </a:solidFill>
        </p:spPr>
        <p:txBody>
          <a:bodyPr vert="horz" lIns="252000" tIns="46800" rIns="91440" bIns="46800" rtlCol="0" anchor="ctr">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marL="0" lvl="2" indent="0">
              <a:spcBef>
                <a:spcPts val="1300"/>
              </a:spcBef>
              <a:buNone/>
            </a:pPr>
            <a:r>
              <a:rPr lang="de-DE" sz="1400" b="1" dirty="0">
                <a:solidFill>
                  <a:schemeClr val="bg1"/>
                </a:solidFill>
              </a:rPr>
              <a:t>Absenkung des Jahreskarten-preises von 449.- € um 19 % auf 365.- € p. a.</a:t>
            </a:r>
          </a:p>
        </p:txBody>
      </p:sp>
      <p:sp>
        <p:nvSpPr>
          <p:cNvPr id="21" name="Ellipse 20"/>
          <p:cNvSpPr/>
          <p:nvPr>
            <p:custDataLst>
              <p:tags r:id="rId12"/>
            </p:custDataLst>
          </p:nvPr>
        </p:nvSpPr>
        <p:spPr>
          <a:xfrm>
            <a:off x="1791541" y="2670884"/>
            <a:ext cx="688490" cy="68849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b="1" dirty="0">
              <a:solidFill>
                <a:schemeClr val="tx1"/>
              </a:solidFill>
            </a:endParaRPr>
          </a:p>
        </p:txBody>
      </p:sp>
      <p:sp>
        <p:nvSpPr>
          <p:cNvPr id="43" name="Ellipse 42"/>
          <p:cNvSpPr/>
          <p:nvPr>
            <p:custDataLst>
              <p:tags r:id="rId13"/>
            </p:custDataLst>
          </p:nvPr>
        </p:nvSpPr>
        <p:spPr>
          <a:xfrm>
            <a:off x="4615221" y="4294206"/>
            <a:ext cx="688490" cy="68849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b="1" dirty="0">
              <a:solidFill>
                <a:schemeClr val="tx1"/>
              </a:solidFill>
            </a:endParaRPr>
          </a:p>
        </p:txBody>
      </p:sp>
      <p:sp>
        <p:nvSpPr>
          <p:cNvPr id="58" name="Inhaltsplatzhalter 57">
            <a:extLst>
              <a:ext uri="{FF2B5EF4-FFF2-40B4-BE49-F238E27FC236}">
                <a16:creationId xmlns:a16="http://schemas.microsoft.com/office/drawing/2014/main" xmlns="" id="{DAD147E4-FAEA-474D-B83C-246F75E8EFF3}"/>
              </a:ext>
            </a:extLst>
          </p:cNvPr>
          <p:cNvSpPr>
            <a:spLocks noGrp="1"/>
          </p:cNvSpPr>
          <p:nvPr>
            <p:ph idx="1"/>
          </p:nvPr>
        </p:nvSpPr>
        <p:spPr/>
        <p:txBody>
          <a:bodyPr/>
          <a:lstStyle/>
          <a:p>
            <a:r>
              <a:rPr lang="de-DE" dirty="0">
                <a:latin typeface="Arial" panose="020B0604020202020204" pitchFamily="34" charset="0"/>
                <a:cs typeface="Arial" panose="020B0604020202020204" pitchFamily="34" charset="0"/>
                <a:sym typeface="Arial" panose="020B0604020202020204" pitchFamily="34" charset="0"/>
              </a:rPr>
              <a:t>Eckpunkte der Tarifreform zum 01.05.2012 (&amp; Stand 2018)</a:t>
            </a:r>
            <a:r>
              <a:rPr lang="de-DE" dirty="0"/>
              <a:t> </a:t>
            </a:r>
          </a:p>
        </p:txBody>
      </p:sp>
      <p:sp>
        <p:nvSpPr>
          <p:cNvPr id="41" name="Ellipse 40"/>
          <p:cNvSpPr/>
          <p:nvPr>
            <p:custDataLst>
              <p:tags r:id="rId14"/>
            </p:custDataLst>
          </p:nvPr>
        </p:nvSpPr>
        <p:spPr>
          <a:xfrm>
            <a:off x="4610406" y="1800890"/>
            <a:ext cx="698120" cy="68849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b="1" dirty="0">
              <a:solidFill>
                <a:schemeClr val="tx1"/>
              </a:solidFill>
            </a:endParaRPr>
          </a:p>
        </p:txBody>
      </p:sp>
      <p:sp>
        <p:nvSpPr>
          <p:cNvPr id="81" name="Ellipse 80">
            <a:extLst>
              <a:ext uri="{FF2B5EF4-FFF2-40B4-BE49-F238E27FC236}">
                <a16:creationId xmlns:a16="http://schemas.microsoft.com/office/drawing/2014/main" xmlns="" id="{1E75803A-1E08-4276-B483-04860DD44854}"/>
              </a:ext>
            </a:extLst>
          </p:cNvPr>
          <p:cNvSpPr/>
          <p:nvPr>
            <p:custDataLst>
              <p:tags r:id="rId15"/>
            </p:custDataLst>
          </p:nvPr>
        </p:nvSpPr>
        <p:spPr>
          <a:xfrm>
            <a:off x="4615221" y="5140705"/>
            <a:ext cx="688490" cy="68849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b="1" dirty="0">
              <a:solidFill>
                <a:schemeClr val="tx1"/>
              </a:solidFill>
            </a:endParaRPr>
          </a:p>
        </p:txBody>
      </p:sp>
      <p:sp>
        <p:nvSpPr>
          <p:cNvPr id="113" name="Ellipse 112">
            <a:extLst>
              <a:ext uri="{FF2B5EF4-FFF2-40B4-BE49-F238E27FC236}">
                <a16:creationId xmlns:a16="http://schemas.microsoft.com/office/drawing/2014/main" xmlns="" id="{06DDAB6F-662D-4C64-BDBE-77D41BA3C557}"/>
              </a:ext>
            </a:extLst>
          </p:cNvPr>
          <p:cNvSpPr/>
          <p:nvPr>
            <p:custDataLst>
              <p:tags r:id="rId16"/>
            </p:custDataLst>
          </p:nvPr>
        </p:nvSpPr>
        <p:spPr>
          <a:xfrm>
            <a:off x="4610406" y="2611734"/>
            <a:ext cx="698120" cy="68849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b="1" dirty="0">
              <a:solidFill>
                <a:schemeClr val="tx1"/>
              </a:solidFill>
            </a:endParaRPr>
          </a:p>
        </p:txBody>
      </p:sp>
      <p:pic>
        <p:nvPicPr>
          <p:cNvPr id="31" name="Grafik 30">
            <a:extLst>
              <a:ext uri="{FF2B5EF4-FFF2-40B4-BE49-F238E27FC236}">
                <a16:creationId xmlns:a16="http://schemas.microsoft.com/office/drawing/2014/main" xmlns="" id="{6FC0D3DD-0E22-40F8-89FC-3C602740CD99}"/>
              </a:ext>
            </a:extLst>
          </p:cNvPr>
          <p:cNvPicPr>
            <a:picLocks noChangeAspect="1"/>
          </p:cNvPicPr>
          <p:nvPr/>
        </p:nvPicPr>
        <p:blipFill>
          <a:blip r:embed="rId22">
            <a:duotone>
              <a:schemeClr val="accent5">
                <a:shade val="45000"/>
                <a:satMod val="135000"/>
              </a:schemeClr>
              <a:prstClr val="white"/>
            </a:duotone>
          </a:blip>
          <a:stretch>
            <a:fillRect/>
          </a:stretch>
        </p:blipFill>
        <p:spPr>
          <a:xfrm>
            <a:off x="1929204" y="2791405"/>
            <a:ext cx="433924" cy="433924"/>
          </a:xfrm>
          <a:prstGeom prst="rect">
            <a:avLst/>
          </a:prstGeom>
        </p:spPr>
      </p:pic>
      <p:grpSp>
        <p:nvGrpSpPr>
          <p:cNvPr id="33" name="Gruppieren 32">
            <a:extLst>
              <a:ext uri="{FF2B5EF4-FFF2-40B4-BE49-F238E27FC236}">
                <a16:creationId xmlns:a16="http://schemas.microsoft.com/office/drawing/2014/main" xmlns="" id="{6DB2E4AD-73A1-45E0-AAC2-3DC04F7F41C5}"/>
              </a:ext>
            </a:extLst>
          </p:cNvPr>
          <p:cNvGrpSpPr/>
          <p:nvPr/>
        </p:nvGrpSpPr>
        <p:grpSpPr>
          <a:xfrm>
            <a:off x="4615221" y="3452970"/>
            <a:ext cx="688490" cy="688490"/>
            <a:chOff x="4788024" y="3877335"/>
            <a:chExt cx="324000" cy="324000"/>
          </a:xfrm>
        </p:grpSpPr>
        <p:sp>
          <p:nvSpPr>
            <p:cNvPr id="34" name="Ellipse 33">
              <a:extLst>
                <a:ext uri="{FF2B5EF4-FFF2-40B4-BE49-F238E27FC236}">
                  <a16:creationId xmlns:a16="http://schemas.microsoft.com/office/drawing/2014/main" xmlns="" id="{F5F3FD8B-8015-4213-A0D0-536D77E4F8A6}"/>
                </a:ext>
              </a:extLst>
            </p:cNvPr>
            <p:cNvSpPr/>
            <p:nvPr>
              <p:custDataLst>
                <p:tags r:id="rId17"/>
              </p:custDataLst>
            </p:nvPr>
          </p:nvSpPr>
          <p:spPr>
            <a:xfrm>
              <a:off x="4788024" y="3877335"/>
              <a:ext cx="324000" cy="32400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b="1" dirty="0">
                <a:solidFill>
                  <a:schemeClr val="tx1"/>
                </a:solidFill>
              </a:endParaRPr>
            </a:p>
          </p:txBody>
        </p:sp>
        <p:pic>
          <p:nvPicPr>
            <p:cNvPr id="35" name="Grafik 34">
              <a:extLst>
                <a:ext uri="{FF2B5EF4-FFF2-40B4-BE49-F238E27FC236}">
                  <a16:creationId xmlns:a16="http://schemas.microsoft.com/office/drawing/2014/main" xmlns="" id="{8367642C-C418-44FA-BC0F-37292156879B}"/>
                </a:ext>
              </a:extLst>
            </p:cNvPr>
            <p:cNvPicPr>
              <a:picLocks noChangeAspect="1"/>
            </p:cNvPicPr>
            <p:nvPr/>
          </p:nvPicPr>
          <p:blipFill>
            <a:blip r:embed="rId23">
              <a:duotone>
                <a:schemeClr val="accent5">
                  <a:shade val="45000"/>
                  <a:satMod val="135000"/>
                </a:schemeClr>
                <a:prstClr val="white"/>
              </a:duotone>
              <a:extLst>
                <a:ext uri="{BEBA8EAE-BF5A-486C-A8C5-ECC9F3942E4B}">
                  <a14:imgProps xmlns:a14="http://schemas.microsoft.com/office/drawing/2010/main">
                    <a14:imgLayer r:embed="rId24">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4837010" y="3926321"/>
              <a:ext cx="226028" cy="226028"/>
            </a:xfrm>
            <a:prstGeom prst="rect">
              <a:avLst/>
            </a:prstGeom>
          </p:spPr>
        </p:pic>
      </p:grpSp>
      <p:pic>
        <p:nvPicPr>
          <p:cNvPr id="36" name="Grafik 35">
            <a:extLst>
              <a:ext uri="{FF2B5EF4-FFF2-40B4-BE49-F238E27FC236}">
                <a16:creationId xmlns:a16="http://schemas.microsoft.com/office/drawing/2014/main" xmlns="" id="{425AD3B6-267B-47BD-8C41-8CD16ED128EF}"/>
              </a:ext>
            </a:extLst>
          </p:cNvPr>
          <p:cNvPicPr>
            <a:picLocks noChangeAspect="1"/>
          </p:cNvPicPr>
          <p:nvPr/>
        </p:nvPicPr>
        <p:blipFill>
          <a:blip r:embed="rId25">
            <a:duotone>
              <a:schemeClr val="accent5">
                <a:shade val="45000"/>
                <a:satMod val="135000"/>
              </a:schemeClr>
              <a:prstClr val="white"/>
            </a:duotone>
            <a:extLst>
              <a:ext uri="{BEBA8EAE-BF5A-486C-A8C5-ECC9F3942E4B}">
                <a14:imgProps xmlns:a14="http://schemas.microsoft.com/office/drawing/2010/main">
                  <a14:imgLayer r:embed="rId26">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4745262" y="1919142"/>
            <a:ext cx="428409" cy="428409"/>
          </a:xfrm>
          <a:prstGeom prst="rect">
            <a:avLst/>
          </a:prstGeom>
        </p:spPr>
      </p:pic>
      <p:pic>
        <p:nvPicPr>
          <p:cNvPr id="37" name="Grafik 36">
            <a:extLst>
              <a:ext uri="{FF2B5EF4-FFF2-40B4-BE49-F238E27FC236}">
                <a16:creationId xmlns:a16="http://schemas.microsoft.com/office/drawing/2014/main" xmlns="" id="{6C6F23B2-CE75-4D3C-A43F-D0FCF38BACA2}"/>
              </a:ext>
            </a:extLst>
          </p:cNvPr>
          <p:cNvPicPr>
            <a:picLocks noChangeAspect="1"/>
          </p:cNvPicPr>
          <p:nvPr/>
        </p:nvPicPr>
        <p:blipFill>
          <a:blip r:embed="rId27">
            <a:duotone>
              <a:schemeClr val="accent5">
                <a:shade val="45000"/>
                <a:satMod val="135000"/>
              </a:schemeClr>
              <a:prstClr val="white"/>
            </a:duotone>
            <a:extLst>
              <a:ext uri="{BEBA8EAE-BF5A-486C-A8C5-ECC9F3942E4B}">
                <a14:imgProps xmlns:a14="http://schemas.microsoft.com/office/drawing/2010/main">
                  <a14:imgLayer r:embed="rId28">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4716978" y="4403818"/>
            <a:ext cx="479862" cy="479860"/>
          </a:xfrm>
          <a:prstGeom prst="rect">
            <a:avLst/>
          </a:prstGeom>
        </p:spPr>
      </p:pic>
      <p:pic>
        <p:nvPicPr>
          <p:cNvPr id="38" name="Grafik 37">
            <a:extLst>
              <a:ext uri="{FF2B5EF4-FFF2-40B4-BE49-F238E27FC236}">
                <a16:creationId xmlns:a16="http://schemas.microsoft.com/office/drawing/2014/main" xmlns="" id="{039D0574-EEDC-41FD-B300-701CE867EE38}"/>
              </a:ext>
            </a:extLst>
          </p:cNvPr>
          <p:cNvPicPr>
            <a:picLocks noChangeAspect="1"/>
          </p:cNvPicPr>
          <p:nvPr/>
        </p:nvPicPr>
        <p:blipFill>
          <a:blip r:embed="rId29">
            <a:duotone>
              <a:schemeClr val="accent5">
                <a:shade val="45000"/>
                <a:satMod val="135000"/>
              </a:schemeClr>
              <a:prstClr val="white"/>
            </a:duotone>
            <a:extLst>
              <a:ext uri="{BEBA8EAE-BF5A-486C-A8C5-ECC9F3942E4B}">
                <a14:imgProps xmlns:a14="http://schemas.microsoft.com/office/drawing/2010/main">
                  <a14:imgLayer r:embed="rId30">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4739488" y="5251253"/>
            <a:ext cx="467512" cy="467512"/>
          </a:xfrm>
          <a:prstGeom prst="rect">
            <a:avLst/>
          </a:prstGeom>
        </p:spPr>
      </p:pic>
      <p:pic>
        <p:nvPicPr>
          <p:cNvPr id="39" name="Grafik 38">
            <a:extLst>
              <a:ext uri="{FF2B5EF4-FFF2-40B4-BE49-F238E27FC236}">
                <a16:creationId xmlns:a16="http://schemas.microsoft.com/office/drawing/2014/main" xmlns="" id="{097B4A60-71B0-409B-941A-B723F290249E}"/>
              </a:ext>
            </a:extLst>
          </p:cNvPr>
          <p:cNvPicPr>
            <a:picLocks noChangeAspect="1"/>
          </p:cNvPicPr>
          <p:nvPr/>
        </p:nvPicPr>
        <p:blipFill>
          <a:blip r:embed="rId31">
            <a:duotone>
              <a:schemeClr val="accent5">
                <a:shade val="45000"/>
                <a:satMod val="135000"/>
              </a:schemeClr>
              <a:prstClr val="white"/>
            </a:duotone>
            <a:extLst>
              <a:ext uri="{BEBA8EAE-BF5A-486C-A8C5-ECC9F3942E4B}">
                <a14:imgProps xmlns:a14="http://schemas.microsoft.com/office/drawing/2010/main">
                  <a14:imgLayer r:embed="rId32">
                    <a14:imgEffect>
                      <a14:brightnessContrast contrast="-70000"/>
                    </a14:imgEffect>
                  </a14:imgLayer>
                </a14:imgProps>
              </a:ext>
              <a:ext uri="{28A0092B-C50C-407E-A947-70E740481C1C}">
                <a14:useLocalDpi xmlns:a14="http://schemas.microsoft.com/office/drawing/2010/main" val="0"/>
              </a:ext>
            </a:extLst>
          </a:blip>
          <a:stretch>
            <a:fillRect/>
          </a:stretch>
        </p:blipFill>
        <p:spPr>
          <a:xfrm>
            <a:off x="4677940" y="2674454"/>
            <a:ext cx="563052" cy="563050"/>
          </a:xfrm>
          <a:prstGeom prst="rect">
            <a:avLst/>
          </a:prstGeom>
        </p:spPr>
      </p:pic>
      <p:sp>
        <p:nvSpPr>
          <p:cNvPr id="29" name="Rechteck 28">
            <a:extLst>
              <a:ext uri="{FF2B5EF4-FFF2-40B4-BE49-F238E27FC236}">
                <a16:creationId xmlns:a16="http://schemas.microsoft.com/office/drawing/2014/main" xmlns="" id="{C89C7C96-063E-44DF-901E-9E6768B475C5}"/>
              </a:ext>
            </a:extLst>
          </p:cNvPr>
          <p:cNvSpPr/>
          <p:nvPr/>
        </p:nvSpPr>
        <p:spPr>
          <a:xfrm>
            <a:off x="-3118663" y="1557750"/>
            <a:ext cx="2676075" cy="369332"/>
          </a:xfrm>
          <a:prstGeom prst="rect">
            <a:avLst/>
          </a:prstGeom>
          <a:solidFill>
            <a:srgbClr val="92D050"/>
          </a:solidFill>
        </p:spPr>
        <p:txBody>
          <a:bodyPr wrap="square">
            <a:spAutoFit/>
          </a:bodyPr>
          <a:lstStyle/>
          <a:p>
            <a:r>
              <a:rPr lang="de-DE" dirty="0"/>
              <a:t>Was ist genau passiert?</a:t>
            </a:r>
          </a:p>
        </p:txBody>
      </p:sp>
    </p:spTree>
    <p:extLst>
      <p:ext uri="{BB962C8B-B14F-4D97-AF65-F5344CB8AC3E}">
        <p14:creationId xmlns:p14="http://schemas.microsoft.com/office/powerpoint/2010/main" val="283013276"/>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 %&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5&quot;&gt;&lt;elem m_fUsage=&quot;4.55404828232700786828E+00&quot;&gt;&lt;m_msothmcolidx val=&quot;0&quot;/&gt;&lt;m_rgb r=&quot;B1&quot; g=&quot;B0&quot; b=&quot;A1&quot;/&gt;&lt;m_nBrightness tagver0=&quot;26206&quot; tagname0=&quot;m_nBrightnessUNRECOGNIZED&quot; val=&quot;0&quot;/&gt;&lt;/elem&gt;&lt;elem m_fUsage=&quot;1.53899999999999992362E+00&quot;&gt;&lt;m_msothmcolidx val=&quot;0&quot;/&gt;&lt;m_rgb r=&quot;CC&quot; g=&quot;BA&quot; b=&quot;CF&quot;/&gt;&lt;m_nBrightness tagver0=&quot;26206&quot; tagname0=&quot;m_nBrightnessUNRECOGNIZED&quot; val=&quot;0&quot;/&gt;&lt;/elem&gt;&lt;elem m_fUsage=&quot;1.00000000000000000000E+00&quot;&gt;&lt;m_msothmcolidx val=&quot;0&quot;/&gt;&lt;m_rgb r=&quot;00&quot; g=&quot;99&quot; b=&quot;66&quot;/&gt;&lt;m_nBrightness tagver0=&quot;26206&quot; tagname0=&quot;m_nBrightnessUNRECOGNIZED&quot; val=&quot;0&quot;/&gt;&lt;/elem&gt;&lt;elem m_fUsage=&quot;9.00000000000000022204E-01&quot;&gt;&lt;m_msothmcolidx val=&quot;0&quot;/&gt;&lt;m_rgb r=&quot;FF&quot; g=&quot;33&quot; b=&quot;33&quot;/&gt;&lt;m_nBrightness tagver0=&quot;26206&quot; tagname0=&quot;m_nBrightnessUNRECOGNIZED&quot; val=&quot;0&quot;/&gt;&lt;/elem&gt;&lt;elem m_fUsage=&quot;6.56100000000000127542E-01&quot;&gt;&lt;m_msothmcolidx val=&quot;0&quot;/&gt;&lt;m_rgb r=&quot;85&quot; g=&quot;CC&quot; b=&quot;D2&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fzE7AaeTw6oHOPdWwWXW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YddxZv_QcKTy4fhneWEK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9TFa7aUTRuaHCg05VejK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OUtFg1iS_KizoSpcDgn8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p5wknmiQLaRyC_khn.k.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5OeXIj1Twq4PQYIbtgQP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8uRXMdjT2WNAT30fnm0Q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UVLFFVPSdygskPQkKUqZ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mOELPCDRHizZiCNUZ8YSg"/>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O_qjwoQQqCSd47cStKIQ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TTmLGAxRE.5tM5NRquv5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Qk9B7ScTvCtxAg4ROImT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QLwLeXEyqx_jVoE9vCnW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1U3GOuuGE4Ic2DsrBx6FY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PM6A6FBaNavxuZSC9hYr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5FgNGeZP6GSZJzRxkK_RW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ciClQt.8QX5HXSt1RFrB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qAJlPWwGaE06.AaBgWi3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CQmjGwU7L9bCsu5H4UHV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0ifwzCWIRQW_SLNfIBzjy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Bln0.oCR66XrFck6joov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jZhfnsxS6Ww7cgfUD8EN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oWQ3621vKjAzTCazptxT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HfJJ2jLVudHVnM1zMbM1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EzyNiA5xZKZOFOQo0PUdQ"/>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1KxWf2Up3z1d4klAcu8Aw"/>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39MGC1ZkWq207pbe4ne6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v8xvapQTHySoo_kIXHpMg"/>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GB0D8_tRASCT5LORZcH1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1hCvW_rjgL6CtXOxb_L68g"/>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8VHjV1of4igUQuD0oHIh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qHPAK56Q2yPnpy9Woiox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fMELGcKQkyEs2bZJ.PO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U8W8fd5RNacCYMe3S5EW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rL9EZ7IRwaf.kezOOlv0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GYgs4tDL1kjhJSGMz6DF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AQHGBuUQv2gQnKQGCskU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c1gFxrMSfiOiWPX94N4O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WeZhzwDRWqU_Xld2t2hM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7LyJIJSSO20KyGc.gc.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xQq_XtSdCzuCbUt3S_x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3b2kJENpSB.oqXqAGe60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SXNBs9kTjSBWO9ZOWxJO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UBrdzePTtybvdhYytr5B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2LS3tsFRe.0bO31.5uc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9NUiBfzJTa2UOh2dB8VY2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2P0lPusRsWqrsvHFUOUW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N1UApVUTK6NxDQoUxFkn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_ML3WpLKRJGSXIdDw1k25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ICe4Zh2QSKPWvJvoAv5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FfYBwP.gUm7FJyatq1tq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4X7ImP.RDecWUej0OFw5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ekySsSV2mFfBActWjL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Ncqy3q8zdHWyVgLG1X3x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5UYF0laSUCTdGcZ5HL7.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6UjkBb7RZO_76I74EVxK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3ZcGp4VoFvY8L6pA8AcSa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WPZ5iWjTL6cHW8EtNZ1q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MBIDCsquxqTfRVxo77h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2.eI4vJtwgDA8PnENZe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fXpsNBzcEaabYqXQFSTs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2sol9JFohX40uGHH08sa0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03Nh68kLp6OCw8A2JTf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5MsQDKjs84b2.Dq1Q1ad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x9cp46JEIETbNLL8TKK2r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0I2joaK9kVXVTu5kok4H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vmlXNm114eUs1X.xoFtr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qiehE9Wn6htQBZI9euOq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vxHpIgjA2yWRUeT8dhEj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c.kiRXtUmA.lvejO8mX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8EJxyBfeeEak2QI8Hyb1I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172.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6mtluz7K7U2ym2aznvYPz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BlE1DGmyvJ62x_zzOY.g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MZO1Snz78688POXEWyuP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bmXYA_PNwCtyyi9BG8g3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S6Ff9owmPGAxnU3McX.Ap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1P.uUrD0SPW7uy_9Hhy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bjaPiQookCduV4y39xw0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3uG4CtOqX1Sd4uCdyA85n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nqbU_22MqOnMDZyCy0UHe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re2YWywnXMeiHZKBcvAV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Yyg4wI7bMngE2qRR.p_PR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RpF20i7W_ymZ30Ww196m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5EFZQ3pOM0pseU5g9mQiO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FPO35kCr_92aWRr7_Oxq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wi0E_r0J8VfOA3Hp11X4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Rn1yAkPEqzhhtiaXAYqC5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a5VpGb9o_RWFjUz4MW5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fXpsNBzcEaabYqXQFSTs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Sle.7bJpNZHl8cr29Rzuc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ANWqtoCSltIumJlA_aqI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ObybtX1Z5yeFZCZcuLr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eDyl.uzcBhtNOsMaUMURX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6lo6.sb4dfuawwxlu2G7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SW4j07D.TrTllqhvQxf7p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dGu01fkLPiRpmN9.Lf91G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v9EiRy.Dtm.bZAustdJU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SSy18D3SGyaJ.73aqFI5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5A3r..CvID8Mr5kz8IW7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c.kiRXtUmA.lvejO8m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t6XBqJNgwy0CJRjq0JT1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DSoR2AFsDm1OH7XCJUKQ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1Zbj3oEldQqi1Mw691GU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0FFmmT76TLaJrK4GcKM1IA"/>
</p:tagLst>
</file>

<file path=ppt/tags/tag205.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6mtluz7K7U2ym2aznvY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Cehco5h3UKqCp57fjqN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8EJxyBfeeEak2QI8Hyb1I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bjaPiQookCduV4y39xw0w"/>
</p:tagLst>
</file>

<file path=ppt/tags/tag210.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6mtluz7K7U2ym2aznvYPz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AqlsnceTkqH3Jm1QXoIZ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4gDntIxR3SmJyFcvO..B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5chmXShzT3GowtcUAMfL3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qSeXrXH8QVSBegQ1fiD4j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mOHHXaI5Qye.jWWdwAIZ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ZEA2puFRT6Kxb3ailLj8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9iA8ZU3DSwGh4Z_GibwBe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f_Zgvsg.TqecXMwzbD7S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udtu1xJRB2VWOQIUL.tn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CRQJOlpDSq2.5kezvlq6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j9WvJt.SrO6r8Io716iu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JJDTF25zRsC_r8uS4yyEe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afT2xloZTA.BNFotlLOqx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GtM5m9YRFqCEXfM9SyG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BN1c5b_MTguvMy7PfQMBG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2zyrBmlgRgKUADFti74Vr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_jmlrsYQSW3pRp5Fx0wM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_g6JQy2RgKiQuBttui.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7opES4AUm557hfTnmgQ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TQgSpvnmRauWr2ta4YO34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8gKA0cvWSxq82YjQCTyME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E5CGQyPqR6KGOfgwihYHy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8ksxeEnSjeobNX88eic_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awO3foe7REGIazDopK5.H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o4QvaKfQviDbRXo2IPQ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pkjFNsKTAe6OzabkYWR2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ql5Lt0UQPOl5XjhZ9boD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FB_6ZuFTpC.foANuFWXO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S8BnofZ6T8qe90983wFk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XpsNBzcEaabYqXQFSTs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tga.xuRQtK6OcvypihZ7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DK8a6PMTH2adDmb3tEQG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sr_wICnESz.7GZJ3v7F1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H_.OsjOQDGs.Q9Mdeo8S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2.k10bf8SNmC3hFDkxH6R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th9OcZ6R46vG9vouyH6A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tCLYXZKnQFKPBTgC.jfXu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oKEedkbRBCayI3m0MLrL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l7kN7AbQJagvCUCNmFkR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yGPuRZWTjup5I3t6q4v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lpvbMohXR2yEJFy89X6K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Y60SP0vTYeJjTPE7zKZe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711RZpQ8R3iccpX7r15YF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rLymkqXUQkaznqlc2q596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vAqlsnceTkqH3Jm1QXoIZ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Ds7wV2OAPPrAUoF3o1vox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pH8ZA6HTWaOJRgM668Xs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S07FImLRNWbsGsSHn2P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xasnogJQu2A7DbKAtHSP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hrq1ndgS4yCxG0wdNZ2c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KZ94v2VTTgqg2zh3JgmyJ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dpVDg4ARDSRQKkY2ADSt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aPcck5HRqEhGq3Vqqj7uu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lUkKiKtlprgtNIyUPeY6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WCdkRJP0bIGalsl8ps2Y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25cNe81WxMJGLPLQTJATq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CQo8CcIyC91tW6wUx7iS6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R67rf8Gj5Q3ZsE9QMuec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ecVEq6TETRGn1QtfzZvv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k_W0XVrpRXyOs1KU6wnZG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idljxsyRMqSr8bzmKFnK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801BmoRQT_eLDmsAjrEd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DUh0VJBSjGLmNE7qDg9N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6h7F5piwQ861vC_2VXhy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4JgPfY2cT0eEc.SOpVtlP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cB4H5PdSzaoZmGRO5Tkf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_Qvq_c3BSvyhH4cj.mYwO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eXt5CrDLzIWMW5Jro1AR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dIXQpYDBUl1g9fFMXYU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VACKA4zQDypX_zjBaU0i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yIQlO0EyNsgb0BqkvJ8qT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82WC5pQUiNAVvDRyOOHR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gkVxjsBmRHikJ2P94idjV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93_nRyTDQLW9.il78f3Nt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X6PAzzcoRvG5HO23ezkVf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pxwQ6tskR0C6IkrSBPZ88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L3uL_0gWnD.wX.QKznFd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Ey1bx2WcJioUkNkI8tIp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gDwAz6vVEe30fbWCWkvG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KNTQ4hqxYMBf5JpHoGUZj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D6KtF72ZYuK.8WKp8sAZc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XRCEbvRZBEcCV.S9.jqpq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k_8FTX4nB0ttzd_ASt0iU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E2bRLf8ul1jdLuHE3jz90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RM7telPcQmGzbeBSEozy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1reGaZTjaGzU.9SmuAp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ZjWLv8nAQiKgoW_lUF27G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q.7XgE4QzWi4cU2WRN3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tKlbFDWQgKsRRcfgJy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WQm4mq_.SsK1LYcmPIYyl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QPUC7bXgRceJ0iIj.VbPw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ud3vnvHSUCHn45fItWLx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ODldj5WRQiS1Jz9YtJhO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4QaTXU65Tqe683GLY6M2p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ObitINYlQD2y6ZzSBtpLD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HifqEmLTka2M3BrvacDZ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NwGoZKAUQt2lcucPk5IWK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3wNw0epnRgSCIK7ejA7jt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DCHSaTT2Obs8Xtkah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Bpjq.GjRRe7XXfMomO7u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aQXXS6F1SV2NcsLI4cOuv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V9_1JDpWLHh8OXg4fPSa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b0hx.BUqElyettEskl4b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EsrHFrt6q49jRablAu3R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3aaTQEIfT1e0DTzdJRu0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Dt76jkRKRzeCiY92tb_zEg"/>
</p:tagLst>
</file>

<file path=ppt/tags/tag319.xml><?xml version="1.0" encoding="utf-8"?>
<p:tagLst xmlns:a="http://schemas.openxmlformats.org/drawingml/2006/main" xmlns:r="http://schemas.openxmlformats.org/officeDocument/2006/relationships" xmlns:p="http://schemas.openxmlformats.org/presentationml/2006/main">
  <p:tag name="AUTOBUBBLE" val="fals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uQT4507x0unj8e.gcaNYA"/>
</p:tagLst>
</file>

<file path=ppt/tags/tag320.xml><?xml version="1.0" encoding="utf-8"?>
<p:tagLst xmlns:a="http://schemas.openxmlformats.org/drawingml/2006/main" xmlns:r="http://schemas.openxmlformats.org/officeDocument/2006/relationships" xmlns:p="http://schemas.openxmlformats.org/presentationml/2006/main">
  <p:tag name="AUTOBUBBLE" val="false"/>
</p:tagLst>
</file>

<file path=ppt/tags/tag321.xml><?xml version="1.0" encoding="utf-8"?>
<p:tagLst xmlns:a="http://schemas.openxmlformats.org/drawingml/2006/main" xmlns:r="http://schemas.openxmlformats.org/officeDocument/2006/relationships" xmlns:p="http://schemas.openxmlformats.org/presentationml/2006/main">
  <p:tag name="AUTOBUBBLE" val="fals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66buqbYv0OplqXzLKEUTw"/>
</p:tagLst>
</file>

<file path=ppt/tags/tag330.xml><?xml version="1.0" encoding="utf-8"?>
<p:tagLst xmlns:a="http://schemas.openxmlformats.org/drawingml/2006/main" xmlns:r="http://schemas.openxmlformats.org/officeDocument/2006/relationships" xmlns:p="http://schemas.openxmlformats.org/presentationml/2006/main">
  <p:tag name="AUTOBUBBLE" val="false"/>
</p:tagLst>
</file>

<file path=ppt/tags/tag331.xml><?xml version="1.0" encoding="utf-8"?>
<p:tagLst xmlns:a="http://schemas.openxmlformats.org/drawingml/2006/main" xmlns:r="http://schemas.openxmlformats.org/officeDocument/2006/relationships" xmlns:p="http://schemas.openxmlformats.org/presentationml/2006/main">
  <p:tag name="AUTOBUBBLE" val="false"/>
</p:tagLst>
</file>

<file path=ppt/tags/tag332.xml><?xml version="1.0" encoding="utf-8"?>
<p:tagLst xmlns:a="http://schemas.openxmlformats.org/drawingml/2006/main" xmlns:r="http://schemas.openxmlformats.org/officeDocument/2006/relationships" xmlns:p="http://schemas.openxmlformats.org/presentationml/2006/main">
  <p:tag name="AUTOBUBBLE" val="false"/>
</p:tagLst>
</file>

<file path=ppt/tags/tag333.xml><?xml version="1.0" encoding="utf-8"?>
<p:tagLst xmlns:a="http://schemas.openxmlformats.org/drawingml/2006/main" xmlns:r="http://schemas.openxmlformats.org/officeDocument/2006/relationships" xmlns:p="http://schemas.openxmlformats.org/presentationml/2006/main">
  <p:tag name="AUTOBUBBLE" val="false"/>
</p:tagLst>
</file>

<file path=ppt/tags/tag334.xml><?xml version="1.0" encoding="utf-8"?>
<p:tagLst xmlns:a="http://schemas.openxmlformats.org/drawingml/2006/main" xmlns:r="http://schemas.openxmlformats.org/officeDocument/2006/relationships" xmlns:p="http://schemas.openxmlformats.org/presentationml/2006/main">
  <p:tag name="AUTOBUBBLE" val="false"/>
</p:tagLst>
</file>

<file path=ppt/tags/tag335.xml><?xml version="1.0" encoding="utf-8"?>
<p:tagLst xmlns:a="http://schemas.openxmlformats.org/drawingml/2006/main" xmlns:r="http://schemas.openxmlformats.org/officeDocument/2006/relationships" xmlns:p="http://schemas.openxmlformats.org/presentationml/2006/main">
  <p:tag name="AUTOBUBBLE" val="fals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_yvWBOY4_ACjPkMoaZZT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_leDav34ky4gehrKKGre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348.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TppJ27e24k2Xb0jWY2gBg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J.2Q_UzdEWJuGtLp._Vo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7KrufQeUJU9xEi0EOWRg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1trj1KZ9ebUvyAH9iEAo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j82KhCZTAu1w9Mq8PTvok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1Lw89M90hccO8MqG7n8OM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n9FDYR6TEpDX5iaWJqrMp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FsXOuRVz4JkwbmidiVD.y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XMqnTPkFA6oqzesCWNGW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qtHyrv6L_tcuLru5q7.t4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mDpGPsUh9EWahsQLrJqV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WfWYj17g06c.w7TJVqWZ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oAid8NfYzUO51y6gKF36I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yo2njGw.nE.VEokr7SgJfg"/>
</p:tagLst>
</file>

<file path=ppt/tags/tag362.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pS51v8XBnUOaaBMVyv4e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vA3sv0ST70mhkDU544TQu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ixQMtUnPf8R9M1t9wpwTA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7yMdpN5DV02RyuRgMucGt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Db3aK4DwV0qN2aHadZgFA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V418vQwI4kerQ88T7fXO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elC61HnkU6stL9hlpwUJ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yFET6CKwIE.7CzBcYLwMs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x3Bw6oP2V0m9BSJ8.pX9D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U2hiouIQbvIZC.SGp9Js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PkuclNAhRkiKE.pdzpIRf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3Cehco5h3UKqCp57fjqN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34uKwm9QHWZs_ziTw496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0eTwEtI8TqWDtk1ZTsbC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s4ZPnM37ECr3Pno2J_n7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n2C0z9fQD23xZLfL8lBO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OIdy4.mLRomjnVLlhO0fh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pqiaVEJTQwmjKEoRowxJ8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3WdjqTa8Ri61vHIihsDXK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iyhAEcMXTTSyAJ7CuO8ps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a5Grw.KXR3SlPsTkmk9ud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XZbCaiaLSQ.YDw88DnkGk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74el8mWqRbqdeQLCOC1jQ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3foog3jCSVyXnAo_hPHPU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my50yxpMTWu0TFJS3oQb3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zIbpAyARae5x6JOVAslt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fBpPczmUQBCSuR7Nwm_TZ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lzsegogYR_mPCIsMdv0Fq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o8nQFTCSQHmQ8DElwcyWU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d.9BMdt3SFa0q09AArOYw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ElO1i_b4QzmmADWp.G4jj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_tiSyRRDQEaoEbGM7cMty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lET8oVMSOGrxTLZcFkm2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4Ge2bu.SUW5zVBndl2Xj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Q_KNLnKsTd224IBUqSQZ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1EA3rSQQQGPS8jb9qngU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AAPy4QmSf2O5z_Bup.38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IF8RXY3jQyy2az2o_c.nN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TJvZ5g5mTcmhA2Hs63uKT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xbCJ7CwTTPu0Bry1g0Q7f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tQRx8T30R.6bzi_BAkCIp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l2wIpw2vRr6PBMnnzp8Kb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9rdXvuQTpy8DZ6RSSofa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fjKEKlORruEwwEE99Ad7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PirFm6nQC6Tkg5bSEEEI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6JhAM.4Tk.i8cpLdXkV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_nfTDSRRRkuPOClXIgyP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b6JsyKqETJaGqf3NrLc4n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8rndOQTMQOqSMrAu_YzfJ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pvBfVG1NRSWB_LWRUN3hq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pM7w7CfQSKW8eqHA4S0U2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oellc8JCT_G6ssFFDvc4t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5b0Ih5fZRIG820KslQ7n3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Nx.CwF3MSkG_BTMs8ETGA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YxsXWIJRRtmd803UukQEQ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dM5pBbBYQWK8CaCGADgvH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AqlsnceTkqH3Jm1QXoI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_2FkhBA8RHGXDFKfX6Num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PB_T_V8Trei4ToYn0pdW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VsoFd7lmRp2oA1dMiYBkI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fq8d17hARqOCxDOVlDM0P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UC4oCYUStqfQRPNSKIjM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0D3PAHoROKkdAZEkJ6KD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9D8_ReBlQt6PWjZXL3bf_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KJsvZMH3QkCkfPnwujlsp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wWzeflcARdG9y9un29FES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7WBDxvq0SK2Ws1Fwc9y8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WmDmIoLS6e2nG9K1FImQ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Gz.5Kl5RJ2G5XV.zEu7D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PnVA.59RYmM2U4ZwAhTP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MJf1nMk4S0GfDOhlE7q4H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vZKSXvAiR.CNbG1JTs0D7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fMlzEHn2QFi6Ses6c3q5A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McCuJPyJRGO6BaymuYD.T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zE.nuzY.Sq.cGdevNeBGO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f7jEcragQ5.4cRad.xgES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jYfe_zO5S8WUmgVYYR5Ic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Y0NJyGrlTXiYvCaLCN4O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UbftUixTi6.GoDbAONf0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1rmbpN0ESi6nuauP0zgV5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tCVUlcirRCKu07EtHm3d_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s9oaBEu_tUygp1siWLVsD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3VzCZgNlQC.DXUKw009BZ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0YumjqSfy6A8sU_WEUp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PGW.iY_7Q1mqOS12btv6L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SPOaNS2tTz.YkgIQYITi6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MxGqaJUpS2OKBukM5ZVP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yTSpQ3PTl.dMxEZ6ejyR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Ijzwr3FlCrmF_Y2WJu7zh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lxjka3ZSBSUwn3GcPlYR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YodavyuvTTYcqdCUYN9qD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kOvUKY.0QKYnBdW8DYqZx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_WsCszk9m1p545n4UelX5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oF5l22MuhC.uH8w2eRemj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S6_r3itJRNK8AQU8KNBi0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_vaIv9M.RGKvxp1hBFNKf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P.aTB29SFCdNmsGOzjoF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LCOUl3gqQheMRjdFoGte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OfisvzgTyaD01VNgeGWK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gjNHT.5aSSishWH69j9gU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25F18RlTRlqlAsmHL7L3s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slVgu.JyxgWRwewnqts8u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891kNlOtRJaWIG0Hh_NVf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scGzxgsvfKY7NtY0sbsFP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YUtvWqXIZNfU7KiBnS4L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Ofj80grFT4Ody59t.MvTF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Mt3RYOQZWKtNG.ow0P8RP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irXViBpfNvGSNblwzrPpe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wKBkMRqrt2fLnvMMzquw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IwBrKSyQFKnipOCv.EV1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2hlE4._HQ3GRQpNdBA_q4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LzaxrCkyR1G.mVpz7nM2q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AOLJRzKJDTQrd6uKh6h0N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FjDwYaCPTtS84gyhNgifl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B5G2xXxsTO.md283rD79k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qPgEOI_HSO.ebyjOJVt7q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Kr2ZQ8pYQF6Ypi6TxpiJn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DJTu_Nz9O2was3ShVOIJ9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CjwXJPEQL2tiJJhIDTSS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ZnTZbvNwT.qrMYjJXc5d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Pj3q8GtSeON7saGVxRgh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bt.V9x35TOiGprDMZSUo2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9kF00aCRKuqgvs.r5Fel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QrPq8LSSgyVXkVWJmqaR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Pp5ydi2kXVJRIilahD5H0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n4h5QR59T2SSaMI24opqP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0BF5r1_20uBW66aiEvmN7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VyWwuL.RY2WlpbNL9qfG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YJXr5IbmS6GrxLt14Xnhm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WWRbC0lORJ.ZKFW.jh5DF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oITtdjxESwbUmUXilW5S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6Tj6kYyTNWwjGiW1NSRk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AZHioTDXg.owgq.yOfR59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pUCNLVUDBleOGPD.C_Tt4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EJLkXQhnZdtH5Yil3.Uh4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ALoKsCzXafe3Bcvtnq8d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u8rYeH3WGQVWKbkgk7YjY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0G0PIQDlpQ66qG763s9Hl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PDTZ6d0MeV95620qsaQxI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0Dcivem7fnOeUojh63cER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FjZgL049TrNrxn3ibzJZo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omBbQGzVYYngaJOE8Mls3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boEputqSpGvV8HysKKb5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JetLBt3nc8dpHt.PHsFC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mnaX3L9BTTxn83Q3Nny_N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GgE5gR5AUtyWEaeKqwpXY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uwQ0L4x0BAMyXgKwsOzm6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k.5MuMzgrDODpwQC74kQx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RGIbCGxvm4wvhASS80OFX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vg_fKfNdSWBI7WWcjxs2u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T0LkYXj56YBZCGwpdOk0W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u6NXmST6ylNDE9W5yUaB9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xM8cxIw1IvgRO0WM.POf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oI08yTlxRO2.WJe.rYeK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rPVczMUFEsnxEbSy2RWr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GvyruibXnHpX8i7abGGAi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9dzMfHg_390sWav9pv_jH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1xZO5XwbjgO2k5UdKH2e.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W_sTXwNObPoTubAGeIkuq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P8KCxDfTE4vqx0IBwbqMi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a43UkJnmfEPdFjHOJyPct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_JXPPDWkVa8QWeFENLP9g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PPYqJn1MZqPpMO2xkEXqN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8LfG1.wCR.BSucVhTOOQL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PmdUibjQI2yq1nvNKRcah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kOrgNciJmqw7boaT.V5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yrjZClTCzCno3r4NflcDK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6a0Dn0VK6_jNkCMG7jnMm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D888wLmMeo5.rB8M3nD0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XM_L2WmOPiqDzA6ZIdVM9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cuL5CZRtCwuVnHVMCdNxS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uMkU5JF.L1pX5WVPEx1_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qo52IqEC_fdOKN_VRVDIo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2Y3YxV85OJuxrF7qHVDfT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JoTwE3YunquoWWO.Ek4E3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vjkAibMH5LOAcnQZfDdR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Nb1G2i3fBi9FkC5gul1Q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xa19dRVRGj7dcbzNuQwvm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6EjcJK439LXiaTd5MKajg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DTE6ntr0LEZxjU8HZq5.j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kkihV8m5P2h0IUtb3CDGO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EhUloNjR5e27oEr9q6wjB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W7vXV6T_YejbZ8uLii_ww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Q0MX.vzmRJCVZrt0ppxMi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mBTP9l6KS_ul61lnGY9Lv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BhJKG0ODQ.e._glVh.rPQ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63ScJOF7StOLeErK8wcou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R2mj3lHfrplIZ2rJji_N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e24p4yeRQG.8WM4hSw_Ed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7bKGzNYXTZuKpzHPkHpR6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zTsQCVS.Rg.plpt_kgltC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Gp5quGQT.afWmqHAo9_0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dH1x4_7FScGxN12rpfTE4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BG8ziDHZTtqSX6YbaSxd8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EZDx4S2lRFySAxQ3Ly5Zg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0C6jFKSzRCKyBiZiten3p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R05QWzGXTxmEUNcXfUd9a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uYOSB6dWRUe0eY1bIMxbz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jTAJlRgy1VjrCP8j64w6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PrwDQKrMTOymkchzmdcy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UpzKIwIqRBqGChY5Lgsxl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MkcI6M3bQV.JnnSxNKz93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_Faukx0OQOm1T7tF8nBkI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YtAxK_tUT.6OmsaATo8j5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v1fWrdrrQuKV5Yw9ZFOEa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RmL8rT0lR4Kyyh9Wb.JZV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8QeBh3S.Swum4Rnk7J252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gr3dcxpjQhiVGviqdmN.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fDrRQzkR8mGG6I_EfUa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5KSHr3AqaJxnTDH.VxmZ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k_zTWCnQQAiCoLMqCd5Cn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eapBvcN0RJeU5uKUq3uDj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Pk712SeSQbGsA5MqZJTU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n1EhxsvgTyqspAwJEygZ3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DSHQLG6LRbi7nCCp4ISC6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9IBiubLPTG6RZ.0KLvWjD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3P6f1RdLSsm8TGO33KUY7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gi0wgU4MSY2PaEmtWACGB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BDew0bqRN.5VLePZSQeT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MUidR.8.S06UK6vAaVxx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TAbqMqH3xCh0Jg5spYb_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b5y3tZt_SYyIB7Jp2jr_3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xLdTJ17aQoat3_xwxS3eQ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RBBPObXbSWqxBlqo12GOJ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uCg2wEgERN22E9ZU9tuS1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xSr5XBFJSSC1j6wnQIZah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QBjwbQOyS7uwbwjJLBFW7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RIMIlq9ZQPSjY8QVLIsHs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1JO7GbSsTdO3LzN6Y7xZo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mmXRTHC_Q2Wx89ZGeiYEV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LN9xfcI4RKymSKqsc7w9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xlhwTDSN8I6Oc6Htwye6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xuCtNP7ZSASFD3ISfIDGT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vkHI61esROiTuQDubC.uE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xkS11Z2gQ4Sm9GPwrWcEH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Lt5i8NZjThOsqN4_6dxXR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P95Q4TNGQgCFDiM60buzt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PvvyFKNKRSu70qDWGyjSQ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3b4OmqLtTAaULLC9X20_y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TuqdBNjxSVafopWg_vOH1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8il7gjQwT7WNIWjisj9Jr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DQLS8a71TiyXffXXZMAJ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i_71KvgNdMLAGGw9mvky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r6gzF6x9QV2t1VmMnJaN4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SvgJB9NFQ826VR0UgkVRU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7la3NGiBQgmKg0Co3clAZ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uyJ_lgsZQY.Y367Ez7lfs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2UleNVViRkqFm4TUwF8SW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BQVgcq8kQ_i4A3tpl7_Aw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VWHOCIAfR0aWs1ZFTiPUI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zacc1trQT9qIYV3sTGdUV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JGnBt4l9ThaUUjEakqttx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VQwSzTgOQTic6FzIpZh8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eS6lSagVZQZ1P55H0b77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sqog1TpAQiSk9opahF1Lp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DgmdArFPQM6o509SNFiu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WOgd6C62SjmJN11aJtjVC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fPLBpoCTS3CORum2mcaTj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qX_hq1sFRMaJsf69gotXW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sRcOhmY7R1OgMud.PBnmz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9dg3Bqj9RUeQLr0W0TprK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OyboPSuaQgyWNVzDTdahU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oc_XJN2ZRoO6L8TdXFvNP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zjZJS.3cQZS.qc84N6eJ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7kHyVXToyDq9eb0gQ_5sh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kFfbiB.PTs2EQUSWfMK5g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2w4q7N8oR22eBKzpO1onV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s9oaBEu_tUygp1siWLVsD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odgozN09TtSgaH7tU0zlk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YpbDZ_BBQEmQfSbwIgPVA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NZADM9ErQ.KG2MLzM7YeV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Whbs6EvQFOmEHMZBQvYC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QjiAa84eSDupE1BTtxMwF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6VlPus9dTbWfXIAJfq4Qy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75ZwLrsl1RR_SwYezwHU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PWz17lbFQaqkxK9dN6KIJ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D9WO8yzUQQ65FXgM.rx7_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0bw7eWjOSZyqvIEI9Z9aU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m1Zgea8jzUKwis2YyWahP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Oi9BRA9b3kSRQAh26cQx2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ti8zIpDii0CNeZZXV2BSv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Vcchb44L7kap6bJc9bwVIg"/>
</p:tagLst>
</file>

<file path=ppt/tags/tag628.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VNF0qYYqq0qUeMogyZfcn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sbe4kAfn4vsUZ.53bL2w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_974AAEo8kmkH4m9x4R1n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_974AAEo8kmkH4m9x4R1n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ubhJC.Ws70iCnHrn5RTdl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oAid8NfYzUO51y6gKF36I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oAid8NfYzUO51y6gKF36I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oAid8NfYzUO51y6gKF36I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oAid8NfYzUO51y6gKF36I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oAid8NfYzUO51y6gKF36I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nAYepIdSRV2uuIrgJvv28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eOTDJ528Zf9.ZosxC0Jt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Y6vKu1wfSweRSNUNM6inq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zhl_q8SISA2S0GmCZNXAp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NPZhB6KuTNShmGvcua8pr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I2Xd6eIEBq5KbNWauSQAd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q62oCGhQ2aJO9qxLQ1PC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WBEWnC7Tky6LWfj8YquC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CCcyu6eSRqltViEjaCx_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yjBoP1c5TgCuaHODzpeVU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NskiTwtXQoapI5zRelCTl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AqgQQ04iQie5DTd2LPbN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7j5cwCwnuVOCFl5tidVc3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V2o4kkPzhboCwmcGS8qjW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RL2AIQfjSySYKeStNlHjG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OS141IMvRSKCWCmp5ta0f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P1nSGg9mT_elIFDgiRv.X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6.kWoPlTQTSi1CF7lM2nq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POBT.192SNacpM5EvHpb_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a_YdRAw0RxyqJn9SL49d8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0SvsQWKtSaeW43VfZ6h4h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CWbbOND1THa4V2xNrMlkf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XT64bDw_S9Wxc5v3MS28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tIs3YTvHQf9NdA6ecYeT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uNSWxatpRdGZmEsOpLutZ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z3Mct9sKSGO3dp8KpLNC3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fjRj3EHmRS.RkMHWUXGkj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WQ38aTdCR.a6MvSrSGZnm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pQBkyEckHoY5dUBysLfcB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MvHCKfSHRVGw0.EUA78T4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b0dG8NbmRbi.V5rCcUDDa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emPCzwPXRUqD582F1KTpq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PaAzQ0IwQqO1vYtLJ_beH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ud4rQMD5T8mSBrJaztTr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Hbkk5rfQBayc8AjTXw9_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8ij4t4EbSd.hr.q6.CTt.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Vqr8VHy0Rqy_TY8V2FgDW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teUMAVfBRbmnef5AM8Z7W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PZOzXiyTSva1yX4VgHAeL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dIkF9t7sRDGFyZG4Yonp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xJMfnIZPQ7mgbZzL3qDMb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xE7B9w3CS02mVGMYPn9Yr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p1qc2JhcRzuJekwBJeJ0q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4sG_NWV4REGcGEBipc9qN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L3uL_0gWnD.wX.QKznFd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ZF16u0GkhBVsJVy8LNbGx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E2bRLf8ul1jdLuHE3jz90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XRCEbvRZBEcCV.S9.jqpq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k_8FTX4nB0ttzd_ASt0iU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D6KtF72ZYuK.8WKp8sAZc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KNTQ4hqxYMBf5JpHoGUZj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AjoTlCrc9EI5R_yBXMXgD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8s2kEqUqqKkepWWFU3744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P53Otwz0SQeU.O_klkg4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AXD8HSEQL..NcenLTfvf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ZMTzZgGTD4Y7g9A3lAH5_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c49dYpUvko00TjSnbngxp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k5RJ4z8ToNjuyyAVyUOaE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kJwBRyzQSeCn.W_MJ1LAe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5DBvNo4MDk.WQK3SJjRW8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h4eQvh9j3kWdkV6LUp3VwA"/>
</p:tagLst>
</file>

<file path=ppt/tags/tag697.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FZ139BMjrUybENilwgjvDA"/>
</p:tagLst>
</file>

<file path=ppt/tags/tag698.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jKKAK_C7lk6R.UF62pInU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Aid8NfYzUO51y6gKF36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kVxjsBmRHikJ2P94idjV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oAid8NfYzUO51y6gKF36I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Q2..1GzbWk.lcwlkv8rrR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eLhtuPJWmLc._xYTcwdXx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8uKDaqFw.0e_9ILEL8rcn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JPRtQh_wNEODZru4.jlAe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WI4mYjtvl0iJSqivNkmlM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iRIKDs_tzUujuNaxkel9e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93_nRyTDQLW9.il78f3Nt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0.rVdCkHf0SCkQcRcQRud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Nt17zkPybUyBOm4A28p6e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VLu2xAPKE0akSEAcZ8IYQg"/>
</p:tagLst>
</file>

<file path=ppt/tags/tag713.xml><?xml version="1.0" encoding="utf-8"?>
<p:tagLst xmlns:a="http://schemas.openxmlformats.org/drawingml/2006/main" xmlns:r="http://schemas.openxmlformats.org/officeDocument/2006/relationships" xmlns:p="http://schemas.openxmlformats.org/presentationml/2006/main">
  <p:tag name="LINETRANSPARENCY" val="0"/>
  <p:tag name="HIDDEN" val="False"/>
  <p:tag name="THINKCELLSHAPEDONOTDELETE" val="pUUDHSnUt6EyN8Bc8goxxtg"/>
</p:tagLst>
</file>

<file path=ppt/tags/tag714.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VNF0qYYqq0qUeMogyZfcn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BmaBtZ_qF0GhKWSe59oPJ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qOgGVOL1T_6xBrP.LJwhR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qSy0Rla9H9tT9kabF5I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6PAzzcoRvG5HO23ezkVf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AFkhsmymSXqyRHSqoRXuW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Of5pKj5.TLWEIAL8JoDu2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fLMo6KluSCGeMlrW9aQTA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D56cws2QCWQULfQCw.G_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fbn37WAOSJy6y8T9byBC3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o6kh.wHdQwGu60VnMRGcQ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EbYBaHokRM6gSZ5w8VVyo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_wV3YM_.QCagDWby12Dub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bEHRm6PDTmG_7UHWTgrB0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XuPRbRi0Qi6YrT3TO2oAT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xwQ6tskR0C6IkrSBPZ88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rcsjuKaVS6ebY7MiVFP4q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V57A_qNaQOa4go0H4AFNs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c12fLY52QOaJhAJK.g25K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L5CHFiuBRNqXUIuElkhDD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V.DFxjZPQDyUakwJkYs3E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eZ20.EkkShCvj.aentOKh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2ZyRVlJST8S8lB4NB9TJr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1CIfUBXyqN2e4ou33_.PR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twX6F4ryQ4CuiJHn5yDF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kM20BtlFRzCcVtAtSRyMk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6_BwgkTHCP8wOioMTTg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Ek1V9EIaSgOvy0wwP9AlD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PqouRvG.Rimplf8LYbnTP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bIuGeSWuS7GfauAgAaiN_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Vajda8RlSeSXGMGbSXvSX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Zf7Nrc_dRGebvESexMCis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kQEEVbSYSfenyKUiTwNyE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oB.GdkK2SouDIvIa7ssTZ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LJT7OaT4Q.yqdylhkipXs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zLCzRx3RrJw5D3h_7IJrf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QNV61U7AR7yiQ0DaZW_Z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1CeAhuumR7O1uv1Tb8FXp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j.dZnCH4TCqCXqAtD6a5i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xTiPdSx.RBids7KtTZFIh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zw5ULNUsR6G47PgcrWpGe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aq97yNHrS1.9mW1zZb5uO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lbAXyVxXR_2mWm6eJq_W9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QXxagj_RGWQmnIqenWUW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cS0D7BU6Sqq.nbpd3GZ18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9OLvaskcrdT7Vz3uOKqEZ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dSurH33QRMifSIUF4QpZ9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SY3pS6vuQDKP_WonvafLq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tnxsOUgVQO2ezSz5j3xi3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gg7ekfpVSXqp2s8vRdQ_h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_L7GwCOJS.Cjz9mA497zT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3XInm3vKRw29jRsc0jDJJ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I1nbF74gTaaJRJElO81vS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PcTlew6hRtKbTa87jHegX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elUh8AasTSS2sv4zJqbnE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cNHHGbdQpON8wuB4GXzs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vAqlsnceTkqH3Jm1QXoIZ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gCSDC8_tblcWbzh5fERPI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mOHHXaI5Qye.jWWdwAIZy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9iA8ZU3DSwGh4Z_GibwBe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f_Zgvsg.TqecXMwzbD7SB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qSeXrXH8QVSBegQ1fiD4j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sZEA2puFRT6Kxb3ailLj8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5chmXShzT3GowtcUAMfL3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CRQJOlpDSq2.5kezvlq6y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bj9WvJt.SrO6r8Io716i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udtu1xJRB2VWOQIUL.tn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afT2xloZTA.BNFotlLOqx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JJDTF25zRsC_r8uS4yyEe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YGtM5m9YRFqCEXfM9SyG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8gKA0cvWSxq82YjQCTyME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2.k10bf8SNmC3hFDkxH6R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EoKEedkbRBCayI3m0MLrL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lpvbMohXR2yEJFy89X6K8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Pl7kN7AbQJagvCUCNmFkR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dY60SP0vTYeJjTPE7zKZe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iA5jCC1TqatBs0OkS4.I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K_g6JQy2RgKiQuBttui._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epkjFNsKTAe6OzabkYWR2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TQgSpvnmRauWr2ta4YO34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E5CGQyPqR6KGOfgwihYHy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awO3foe7REGIazDopK5.H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sr_wICnESz.7GZJ3v7F1X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Eo4QvaKfQviDbRXo2IPQt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tCLYXZKnQFKPBTgC.jfXu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Mql5Lt0UQPOl5XjhZ9boD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S8BnofZ6T8qe90983wFk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3XN56tRTYu2ImNEDldy2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jysSk4gVEeB5SEtK3RPS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Ftga.xuRQtK6OcvypihZ7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f_jmlrsYQSW3pRp5Fx0wM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EH_.OsjOQDGs.Q9Mdeo8S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aDK8a6PMTH2adDmb3tEQG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lFB_6ZuFTpC.foANuFWXO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Bth9OcZ6R46vG9vouyH6A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yGPuRZWTjup5I3t6q4vS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d8ksxeEnSjeobNX88eic_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BN1c5b_MTguvMy7PfQMBG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2zyrBmlgRgKUADFti74Vr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vjysSk4gVEeB5SEtK3RPS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711RZpQ8R3iccpX7r15YF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rLymkqXUQkaznqlc2q596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Dzoi1l8CWYljMfAx7XjbO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yo2njGw.nE.VEokr7SgJf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VvhJCieKWzoUA90iwo9kU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jysSk4gVEeB5SEtK3RPS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yo2njGw.nE.VEokr7SgJf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8JJHm0gV9TZh4bZMjzZ1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MBt1VnX24tIugG_2QK3jE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yo2njGw.nE.VEokr7SgJf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qC_9CZmr8mT0ydbUoCtvi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yo2njGw.nE.VEokr7SgJf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jysSk4gVEeB5SEtK3RPS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Th_fXh2yQeGt6V69WFVX9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AcQdE8FQcu5r96Q05pPM9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wbLNI.I1hS_b3zPBOfYnKA"/>
</p:tagLst>
</file>

<file path=ppt/tags/tag83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HIDDEN" val="False"/>
</p:tagLst>
</file>

<file path=ppt/tags/tag836.xml><?xml version="1.0" encoding="utf-8"?>
<p:tagLst xmlns:a="http://schemas.openxmlformats.org/drawingml/2006/main" xmlns:r="http://schemas.openxmlformats.org/officeDocument/2006/relationships" xmlns:p="http://schemas.openxmlformats.org/presentationml/2006/main">
  <p:tag name="HIDDEN" val="Fals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AcQdE8FQcu5r96Q05pPM9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jysSk4gVEeB5SEtK3RPS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AcQdE8FQcu5r96Q05pPM9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AcQdE8FQcu5r96Q05pPM9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wwjNydwgTcS0HnB5mGGWU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AscRwF.qQI2PWFizthEsi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e.fWvwxl0uRnv7R_pQ17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pcREwa_k0aqcy7xwVpTy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jysSk4gVEeB5SEtK3RPS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4eQvh9j3kWdkV6LUp3Vw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4eQvh9j3kWdkV6LUp3Vw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4eQvh9j3kWdkV6LUp3Vw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4eQvh9j3kWdkV6LUp3Vw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4eQvh9j3kWdkV6LUp3Vw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4eQvh9j3kWdkV6LUp3Vw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rL9EZ7IRwaf.kezOOlv0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Ga.ps4A7UuOLekNvUYch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CccrdZFgZlDgTRE5Sn4O3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ugY_DRlQr6nYk9o4WOJK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LnTtWuzSvqFW0l2Z2pqh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BX4B0y8l1UK6AAlZj..LF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ivity-Designfarben">
      <a:dk1>
        <a:sysClr val="windowText" lastClr="000000"/>
      </a:dk1>
      <a:lt1>
        <a:sysClr val="window" lastClr="FFFFFF"/>
      </a:lt1>
      <a:dk2>
        <a:srgbClr val="C6D100"/>
      </a:dk2>
      <a:lt2>
        <a:srgbClr val="DC8E00"/>
      </a:lt2>
      <a:accent1>
        <a:srgbClr val="868889"/>
      </a:accent1>
      <a:accent2>
        <a:srgbClr val="FDD02D"/>
      </a:accent2>
      <a:accent3>
        <a:srgbClr val="85CCD2"/>
      </a:accent3>
      <a:accent4>
        <a:srgbClr val="CCBACF"/>
      </a:accent4>
      <a:accent5>
        <a:srgbClr val="B1B0A1"/>
      </a:accent5>
      <a:accent6>
        <a:srgbClr val="B91215"/>
      </a:accent6>
      <a:hlink>
        <a:srgbClr val="B91215"/>
      </a:hlink>
      <a:folHlink>
        <a:srgbClr val="DC8E00"/>
      </a:folHlink>
    </a:clrScheme>
    <a:fontScheme name="civity-Designschriftar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Larissa">
  <a:themeElements>
    <a:clrScheme name="civity-Designfarben">
      <a:dk1>
        <a:sysClr val="windowText" lastClr="000000"/>
      </a:dk1>
      <a:lt1>
        <a:sysClr val="window" lastClr="FFFFFF"/>
      </a:lt1>
      <a:dk2>
        <a:srgbClr val="C6D100"/>
      </a:dk2>
      <a:lt2>
        <a:srgbClr val="DC8E00"/>
      </a:lt2>
      <a:accent1>
        <a:srgbClr val="868889"/>
      </a:accent1>
      <a:accent2>
        <a:srgbClr val="FDD02D"/>
      </a:accent2>
      <a:accent3>
        <a:srgbClr val="85CCD2"/>
      </a:accent3>
      <a:accent4>
        <a:srgbClr val="CCBACF"/>
      </a:accent4>
      <a:accent5>
        <a:srgbClr val="B1B0A1"/>
      </a:accent5>
      <a:accent6>
        <a:srgbClr val="B91215"/>
      </a:accent6>
      <a:hlink>
        <a:srgbClr val="B91215"/>
      </a:hlink>
      <a:folHlink>
        <a:srgbClr val="DC8E00"/>
      </a:folHlink>
    </a:clrScheme>
    <a:fontScheme name="civity-Designschriftar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ivity-Designfarben">
      <a:dk1>
        <a:sysClr val="windowText" lastClr="000000"/>
      </a:dk1>
      <a:lt1>
        <a:sysClr val="window" lastClr="FFFFFF"/>
      </a:lt1>
      <a:dk2>
        <a:srgbClr val="C6D100"/>
      </a:dk2>
      <a:lt2>
        <a:srgbClr val="DC8E00"/>
      </a:lt2>
      <a:accent1>
        <a:srgbClr val="868889"/>
      </a:accent1>
      <a:accent2>
        <a:srgbClr val="FDD02D"/>
      </a:accent2>
      <a:accent3>
        <a:srgbClr val="85CCD2"/>
      </a:accent3>
      <a:accent4>
        <a:srgbClr val="CCBACF"/>
      </a:accent4>
      <a:accent5>
        <a:srgbClr val="B1B0A1"/>
      </a:accent5>
      <a:accent6>
        <a:srgbClr val="B91215"/>
      </a:accent6>
      <a:hlink>
        <a:srgbClr val="B91215"/>
      </a:hlink>
      <a:folHlink>
        <a:srgbClr val="DC8E00"/>
      </a:folHlink>
    </a:clrScheme>
    <a:fontScheme name="civity-Designschriftar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7096</Words>
  <Application>Microsoft Macintosh PowerPoint</Application>
  <PresentationFormat>Bildschirmpräsentation (4:3)</PresentationFormat>
  <Paragraphs>1849</Paragraphs>
  <Slides>68</Slides>
  <Notes>62</Notes>
  <HiddenSlides>1</HiddenSlides>
  <MMClips>0</MMClips>
  <ScaleCrop>false</ScaleCrop>
  <HeadingPairs>
    <vt:vector size="10" baseType="variant">
      <vt:variant>
        <vt:lpstr>Verwendete Schriftarten</vt:lpstr>
      </vt:variant>
      <vt:variant>
        <vt:i4>2</vt:i4>
      </vt:variant>
      <vt:variant>
        <vt:lpstr>Design</vt:lpstr>
      </vt:variant>
      <vt:variant>
        <vt:i4>1</vt:i4>
      </vt:variant>
      <vt:variant>
        <vt:lpstr>Verknüpfungen</vt:lpstr>
      </vt:variant>
      <vt:variant>
        <vt:i4>1</vt:i4>
      </vt:variant>
      <vt:variant>
        <vt:lpstr>Eingebettete OLE-Server</vt:lpstr>
      </vt:variant>
      <vt:variant>
        <vt:i4>2</vt:i4>
      </vt:variant>
      <vt:variant>
        <vt:lpstr>Folientitel</vt:lpstr>
      </vt:variant>
      <vt:variant>
        <vt:i4>68</vt:i4>
      </vt:variant>
    </vt:vector>
  </HeadingPairs>
  <TitlesOfParts>
    <vt:vector size="74" baseType="lpstr">
      <vt:lpstr>Calibri</vt:lpstr>
      <vt:lpstr>Wingdings 2</vt:lpstr>
      <vt:lpstr>blank</vt:lpstr>
      <vt:lpstr>C:\Users\albrecht\Desktop\Entwicklung 2011 bis 2018.xlsx!Tabelle1!Z1S1:Z19S5</vt:lpstr>
      <vt:lpstr>think-cell Folie</vt:lpstr>
      <vt:lpstr>Acrobat Document</vt:lpstr>
      <vt:lpstr>PowerPoint-Präsentation</vt:lpstr>
      <vt:lpstr>Wir wollen gemeinsam mit unseren Kunden die Lebensqualität im öffentlichen Raum verbessern</vt:lpstr>
      <vt:lpstr>civity berät die führenden Unternehmen der Daseinsvorsorge in strategischen und organisatorischen Fragestellungen</vt:lpstr>
      <vt:lpstr>Unser Leistungsangebot in der Beratung wird ergänzt durch Data Analytics und Change Management</vt:lpstr>
      <vt:lpstr>Wien hat mit Abstand den höchsten Split Anteil des öffentlichen Verkehrs</vt:lpstr>
      <vt:lpstr>Die Preisabsenkung Mitte 2012 führte zu einer deutlichen Erhöhung der Absatzzahlen der Jahreskarte</vt:lpstr>
      <vt:lpstr>PowerPoint-Präsentation</vt:lpstr>
      <vt:lpstr>Die Bürgermeisterin Vassilakou konnte 2011 eine signifikante Absenkung des Jahreskartenpreises durchsetzen</vt:lpstr>
      <vt:lpstr>Im Zuge der Preisabsenkung bei der Jahreskarte auf 365,- €, wurde das gesamte Preisgefüge in Wien drastisch verändert</vt:lpstr>
      <vt:lpstr>Es ist kein signifikanter Zusammenhang zwischen der Preisabsenkung und der Modal-Split-Entwicklung erkennbar</vt:lpstr>
      <vt:lpstr>Es ist kein Zusammenhang zwischen der Preisabsenkung und der Fahrgastzahlenentwicklung erkennbar</vt:lpstr>
      <vt:lpstr>Allein im ersten Jahr nach der Preisabsenkung erhöhte sich der Zuschussbedarf um 42 Mio. Euro</vt:lpstr>
      <vt:lpstr>Im Vergleich zu den deutschen Millionenstädten ist die Netz- und Fahrplandichte in Wien deutlich höher</vt:lpstr>
      <vt:lpstr>74% der Wiener Bevölkerung hat einen direkten fußläufigen Zugang zum schienengebundenen ÖPNV</vt:lpstr>
      <vt:lpstr>In Wien wurde das ÖPNV-Angebot über Jahrzehnte hinweg konsequent ausgebaut und verbessert</vt:lpstr>
      <vt:lpstr>Im Zuge der Tarifreform im Jahr 2012 wurde die Parkraumbewirtschaftung in Wien deutlich intensiviert</vt:lpstr>
      <vt:lpstr>Zum Vergleich: Die Parkraumbewirtschaftung in deutschen Städten ist deutlich zurückhaltender ausgeprägt</vt:lpstr>
      <vt:lpstr>Im Zuge der Tarifreform im Jahr 2012 wurde die Parkraumbewirtschaftung in Wien deutlich intensiviert</vt:lpstr>
      <vt:lpstr>Die Ausweitung und Intensivierung der Parkraum-bewirtschaftung führt zu deutlich steigenden Einnahmen</vt:lpstr>
      <vt:lpstr>Die Einnahmen aus der Parkraumbewirtschaftung in Wien, übertreffen die Einnahmen deutscher Städte deutlich</vt:lpstr>
      <vt:lpstr>Durch die Erhöhung der Dienstgeberabgabe („U-Bahn-Steuer“) konnten erhebliche Mittel generiert werden</vt:lpstr>
      <vt:lpstr>Verkehrspolitisch ist das Maßnahmenbündel ein Erfolg – aber: das Defizit der Wiener Linien vergrößert sich deutlich</vt:lpstr>
      <vt:lpstr>PowerPoint-Präsentation</vt:lpstr>
      <vt:lpstr>Es bestehen verschiedene Instrumente zur Einbindung von Zielgruppen und Finanzierung eines attraktiven ÖPNV</vt:lpstr>
      <vt:lpstr>Es gibt verschiedene Zielgruppen und Instrumente zur Einbindung der Nutznießer eines attraktiven ÖPNV</vt:lpstr>
      <vt:lpstr>Die Instrumente können einen zusätzlichen Finanzierungs-beitrag von über 100 Mio. € p.a. für den ÖPNV generieren</vt:lpstr>
      <vt:lpstr>Eine Analyse des Wiener Modells inklusive der Wiener Finanzierungsinstrumente finden Sie in unserer Studie</vt:lpstr>
      <vt:lpstr>Vielen Dank für Ihre Aufmerksamkeit!</vt:lpstr>
      <vt:lpstr>PowerPoint-Präsentation</vt:lpstr>
      <vt:lpstr>Die Bevölkerungsdichte Wiens ist deutlich höher als in den deutschen Vergleichsstädten</vt:lpstr>
      <vt:lpstr>Im Quervergleich sind in Wien sowohl die Siedlungsfläche als auch die Einwohner am „besten“ erschlossen</vt:lpstr>
      <vt:lpstr>Die Angebotsdichte des ÖPNV in Wien liegt auf einem deutlich höheren Niveau als in den deutschen Städten</vt:lpstr>
      <vt:lpstr>Die Angebotsdichte in Bezug auf die Siedlungsfläche ist in Wien und den Schweizer Vergleichsstädten deutlich höher</vt:lpstr>
      <vt:lpstr>Positive Marktbedingungen und flankierende Maßnahmen führen zu steigenden Fahrgastzahlen bei den Wiener Linien</vt:lpstr>
      <vt:lpstr>Der Absatz der anderen Tarifprodukte ist im Gegenzug massiv eingebrochen </vt:lpstr>
      <vt:lpstr>Die Einnahmen aus der Parkraumbewirtschaftung in Wien, übertreffen die Einnahmen deutscher Städte deutlich</vt:lpstr>
      <vt:lpstr>Einzelne Instrumente der Nutznießerfinanzierung erfordern Anpassungen der rechtlichen Rahmenbedingungen</vt:lpstr>
      <vt:lpstr>Immobilieneigentümer profitieren von einer hochwertigen ÖPNV-Anbindung mit Wertsteigerungen ihrer Grundstücke</vt:lpstr>
      <vt:lpstr>Beispiel: Die Parkraumbewirtschaftung bietet im VRR ein sehr großes Finanzierungspotenzial für den ÖPNV</vt:lpstr>
      <vt:lpstr>Im Zuge der Tarifreform in Wien im Jahr 2012 wurde die Parkraumbewirtschaftung deutlich intensiviert</vt:lpstr>
      <vt:lpstr>Insbesondere die Finanzierung durch den MIV, durch Arbeitgeber/Gewerbe und über Immobilien ist verbreitet</vt:lpstr>
      <vt:lpstr>PowerPoint-Präsentation</vt:lpstr>
      <vt:lpstr>Aktuelle Tarifreformen haben häufig das Ziel das Tarifsystem zu vereinfachen; Preisabsenkungen sollen Härten verringern</vt:lpstr>
      <vt:lpstr>Das BMVI unterstützt 5 „Modellstädte“ bei der Umsetzung von Vorhaben, zwei davon pilotieren das 365-Euro-Ticket</vt:lpstr>
      <vt:lpstr>Seit der Bekanntgabe haben sich bereits einige Städte und Regionen für die zehn 365-Euro-Modellprojekte angeboten</vt:lpstr>
      <vt:lpstr>Bundesweit finden sich unterschiedliche Varianten für Vergünstigungen oder kostenlosen ÖPNV für Teilgruppen</vt:lpstr>
      <vt:lpstr>In einigen Kommunen wird bereits ein kostenloser ÖPNV angeboten, weitere werden in absehbarer Zeit starten</vt:lpstr>
      <vt:lpstr>In einigen größeren Verkehrsverbünden gab es zuletzt Nullrunden, bzw. sind Nullrunden geplant</vt:lpstr>
      <vt:lpstr>Das Jahresticket für 365 € wird in Bonn für Neukunden bei Abschluss für den Zeitraum von einem Jahr angeboten</vt:lpstr>
      <vt:lpstr>Bis auf den deutlich günstigeren Preis hat das 365-Euro-Ticket ggü. dem regulären Abo ausschließlich Nachteile</vt:lpstr>
      <vt:lpstr>Bislang wurde rund ein Drittel der kontingentierten Tickets verkauft, die Pressemeldungen sind eher kritisch</vt:lpstr>
      <vt:lpstr>In Reutlingen wird das 365-Euro-Ticket für Neu- und Bestandskunden bis Ende 2020 angeboten</vt:lpstr>
      <vt:lpstr>Bis Mai 2019 haben rund 1.800 Kunden das neue Jahresticket für 365 € erworben</vt:lpstr>
      <vt:lpstr>Die Einführung des Schülertickets war in den meisten Gebieten mit einer deutlichen Preisabsenkung verbunden</vt:lpstr>
      <vt:lpstr>Seit rund 2 Jahren wird das Schülerticket Hessen für 365 €  p. a. angeboten und gilt im gesamten Bundesland Hessen</vt:lpstr>
      <vt:lpstr>Grundsätzlich können Konzepte für Vergünstigungen oder kostenlosen ÖPNV sehr unterschiedlich ausgestaltet sein</vt:lpstr>
      <vt:lpstr>In Essen werden Abos für das Stadtgebiet für den festen Zeitraum von November 2019 bis Ende 2020 angeboten</vt:lpstr>
      <vt:lpstr>Das Jahresticket für 365 € wird in Bonn für Neukunden bei Abschluss für den Zeitraum von einem Jahr angeboten</vt:lpstr>
      <vt:lpstr>Das GreenCity-Ticket in Mannheim ist ein um rund 30 % vergünstigtes Jahresabo</vt:lpstr>
      <vt:lpstr>In Reutlingen wird das 365-Euro-Ticket für Neu- und Bestandskunden bis Ende 2020 angeboten</vt:lpstr>
      <vt:lpstr>Seit rund 2 Jahren wird das Schülerticket Hessen für 365 €  p. a. angeboten und gilt im gesamten Bundesland Hessen</vt:lpstr>
      <vt:lpstr>Seit dem 01.08.2019 können Schüler in Berlin im Tarifgebiet AB kostenlos den ÖPNV nutzen</vt:lpstr>
      <vt:lpstr>Azubis können seit dem 01.08.2019 im VBB ein verbundweites Jahresabo für 365 € erwerben</vt:lpstr>
      <vt:lpstr>Die verbundweite SparCard des GVH ist ein Angebot für Schüler der Sekundarstufe I und II und kostet 15 € im Monat</vt:lpstr>
      <vt:lpstr>Das 365-Euro-Ticket für Schüler und Auszubildende soll ab dem Schuljahr 2020/2021 im VGN-Gebiet eingeführt werden</vt:lpstr>
      <vt:lpstr>Die kostenlose City-Zone Augsburg umfasst insgesamt 8 Haltestellen und soll zum 1.1.2020 eingeführt werden</vt:lpstr>
      <vt:lpstr>Jahrestickets für 365 € sind in Deutschland häufig noch zeitlich befristete Projekte, deren Nachfrage gering ist</vt:lpstr>
      <vt:lpstr>Stor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chbarkeitsstudie „365-Euro-Ticket für Ulm (und Neu-Ulm)“</dc:title>
  <dc:creator>Stefan Weigele</dc:creator>
  <cp:lastModifiedBy>Susanne Menge</cp:lastModifiedBy>
  <cp:revision>729</cp:revision>
  <cp:lastPrinted>2019-11-02T11:00:16Z</cp:lastPrinted>
  <dcterms:created xsi:type="dcterms:W3CDTF">2018-04-17T07:25:48Z</dcterms:created>
  <dcterms:modified xsi:type="dcterms:W3CDTF">2019-11-02T14:06:57Z</dcterms:modified>
</cp:coreProperties>
</file>